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m4a" ContentType="audio/mp4"/>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0" r:id="rId8"/>
  </p:sldMasterIdLst>
  <p:notesMasterIdLst>
    <p:notesMasterId r:id="rId56"/>
  </p:notesMasterIdLst>
  <p:sldIdLst>
    <p:sldId id="402" r:id="rId9"/>
    <p:sldId id="1383" r:id="rId10"/>
    <p:sldId id="1385" r:id="rId11"/>
    <p:sldId id="1384" r:id="rId12"/>
    <p:sldId id="1386" r:id="rId13"/>
    <p:sldId id="1387" r:id="rId14"/>
    <p:sldId id="1388" r:id="rId15"/>
    <p:sldId id="1390" r:id="rId16"/>
    <p:sldId id="1389" r:id="rId17"/>
    <p:sldId id="1391" r:id="rId18"/>
    <p:sldId id="1392" r:id="rId19"/>
    <p:sldId id="1393" r:id="rId20"/>
    <p:sldId id="1397" r:id="rId21"/>
    <p:sldId id="1394" r:id="rId22"/>
    <p:sldId id="1395" r:id="rId23"/>
    <p:sldId id="1396" r:id="rId24"/>
    <p:sldId id="1422" r:id="rId25"/>
    <p:sldId id="414" r:id="rId26"/>
    <p:sldId id="1398" r:id="rId27"/>
    <p:sldId id="432" r:id="rId28"/>
    <p:sldId id="435" r:id="rId29"/>
    <p:sldId id="1399" r:id="rId30"/>
    <p:sldId id="434" r:id="rId31"/>
    <p:sldId id="437" r:id="rId32"/>
    <p:sldId id="1400" r:id="rId33"/>
    <p:sldId id="439" r:id="rId34"/>
    <p:sldId id="440" r:id="rId35"/>
    <p:sldId id="415" r:id="rId36"/>
    <p:sldId id="430" r:id="rId37"/>
    <p:sldId id="1404" r:id="rId38"/>
    <p:sldId id="1405" r:id="rId39"/>
    <p:sldId id="1401" r:id="rId40"/>
    <p:sldId id="1402" r:id="rId41"/>
    <p:sldId id="1406" r:id="rId42"/>
    <p:sldId id="1408" r:id="rId43"/>
    <p:sldId id="1414" r:id="rId44"/>
    <p:sldId id="1409" r:id="rId45"/>
    <p:sldId id="1421" r:id="rId46"/>
    <p:sldId id="1412" r:id="rId47"/>
    <p:sldId id="1413" r:id="rId48"/>
    <p:sldId id="1407" r:id="rId49"/>
    <p:sldId id="1415" r:id="rId50"/>
    <p:sldId id="1416" r:id="rId51"/>
    <p:sldId id="1417" r:id="rId52"/>
    <p:sldId id="1420" r:id="rId53"/>
    <p:sldId id="1419" r:id="rId54"/>
    <p:sldId id="1418"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7047EA2-D877-4A9F-8A3C-0E85F47008A3}">
          <p14:sldIdLst>
            <p14:sldId id="402"/>
            <p14:sldId id="1383"/>
            <p14:sldId id="1385"/>
            <p14:sldId id="1384"/>
            <p14:sldId id="1386"/>
            <p14:sldId id="1387"/>
            <p14:sldId id="1388"/>
            <p14:sldId id="1390"/>
            <p14:sldId id="1389"/>
            <p14:sldId id="1391"/>
            <p14:sldId id="1392"/>
            <p14:sldId id="1393"/>
            <p14:sldId id="1397"/>
            <p14:sldId id="1394"/>
            <p14:sldId id="1395"/>
            <p14:sldId id="1396"/>
            <p14:sldId id="1422"/>
            <p14:sldId id="414"/>
            <p14:sldId id="1398"/>
            <p14:sldId id="432"/>
            <p14:sldId id="435"/>
            <p14:sldId id="1399"/>
            <p14:sldId id="434"/>
            <p14:sldId id="437"/>
            <p14:sldId id="1400"/>
            <p14:sldId id="439"/>
            <p14:sldId id="440"/>
            <p14:sldId id="415"/>
            <p14:sldId id="430"/>
            <p14:sldId id="1404"/>
            <p14:sldId id="1405"/>
            <p14:sldId id="1401"/>
            <p14:sldId id="1402"/>
            <p14:sldId id="1406"/>
            <p14:sldId id="1408"/>
            <p14:sldId id="1414"/>
            <p14:sldId id="1409"/>
            <p14:sldId id="1421"/>
            <p14:sldId id="1412"/>
            <p14:sldId id="1413"/>
            <p14:sldId id="1407"/>
            <p14:sldId id="1415"/>
            <p14:sldId id="1416"/>
            <p14:sldId id="1417"/>
            <p14:sldId id="1420"/>
            <p14:sldId id="1419"/>
            <p14:sldId id="1418"/>
          </p14:sldIdLst>
        </p14:section>
        <p14:section name="Process" id="{42C44D4A-FF72-4558-BDAE-F811EA094314}">
          <p14:sldIdLst/>
        </p14:section>
        <p14:section name="Cycle" id="{B8D57AB0-CEE0-4BA4-9AD7-39B2A9AA2D0A}">
          <p14:sldIdLst/>
        </p14:section>
        <p14:section name="Structure / Layers" id="{6F55E1FE-4371-482F-B964-2F65386E25E3}">
          <p14:sldIdLst/>
        </p14:section>
        <p14:section name="Clusters" id="{1A55314C-65C3-44AF-A788-7AB55900900A}">
          <p14:sldIdLst/>
        </p14:section>
        <p14:section name="Radiate" id="{9C71D5C0-BA39-48FF-B280-B0AA700F7AAE}">
          <p14:sldIdLst/>
        </p14:section>
        <p14:section name="Pictoral" id="{08294F35-0B5A-4D2B-A54E-7D858EDB589D}">
          <p14:sldIdLst/>
        </p14:section>
        <p14:section name="Bios" id="{824F0735-1E5E-4BA0-9C10-FEA9F0DE2E9E}">
          <p14:sldIdLst/>
        </p14:section>
        <p14:section name="Photos" id="{B727F5DB-F05D-40BA-BE86-142C0D9B5393}">
          <p14:sldIdLst/>
        </p14:section>
        <p14:section name="Influence" id="{894CA981-8F80-4F90-BB04-0814D0302FFA}">
          <p14:sldIdLst/>
        </p14:section>
        <p14:section name="Maps" id="{56F04C01-33E4-44EA-AD2E-286CFDB60CBC}">
          <p14:sldIdLst/>
        </p14:section>
        <p14:section name="Charts" id="{1F7F3C46-301D-42C4-8F30-39DDFE891418}">
          <p14:sldIdLst/>
        </p14:section>
        <p14:section name="Tables Text" id="{855A0964-8D6B-42F4-A505-710E96D9C74C}">
          <p14:sldIdLst/>
        </p14:section>
        <p14:section name="Data Distribution" id="{03C6FA91-3FFF-42A9-B5B4-F793F945DD5A}">
          <p14:sldIdLst/>
        </p14:section>
        <p14:section name="Devices" id="{E4A1E809-1516-4357-ACB7-29EC67FC40D6}">
          <p14:sldIdLst/>
        </p14:section>
        <p14:section name="Custom icons" id="{AE7553D5-C09E-4928-A948-69A0E1F717F4}">
          <p14:sldIdLst/>
        </p14:section>
      </p14:sectionLst>
    </p:ext>
    <p:ext uri="{EFAFB233-063F-42B5-8137-9DF3F51BA10A}">
      <p15:sldGuideLst xmlns:p15="http://schemas.microsoft.com/office/powerpoint/2012/main">
        <p15:guide id="1" orient="horz" pos="2704"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C553"/>
    <a:srgbClr val="A8BD3A"/>
    <a:srgbClr val="4289B0"/>
    <a:srgbClr val="902082"/>
    <a:srgbClr val="BECE70"/>
    <a:srgbClr val="3C388E"/>
    <a:srgbClr val="FBC900"/>
    <a:srgbClr val="E2BD22"/>
    <a:srgbClr val="E2BC22"/>
    <a:srgbClr val="37288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6" autoAdjust="0"/>
    <p:restoredTop sz="88595" autoAdjust="0"/>
  </p:normalViewPr>
  <p:slideViewPr>
    <p:cSldViewPr snapToGrid="0" snapToObjects="1">
      <p:cViewPr varScale="1">
        <p:scale>
          <a:sx n="82" d="100"/>
          <a:sy n="82" d="100"/>
        </p:scale>
        <p:origin x="752" y="168"/>
      </p:cViewPr>
      <p:guideLst>
        <p:guide orient="horz" pos="2704"/>
        <p:guide pos="3840"/>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showGuides="1">
      <p:cViewPr varScale="1">
        <p:scale>
          <a:sx n="155" d="100"/>
          <a:sy n="155" d="100"/>
        </p:scale>
        <p:origin x="4504" y="2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viewProps" Target="viewProps.xml"/><Relationship Id="rId19" Type="http://schemas.openxmlformats.org/officeDocument/2006/relationships/slide" Target="slides/slide1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tableStyles" Target="tableStyles.xml"/><Relationship Id="rId56" Type="http://schemas.openxmlformats.org/officeDocument/2006/relationships/notesMaster" Target="notesMasters/notes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8" Type="http://schemas.openxmlformats.org/officeDocument/2006/relationships/slideMaster" Target="slideMasters/slideMaster1.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theme" Target="theme/theme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0F76E7-66DB-49D1-89B6-8DEB888013AB}" type="doc">
      <dgm:prSet loTypeId="urn:microsoft.com/office/officeart/2005/8/layout/gear1" loCatId="relationship" qsTypeId="urn:microsoft.com/office/officeart/2005/8/quickstyle/simple1" qsCatId="simple" csTypeId="urn:microsoft.com/office/officeart/2005/8/colors/accent1_2" csCatId="accent1" phldr="1"/>
      <dgm:spPr/>
    </dgm:pt>
    <dgm:pt modelId="{747BCF79-ACAC-4A59-BF22-51BB1F8D9003}">
      <dgm:prSet phldrT="[Text]"/>
      <dgm:spPr/>
      <dgm:t>
        <a:bodyPr/>
        <a:lstStyle/>
        <a:p>
          <a:r>
            <a:rPr lang="en-GB" dirty="0">
              <a:solidFill>
                <a:schemeClr val="bg1"/>
              </a:solidFill>
            </a:rPr>
            <a:t>LFS</a:t>
          </a:r>
        </a:p>
      </dgm:t>
    </dgm:pt>
    <dgm:pt modelId="{2A0FB1F2-CCDF-48E0-BAC6-EE560B5C9D51}" type="parTrans" cxnId="{44819449-CAE0-4018-814F-A9DD5F078C49}">
      <dgm:prSet/>
      <dgm:spPr/>
      <dgm:t>
        <a:bodyPr/>
        <a:lstStyle/>
        <a:p>
          <a:endParaRPr lang="en-GB"/>
        </a:p>
      </dgm:t>
    </dgm:pt>
    <dgm:pt modelId="{7B0EFAC0-8171-4810-9216-C2C89950F40B}" type="sibTrans" cxnId="{44819449-CAE0-4018-814F-A9DD5F078C49}">
      <dgm:prSet/>
      <dgm:spPr/>
      <dgm:t>
        <a:bodyPr/>
        <a:lstStyle/>
        <a:p>
          <a:endParaRPr lang="en-GB"/>
        </a:p>
      </dgm:t>
    </dgm:pt>
    <dgm:pt modelId="{660265BD-62C5-4AA4-A19A-B85B0DEB8DD3}">
      <dgm:prSet phldrT="[Text]" custT="1"/>
      <dgm:spPr/>
      <dgm:t>
        <a:bodyPr/>
        <a:lstStyle/>
        <a:p>
          <a:r>
            <a:rPr lang="en-GB" sz="2800" dirty="0">
              <a:solidFill>
                <a:schemeClr val="bg1"/>
              </a:solidFill>
            </a:rPr>
            <a:t>APS</a:t>
          </a:r>
        </a:p>
      </dgm:t>
    </dgm:pt>
    <dgm:pt modelId="{59D54FAC-EB90-4A0F-8662-5420F20DF904}" type="parTrans" cxnId="{70F1B559-027E-4E23-AC4C-CF7CC0040B44}">
      <dgm:prSet/>
      <dgm:spPr/>
      <dgm:t>
        <a:bodyPr/>
        <a:lstStyle/>
        <a:p>
          <a:endParaRPr lang="en-GB"/>
        </a:p>
      </dgm:t>
    </dgm:pt>
    <dgm:pt modelId="{5C156C2B-CAA3-462F-B623-EDB220A8A653}" type="sibTrans" cxnId="{70F1B559-027E-4E23-AC4C-CF7CC0040B44}">
      <dgm:prSet/>
      <dgm:spPr/>
      <dgm:t>
        <a:bodyPr/>
        <a:lstStyle/>
        <a:p>
          <a:endParaRPr lang="en-GB"/>
        </a:p>
      </dgm:t>
    </dgm:pt>
    <dgm:pt modelId="{675B253A-2486-4D89-8AC7-37E5D365098F}" type="pres">
      <dgm:prSet presAssocID="{670F76E7-66DB-49D1-89B6-8DEB888013AB}" presName="composite" presStyleCnt="0">
        <dgm:presLayoutVars>
          <dgm:chMax val="3"/>
          <dgm:animLvl val="lvl"/>
          <dgm:resizeHandles val="exact"/>
        </dgm:presLayoutVars>
      </dgm:prSet>
      <dgm:spPr/>
    </dgm:pt>
    <dgm:pt modelId="{246F7168-AA62-43E4-B4C1-ACD90652EB2B}" type="pres">
      <dgm:prSet presAssocID="{747BCF79-ACAC-4A59-BF22-51BB1F8D9003}" presName="gear1" presStyleLbl="node1" presStyleIdx="0" presStyleCnt="2" custScaleX="78232" custScaleY="86763" custLinFactNeighborX="21708" custLinFactNeighborY="-11159">
        <dgm:presLayoutVars>
          <dgm:chMax val="1"/>
          <dgm:bulletEnabled val="1"/>
        </dgm:presLayoutVars>
      </dgm:prSet>
      <dgm:spPr/>
    </dgm:pt>
    <dgm:pt modelId="{8DDAE9F4-41E1-45F7-A618-50A31E66950B}" type="pres">
      <dgm:prSet presAssocID="{747BCF79-ACAC-4A59-BF22-51BB1F8D9003}" presName="gear1srcNode" presStyleLbl="node1" presStyleIdx="0" presStyleCnt="2"/>
      <dgm:spPr/>
    </dgm:pt>
    <dgm:pt modelId="{8D09876C-E552-4CA9-B21F-2DD8EDE0E7E6}" type="pres">
      <dgm:prSet presAssocID="{747BCF79-ACAC-4A59-BF22-51BB1F8D9003}" presName="gear1dstNode" presStyleLbl="node1" presStyleIdx="0" presStyleCnt="2"/>
      <dgm:spPr/>
    </dgm:pt>
    <dgm:pt modelId="{0A0634D7-5B14-4219-9542-6AC69C2E597C}" type="pres">
      <dgm:prSet presAssocID="{660265BD-62C5-4AA4-A19A-B85B0DEB8DD3}" presName="gear2" presStyleLbl="node1" presStyleIdx="1" presStyleCnt="2" custScaleX="109447" custScaleY="112141">
        <dgm:presLayoutVars>
          <dgm:chMax val="1"/>
          <dgm:bulletEnabled val="1"/>
        </dgm:presLayoutVars>
      </dgm:prSet>
      <dgm:spPr/>
    </dgm:pt>
    <dgm:pt modelId="{055E4A12-2D44-4C52-83F2-5AB58E0397E7}" type="pres">
      <dgm:prSet presAssocID="{660265BD-62C5-4AA4-A19A-B85B0DEB8DD3}" presName="gear2srcNode" presStyleLbl="node1" presStyleIdx="1" presStyleCnt="2"/>
      <dgm:spPr/>
    </dgm:pt>
    <dgm:pt modelId="{B0746E3F-A066-428B-9805-26DE079C2C46}" type="pres">
      <dgm:prSet presAssocID="{660265BD-62C5-4AA4-A19A-B85B0DEB8DD3}" presName="gear2dstNode" presStyleLbl="node1" presStyleIdx="1" presStyleCnt="2"/>
      <dgm:spPr/>
    </dgm:pt>
    <dgm:pt modelId="{BABE3365-1CBD-445F-8BBC-777590F27A20}" type="pres">
      <dgm:prSet presAssocID="{7B0EFAC0-8171-4810-9216-C2C89950F40B}" presName="connector1" presStyleLbl="sibTrans2D1" presStyleIdx="0" presStyleCnt="2"/>
      <dgm:spPr/>
    </dgm:pt>
    <dgm:pt modelId="{CFF50347-0D8D-4D20-A579-328E05DD7B8F}" type="pres">
      <dgm:prSet presAssocID="{5C156C2B-CAA3-462F-B623-EDB220A8A653}" presName="connector2" presStyleLbl="sibTrans2D1" presStyleIdx="1" presStyleCnt="2"/>
      <dgm:spPr/>
    </dgm:pt>
  </dgm:ptLst>
  <dgm:cxnLst>
    <dgm:cxn modelId="{44819449-CAE0-4018-814F-A9DD5F078C49}" srcId="{670F76E7-66DB-49D1-89B6-8DEB888013AB}" destId="{747BCF79-ACAC-4A59-BF22-51BB1F8D9003}" srcOrd="0" destOrd="0" parTransId="{2A0FB1F2-CCDF-48E0-BAC6-EE560B5C9D51}" sibTransId="{7B0EFAC0-8171-4810-9216-C2C89950F40B}"/>
    <dgm:cxn modelId="{FEE13B53-19E0-4DCA-B3EF-81DDB82CA12B}" type="presOf" srcId="{660265BD-62C5-4AA4-A19A-B85B0DEB8DD3}" destId="{055E4A12-2D44-4C52-83F2-5AB58E0397E7}" srcOrd="1" destOrd="0" presId="urn:microsoft.com/office/officeart/2005/8/layout/gear1"/>
    <dgm:cxn modelId="{83B7EF58-9B63-49AA-877B-BF0C9958AEA1}" type="presOf" srcId="{747BCF79-ACAC-4A59-BF22-51BB1F8D9003}" destId="{246F7168-AA62-43E4-B4C1-ACD90652EB2B}" srcOrd="0" destOrd="0" presId="urn:microsoft.com/office/officeart/2005/8/layout/gear1"/>
    <dgm:cxn modelId="{70F1B559-027E-4E23-AC4C-CF7CC0040B44}" srcId="{670F76E7-66DB-49D1-89B6-8DEB888013AB}" destId="{660265BD-62C5-4AA4-A19A-B85B0DEB8DD3}" srcOrd="1" destOrd="0" parTransId="{59D54FAC-EB90-4A0F-8662-5420F20DF904}" sibTransId="{5C156C2B-CAA3-462F-B623-EDB220A8A653}"/>
    <dgm:cxn modelId="{A33A7694-669B-4160-BD44-52047FCEDA09}" type="presOf" srcId="{660265BD-62C5-4AA4-A19A-B85B0DEB8DD3}" destId="{0A0634D7-5B14-4219-9542-6AC69C2E597C}" srcOrd="0" destOrd="0" presId="urn:microsoft.com/office/officeart/2005/8/layout/gear1"/>
    <dgm:cxn modelId="{8C997D97-2C7F-4386-9F61-E25DA9A706E4}" type="presOf" srcId="{7B0EFAC0-8171-4810-9216-C2C89950F40B}" destId="{BABE3365-1CBD-445F-8BBC-777590F27A20}" srcOrd="0" destOrd="0" presId="urn:microsoft.com/office/officeart/2005/8/layout/gear1"/>
    <dgm:cxn modelId="{6E0392AE-5BFC-435D-8E33-E1627C9FE8C6}" type="presOf" srcId="{660265BD-62C5-4AA4-A19A-B85B0DEB8DD3}" destId="{B0746E3F-A066-428B-9805-26DE079C2C46}" srcOrd="2" destOrd="0" presId="urn:microsoft.com/office/officeart/2005/8/layout/gear1"/>
    <dgm:cxn modelId="{C5223BBD-E8E5-4499-AD1A-B878E2366D47}" type="presOf" srcId="{747BCF79-ACAC-4A59-BF22-51BB1F8D9003}" destId="{8D09876C-E552-4CA9-B21F-2DD8EDE0E7E6}" srcOrd="2" destOrd="0" presId="urn:microsoft.com/office/officeart/2005/8/layout/gear1"/>
    <dgm:cxn modelId="{AA5990BE-12D0-4A92-9B96-ACEBB43F6245}" type="presOf" srcId="{670F76E7-66DB-49D1-89B6-8DEB888013AB}" destId="{675B253A-2486-4D89-8AC7-37E5D365098F}" srcOrd="0" destOrd="0" presId="urn:microsoft.com/office/officeart/2005/8/layout/gear1"/>
    <dgm:cxn modelId="{966E58CE-2071-417B-8BA4-224EFA3A4A51}" type="presOf" srcId="{5C156C2B-CAA3-462F-B623-EDB220A8A653}" destId="{CFF50347-0D8D-4D20-A579-328E05DD7B8F}" srcOrd="0" destOrd="0" presId="urn:microsoft.com/office/officeart/2005/8/layout/gear1"/>
    <dgm:cxn modelId="{7DAF28DA-B842-47E0-9E6C-F2EF3643B412}" type="presOf" srcId="{747BCF79-ACAC-4A59-BF22-51BB1F8D9003}" destId="{8DDAE9F4-41E1-45F7-A618-50A31E66950B}" srcOrd="1" destOrd="0" presId="urn:microsoft.com/office/officeart/2005/8/layout/gear1"/>
    <dgm:cxn modelId="{21EF7584-5CD1-443C-BEBF-47D720CDFE2F}" type="presParOf" srcId="{675B253A-2486-4D89-8AC7-37E5D365098F}" destId="{246F7168-AA62-43E4-B4C1-ACD90652EB2B}" srcOrd="0" destOrd="0" presId="urn:microsoft.com/office/officeart/2005/8/layout/gear1"/>
    <dgm:cxn modelId="{D390876E-7D52-4E50-BD55-1907F3DAAAE8}" type="presParOf" srcId="{675B253A-2486-4D89-8AC7-37E5D365098F}" destId="{8DDAE9F4-41E1-45F7-A618-50A31E66950B}" srcOrd="1" destOrd="0" presId="urn:microsoft.com/office/officeart/2005/8/layout/gear1"/>
    <dgm:cxn modelId="{E10B6644-A7F9-4A3B-A5C7-3E335E7FC66A}" type="presParOf" srcId="{675B253A-2486-4D89-8AC7-37E5D365098F}" destId="{8D09876C-E552-4CA9-B21F-2DD8EDE0E7E6}" srcOrd="2" destOrd="0" presId="urn:microsoft.com/office/officeart/2005/8/layout/gear1"/>
    <dgm:cxn modelId="{071EE7CA-BA22-4F0F-90C4-077301ED5367}" type="presParOf" srcId="{675B253A-2486-4D89-8AC7-37E5D365098F}" destId="{0A0634D7-5B14-4219-9542-6AC69C2E597C}" srcOrd="3" destOrd="0" presId="urn:microsoft.com/office/officeart/2005/8/layout/gear1"/>
    <dgm:cxn modelId="{38679B38-4B36-4CA2-8AAF-9CE0705CFC5A}" type="presParOf" srcId="{675B253A-2486-4D89-8AC7-37E5D365098F}" destId="{055E4A12-2D44-4C52-83F2-5AB58E0397E7}" srcOrd="4" destOrd="0" presId="urn:microsoft.com/office/officeart/2005/8/layout/gear1"/>
    <dgm:cxn modelId="{930154A8-33F9-4DD9-8814-5B53D9F54719}" type="presParOf" srcId="{675B253A-2486-4D89-8AC7-37E5D365098F}" destId="{B0746E3F-A066-428B-9805-26DE079C2C46}" srcOrd="5" destOrd="0" presId="urn:microsoft.com/office/officeart/2005/8/layout/gear1"/>
    <dgm:cxn modelId="{EF501229-6645-4EFC-861A-F153D364A3B8}" type="presParOf" srcId="{675B253A-2486-4D89-8AC7-37E5D365098F}" destId="{BABE3365-1CBD-445F-8BBC-777590F27A20}" srcOrd="6" destOrd="0" presId="urn:microsoft.com/office/officeart/2005/8/layout/gear1"/>
    <dgm:cxn modelId="{5CACCA59-126F-41B1-879F-F317EEB37F1C}" type="presParOf" srcId="{675B253A-2486-4D89-8AC7-37E5D365098F}" destId="{CFF50347-0D8D-4D20-A579-328E05DD7B8F}" srcOrd="7"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6F7168-AA62-43E4-B4C1-ACD90652EB2B}">
      <dsp:nvSpPr>
        <dsp:cNvPr id="0" name=""/>
        <dsp:cNvSpPr/>
      </dsp:nvSpPr>
      <dsp:spPr>
        <a:xfrm>
          <a:off x="4598430" y="1680631"/>
          <a:ext cx="2106865" cy="2336613"/>
        </a:xfrm>
        <a:prstGeom prst="gear9">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2133600">
            <a:lnSpc>
              <a:spcPct val="90000"/>
            </a:lnSpc>
            <a:spcBef>
              <a:spcPct val="0"/>
            </a:spcBef>
            <a:spcAft>
              <a:spcPct val="35000"/>
            </a:spcAft>
            <a:buNone/>
          </a:pPr>
          <a:r>
            <a:rPr lang="en-GB" sz="4800" kern="1200" dirty="0">
              <a:solidFill>
                <a:schemeClr val="bg1"/>
              </a:solidFill>
            </a:rPr>
            <a:t>LFS</a:t>
          </a:r>
        </a:p>
      </dsp:txBody>
      <dsp:txXfrm>
        <a:off x="5022004" y="2212707"/>
        <a:ext cx="1259717" cy="1230591"/>
      </dsp:txXfrm>
    </dsp:sp>
    <dsp:sp modelId="{0A0634D7-5B14-4219-9542-6AC69C2E597C}">
      <dsp:nvSpPr>
        <dsp:cNvPr id="0" name=""/>
        <dsp:cNvSpPr/>
      </dsp:nvSpPr>
      <dsp:spPr>
        <a:xfrm>
          <a:off x="2061285" y="1047463"/>
          <a:ext cx="2143648" cy="2196413"/>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GB" sz="2800" kern="1200" dirty="0">
              <a:solidFill>
                <a:schemeClr val="bg1"/>
              </a:solidFill>
            </a:rPr>
            <a:t>APS</a:t>
          </a:r>
        </a:p>
      </dsp:txBody>
      <dsp:txXfrm>
        <a:off x="2600955" y="1598179"/>
        <a:ext cx="1064308" cy="1094981"/>
      </dsp:txXfrm>
    </dsp:sp>
    <dsp:sp modelId="{BABE3365-1CBD-445F-8BBC-777590F27A20}">
      <dsp:nvSpPr>
        <dsp:cNvPr id="0" name=""/>
        <dsp:cNvSpPr/>
      </dsp:nvSpPr>
      <dsp:spPr>
        <a:xfrm>
          <a:off x="3865814" y="1333138"/>
          <a:ext cx="3312512" cy="3312512"/>
        </a:xfrm>
        <a:prstGeom prst="circularArrow">
          <a:avLst>
            <a:gd name="adj1" fmla="val 4878"/>
            <a:gd name="adj2" fmla="val 312630"/>
            <a:gd name="adj3" fmla="val 3192290"/>
            <a:gd name="adj4" fmla="val 15155104"/>
            <a:gd name="adj5" fmla="val 569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FF50347-0D8D-4D20-A579-328E05DD7B8F}">
      <dsp:nvSpPr>
        <dsp:cNvPr id="0" name=""/>
        <dsp:cNvSpPr/>
      </dsp:nvSpPr>
      <dsp:spPr>
        <a:xfrm>
          <a:off x="1806933" y="729979"/>
          <a:ext cx="2504582" cy="2504582"/>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1756CF1-1FCD-E243-925E-A75B8B4E667B}" type="datetimeFigureOut">
              <a:rPr lang="en-US" smtClean="0"/>
              <a:t>5/18/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3895EDB-6B5D-864C-AC6A-318791A1A935}" type="slidenum">
              <a:rPr lang="en-US" smtClean="0"/>
              <a:t>‹#›</a:t>
            </a:fld>
            <a:endParaRPr lang="en-US"/>
          </a:p>
        </p:txBody>
      </p:sp>
    </p:spTree>
    <p:extLst>
      <p:ext uri="{BB962C8B-B14F-4D97-AF65-F5344CB8AC3E}">
        <p14:creationId xmlns:p14="http://schemas.microsoft.com/office/powerpoint/2010/main" val="42383151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3895EDB-6B5D-864C-AC6A-318791A1A935}" type="slidenum">
              <a:rPr lang="en-US" smtClean="0"/>
              <a:t>1</a:t>
            </a:fld>
            <a:endParaRPr lang="en-US"/>
          </a:p>
        </p:txBody>
      </p:sp>
    </p:spTree>
    <p:extLst>
      <p:ext uri="{BB962C8B-B14F-4D97-AF65-F5344CB8AC3E}">
        <p14:creationId xmlns:p14="http://schemas.microsoft.com/office/powerpoint/2010/main" val="42073708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This hard check has occurred as DOB does not match respondent’s ag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fld id="{13895EDB-6B5D-864C-AC6A-318791A1A935}" type="slidenum">
              <a:rPr lang="en-US" smtClean="0"/>
              <a:t>17</a:t>
            </a:fld>
            <a:endParaRPr lang="en-US"/>
          </a:p>
        </p:txBody>
      </p:sp>
    </p:spTree>
    <p:extLst>
      <p:ext uri="{BB962C8B-B14F-4D97-AF65-F5344CB8AC3E}">
        <p14:creationId xmlns:p14="http://schemas.microsoft.com/office/powerpoint/2010/main" val="17599487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a:solidFill>
                  <a:schemeClr val="tx1"/>
                </a:solidFill>
                <a:effectLst/>
                <a:latin typeface="+mn-lt"/>
                <a:ea typeface="+mn-ea"/>
                <a:cs typeface="+mn-cs"/>
              </a:rPr>
              <a:t>9 March 2020: The public's heightened awareness of the coronavirus started to affect participation in the LFS.</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17 March 2020: Wave 1 face-to-face data collection was suspended, in line with government guidelines, while systems were developed to allow interviewers to conduct telephone interviewing from their homes.</a:t>
            </a:r>
          </a:p>
          <a:p>
            <a:r>
              <a:rPr lang="en-GB" sz="1200" b="0" i="0" kern="1200" dirty="0" err="1">
                <a:solidFill>
                  <a:schemeClr val="tx1"/>
                </a:solidFill>
                <a:effectLst/>
                <a:latin typeface="+mn-lt"/>
                <a:ea typeface="+mn-ea"/>
                <a:cs typeface="+mn-cs"/>
              </a:rPr>
              <a:t>Telematching</a:t>
            </a:r>
            <a:r>
              <a:rPr lang="en-GB" sz="1200" b="0" i="0" kern="1200" dirty="0">
                <a:solidFill>
                  <a:schemeClr val="tx1"/>
                </a:solidFill>
                <a:effectLst/>
                <a:latin typeface="+mn-lt"/>
                <a:ea typeface="+mn-ea"/>
                <a:cs typeface="+mn-cs"/>
              </a:rPr>
              <a:t>, which uses lookup information on telephone numbers associated with addresses (already used for respondents north of the Caledonian Canal) was extended to the rest of Great Britain to obtain additional telephone numbers for addresses in Wave 1.</a:t>
            </a:r>
          </a:p>
          <a:p>
            <a:r>
              <a:rPr lang="en-GB" sz="1200" b="0" i="0" kern="1200" dirty="0">
                <a:solidFill>
                  <a:schemeClr val="tx1"/>
                </a:solidFill>
                <a:effectLst/>
                <a:latin typeface="+mn-lt"/>
                <a:ea typeface="+mn-ea"/>
                <a:cs typeface="+mn-cs"/>
              </a:rPr>
              <a:t>LFS Waves 2 to 5 continued to be conducted via telephone where possible.</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23 March 2020: Commencement of official UK lockdown measures.</a:t>
            </a:r>
          </a:p>
          <a:p>
            <a:r>
              <a:rPr lang="en-GB" sz="1200" b="0" i="0" kern="1200" dirty="0">
                <a:solidFill>
                  <a:schemeClr val="tx1"/>
                </a:solidFill>
                <a:effectLst/>
                <a:latin typeface="+mn-lt"/>
                <a:ea typeface="+mn-ea"/>
                <a:cs typeface="+mn-cs"/>
              </a:rPr>
              <a:t>Face-to-face interviewers restarted interviewing intermittently using telephone mode. Additional advance materials were prepared to allow respondents to contact interviewers.</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30 March 2020: Telephone interviewing was rolled out fully to face-to-face interviewers.</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20 April 2020: A new online portal was put in place to allow improved collection of respondent telephone details.</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1 July 2020: Wave 1 sample size was doubled.</a:t>
            </a:r>
          </a:p>
          <a:p>
            <a:endParaRPr lang="en-GB" dirty="0"/>
          </a:p>
        </p:txBody>
      </p:sp>
      <p:sp>
        <p:nvSpPr>
          <p:cNvPr id="4" name="Slide Number Placeholder 3"/>
          <p:cNvSpPr>
            <a:spLocks noGrp="1"/>
          </p:cNvSpPr>
          <p:nvPr>
            <p:ph type="sldNum" sz="quarter" idx="5"/>
          </p:nvPr>
        </p:nvSpPr>
        <p:spPr/>
        <p:txBody>
          <a:bodyPr/>
          <a:lstStyle/>
          <a:p>
            <a:fld id="{13895EDB-6B5D-864C-AC6A-318791A1A935}" type="slidenum">
              <a:rPr lang="en-US" smtClean="0"/>
              <a:t>19</a:t>
            </a:fld>
            <a:endParaRPr lang="en-US"/>
          </a:p>
        </p:txBody>
      </p:sp>
    </p:spTree>
    <p:extLst>
      <p:ext uri="{BB962C8B-B14F-4D97-AF65-F5344CB8AC3E}">
        <p14:creationId xmlns:p14="http://schemas.microsoft.com/office/powerpoint/2010/main" val="23844308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ith the public awareness of COVID increasing rapidly in February and March, the survey response rates were obviously heavily affected by this. Here you can see the usual level or response rates on the LFS main and boost samples for W1 and W2+ - all between 50 and 60% over the course of 2019. This was still true for January and </a:t>
            </a:r>
            <a:r>
              <a:rPr lang="en-GB" dirty="0" err="1"/>
              <a:t>Feburary</a:t>
            </a:r>
            <a:r>
              <a:rPr lang="en-GB" dirty="0"/>
              <a:t> 2020.</a:t>
            </a:r>
          </a:p>
        </p:txBody>
      </p:sp>
      <p:sp>
        <p:nvSpPr>
          <p:cNvPr id="4" name="Slide Number Placeholder 3"/>
          <p:cNvSpPr>
            <a:spLocks noGrp="1"/>
          </p:cNvSpPr>
          <p:nvPr>
            <p:ph type="sldNum" sz="quarter" idx="5"/>
          </p:nvPr>
        </p:nvSpPr>
        <p:spPr/>
        <p:txBody>
          <a:bodyPr/>
          <a:lstStyle/>
          <a:p>
            <a:fld id="{13895EDB-6B5D-864C-AC6A-318791A1A935}" type="slidenum">
              <a:rPr lang="en-US" smtClean="0"/>
              <a:t>20</a:t>
            </a:fld>
            <a:endParaRPr lang="en-US"/>
          </a:p>
        </p:txBody>
      </p:sp>
    </p:spTree>
    <p:extLst>
      <p:ext uri="{BB962C8B-B14F-4D97-AF65-F5344CB8AC3E}">
        <p14:creationId xmlns:p14="http://schemas.microsoft.com/office/powerpoint/2010/main" val="39246067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But with beginning of March response rates for the LFS W1 sample considerably dropped to between 25 to 30%. The W2+ sample was also affected, but not as much.</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Since the face-to-face was paused on 17 March 2020, the size of the sample in the last two weeks of March was lower than it should be. The distribution of the sample should be approximately even over the weeks of a quarter. This had a knock-on effect in subsequent rolling quarters. To address this issue, we introduced a calibration control to ensure that the weighted distribution of the sample was evenly distributed over the weeks of the quarter within GB and NI.</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Bob suggested, we should say something about the introduction of weekly constraining to the weighting, so that even with the different levels of response, each week has roughly level weight within the three-month estimates.] </a:t>
            </a:r>
            <a:r>
              <a:rPr lang="en-GB" sz="1200" kern="1200" dirty="0">
                <a:solidFill>
                  <a:schemeClr val="tx1"/>
                </a:solidFill>
                <a:effectLst/>
                <a:latin typeface="+mn-lt"/>
                <a:ea typeface="+mn-ea"/>
                <a:cs typeface="+mn-cs"/>
                <a:sym typeface="Wingdings" panose="05000000000000000000" pitchFamily="2" charset="2"/>
              </a:rPr>
              <a:t> waiting for further info from Salah on this!</a:t>
            </a:r>
            <a:endParaRPr lang="en-GB" sz="120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fld id="{13895EDB-6B5D-864C-AC6A-318791A1A935}" type="slidenum">
              <a:rPr lang="en-US" smtClean="0"/>
              <a:t>21</a:t>
            </a:fld>
            <a:endParaRPr lang="en-US"/>
          </a:p>
        </p:txBody>
      </p:sp>
    </p:spTree>
    <p:extLst>
      <p:ext uri="{BB962C8B-B14F-4D97-AF65-F5344CB8AC3E}">
        <p14:creationId xmlns:p14="http://schemas.microsoft.com/office/powerpoint/2010/main" val="14100639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graph illustrates the drop in the achieved sample size in the second quarter of the year. Due to the increase of the sample boost in the third quarter, the W1 sample size recovered to previous year levels. However, it should be noted that as there is currently no face 2 face contact with sampled addresses, the characteristics of the achieved sample differ to some extent.</a:t>
            </a:r>
          </a:p>
        </p:txBody>
      </p:sp>
      <p:sp>
        <p:nvSpPr>
          <p:cNvPr id="4" name="Slide Number Placeholder 3"/>
          <p:cNvSpPr>
            <a:spLocks noGrp="1"/>
          </p:cNvSpPr>
          <p:nvPr>
            <p:ph type="sldNum" sz="quarter" idx="5"/>
          </p:nvPr>
        </p:nvSpPr>
        <p:spPr/>
        <p:txBody>
          <a:bodyPr/>
          <a:lstStyle/>
          <a:p>
            <a:fld id="{13895EDB-6B5D-864C-AC6A-318791A1A935}" type="slidenum">
              <a:rPr lang="en-US" smtClean="0"/>
              <a:t>22</a:t>
            </a:fld>
            <a:endParaRPr lang="en-US"/>
          </a:p>
        </p:txBody>
      </p:sp>
    </p:spTree>
    <p:extLst>
      <p:ext uri="{BB962C8B-B14F-4D97-AF65-F5344CB8AC3E}">
        <p14:creationId xmlns:p14="http://schemas.microsoft.com/office/powerpoint/2010/main" val="40469265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a:solidFill>
                  <a:schemeClr val="tx1"/>
                </a:solidFill>
                <a:effectLst/>
                <a:latin typeface="+mn-lt"/>
                <a:ea typeface="+mn-ea"/>
                <a:cs typeface="+mn-cs"/>
              </a:rPr>
              <a:t>When responses started to drop back in March, colleagues in the LMD started looking for patterns in weekly experimental datasets. At that point experimental weights were produced for these datasets to be able to assess what was happening in the data.</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The change in non-response bias was significantly evident in a change to the housing tenure of the Household Reference Person, with a lower proportion of rented addresses being included and an increase in the proportion of those owned outright by the occupier. Here you can see the distribution amongst W1 respondents.</a:t>
            </a:r>
          </a:p>
          <a:p>
            <a:endParaRPr lang="en-GB" sz="1200" b="0" i="0" kern="1200" dirty="0">
              <a:solidFill>
                <a:schemeClr val="tx1"/>
              </a:solidFill>
              <a:effectLst/>
              <a:latin typeface="+mn-lt"/>
              <a:ea typeface="+mn-ea"/>
              <a:cs typeface="+mn-cs"/>
            </a:endParaRPr>
          </a:p>
          <a:p>
            <a:endParaRPr lang="en-GB"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13895EDB-6B5D-864C-AC6A-318791A1A935}" type="slidenum">
              <a:rPr lang="en-US" smtClean="0"/>
              <a:t>23</a:t>
            </a:fld>
            <a:endParaRPr lang="en-US"/>
          </a:p>
        </p:txBody>
      </p:sp>
    </p:spTree>
    <p:extLst>
      <p:ext uri="{BB962C8B-B14F-4D97-AF65-F5344CB8AC3E}">
        <p14:creationId xmlns:p14="http://schemas.microsoft.com/office/powerpoint/2010/main" val="32203982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a:solidFill>
                  <a:schemeClr val="tx1"/>
                </a:solidFill>
                <a:effectLst/>
                <a:latin typeface="+mn-lt"/>
                <a:ea typeface="+mn-ea"/>
                <a:cs typeface="+mn-cs"/>
              </a:rPr>
              <a:t>And here for all waves together.</a:t>
            </a:r>
          </a:p>
          <a:p>
            <a:endParaRPr lang="en-GB"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To address this issue, we introduced housing tenure into the LFS weighting methodology.</a:t>
            </a:r>
            <a:r>
              <a:rPr lang="en-GB" sz="1200" kern="1200" dirty="0">
                <a:solidFill>
                  <a:schemeClr val="tx1"/>
                </a:solidFill>
                <a:effectLst/>
                <a:latin typeface="+mn-lt"/>
                <a:ea typeface="+mn-ea"/>
                <a:cs typeface="+mn-cs"/>
              </a:rPr>
              <a:t> All published LFS and APS datasets will now use this tenure weighting going forward.</a:t>
            </a:r>
          </a:p>
          <a:p>
            <a:r>
              <a:rPr lang="en-GB" sz="1200" b="0" i="0" kern="1200" dirty="0">
                <a:solidFill>
                  <a:schemeClr val="tx1"/>
                </a:solidFill>
                <a:effectLst/>
                <a:latin typeface="+mn-lt"/>
                <a:ea typeface="+mn-ea"/>
                <a:cs typeface="+mn-cs"/>
              </a:rPr>
              <a:t>I would like to add that we recognise that this adjustment is not a perfect solution, but it has rectified some of the issues that had previously been noted in the survey results. However, we are continuing investigations to see whether the tenure methodology can be enhanced.</a:t>
            </a:r>
          </a:p>
          <a:p>
            <a:endParaRPr lang="en-GB" dirty="0"/>
          </a:p>
        </p:txBody>
      </p:sp>
      <p:sp>
        <p:nvSpPr>
          <p:cNvPr id="4" name="Slide Number Placeholder 3"/>
          <p:cNvSpPr>
            <a:spLocks noGrp="1"/>
          </p:cNvSpPr>
          <p:nvPr>
            <p:ph type="sldNum" sz="quarter" idx="5"/>
          </p:nvPr>
        </p:nvSpPr>
        <p:spPr/>
        <p:txBody>
          <a:bodyPr/>
          <a:lstStyle/>
          <a:p>
            <a:fld id="{13895EDB-6B5D-864C-AC6A-318791A1A935}" type="slidenum">
              <a:rPr lang="en-US" smtClean="0"/>
              <a:t>24</a:t>
            </a:fld>
            <a:endParaRPr lang="en-US"/>
          </a:p>
        </p:txBody>
      </p:sp>
    </p:spTree>
    <p:extLst>
      <p:ext uri="{BB962C8B-B14F-4D97-AF65-F5344CB8AC3E}">
        <p14:creationId xmlns:p14="http://schemas.microsoft.com/office/powerpoint/2010/main" val="18538887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 have got here a few graphs from the publication in October, which demonstrate what impact the weight adjustment had.</a:t>
            </a:r>
          </a:p>
          <a:p>
            <a:endParaRPr lang="en-GB" dirty="0"/>
          </a:p>
        </p:txBody>
      </p:sp>
      <p:sp>
        <p:nvSpPr>
          <p:cNvPr id="4" name="Slide Number Placeholder 3"/>
          <p:cNvSpPr>
            <a:spLocks noGrp="1"/>
          </p:cNvSpPr>
          <p:nvPr>
            <p:ph type="sldNum" sz="quarter" idx="5"/>
          </p:nvPr>
        </p:nvSpPr>
        <p:spPr/>
        <p:txBody>
          <a:bodyPr/>
          <a:lstStyle/>
          <a:p>
            <a:fld id="{13895EDB-6B5D-864C-AC6A-318791A1A935}" type="slidenum">
              <a:rPr lang="en-US" smtClean="0"/>
              <a:t>25</a:t>
            </a:fld>
            <a:endParaRPr lang="en-US"/>
          </a:p>
        </p:txBody>
      </p:sp>
    </p:spTree>
    <p:extLst>
      <p:ext uri="{BB962C8B-B14F-4D97-AF65-F5344CB8AC3E}">
        <p14:creationId xmlns:p14="http://schemas.microsoft.com/office/powerpoint/2010/main" val="26120245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 publication of reweighted datasets:</a:t>
            </a:r>
          </a:p>
          <a:p>
            <a:endParaRPr lang="en-GB" dirty="0"/>
          </a:p>
          <a:p>
            <a:pPr lvl="0"/>
            <a:r>
              <a:rPr lang="en-GB" sz="1200" b="1" kern="1200" dirty="0">
                <a:solidFill>
                  <a:schemeClr val="tx1"/>
                </a:solidFill>
                <a:effectLst/>
                <a:latin typeface="+mn-lt"/>
                <a:ea typeface="+mn-ea"/>
                <a:cs typeface="+mn-cs"/>
              </a:rPr>
              <a:t>LFS person microdata </a:t>
            </a:r>
            <a:r>
              <a:rPr lang="en-GB" sz="1200" kern="1200" dirty="0">
                <a:solidFill>
                  <a:schemeClr val="tx1"/>
                </a:solidFill>
                <a:effectLst/>
                <a:latin typeface="+mn-lt"/>
                <a:ea typeface="+mn-ea"/>
                <a:cs typeface="+mn-cs"/>
              </a:rPr>
              <a:t>re-published last month</a:t>
            </a:r>
          </a:p>
          <a:p>
            <a:pPr lvl="0"/>
            <a:r>
              <a:rPr lang="en-GB" sz="1200" b="1" kern="1200" dirty="0">
                <a:solidFill>
                  <a:schemeClr val="tx1"/>
                </a:solidFill>
                <a:effectLst/>
                <a:latin typeface="+mn-lt"/>
                <a:ea typeface="+mn-ea"/>
                <a:cs typeface="+mn-cs"/>
              </a:rPr>
              <a:t>LFS Longitudinal</a:t>
            </a:r>
            <a:r>
              <a:rPr lang="en-GB" sz="1200" kern="1200" dirty="0">
                <a:solidFill>
                  <a:schemeClr val="tx1"/>
                </a:solidFill>
                <a:effectLst/>
                <a:latin typeface="+mn-lt"/>
                <a:ea typeface="+mn-ea"/>
                <a:cs typeface="+mn-cs"/>
              </a:rPr>
              <a:t> two-quarter microdata and </a:t>
            </a:r>
            <a:r>
              <a:rPr lang="en-GB" sz="1200" b="1" kern="1200" dirty="0">
                <a:solidFill>
                  <a:schemeClr val="tx1"/>
                </a:solidFill>
                <a:effectLst/>
                <a:latin typeface="+mn-lt"/>
                <a:ea typeface="+mn-ea"/>
                <a:cs typeface="+mn-cs"/>
              </a:rPr>
              <a:t>APS Person, Income and Wellbeing </a:t>
            </a:r>
            <a:r>
              <a:rPr lang="en-GB" sz="1200" kern="1200" dirty="0" err="1">
                <a:solidFill>
                  <a:schemeClr val="tx1"/>
                </a:solidFill>
                <a:effectLst/>
                <a:latin typeface="+mn-lt"/>
                <a:ea typeface="+mn-ea"/>
                <a:cs typeface="+mn-cs"/>
              </a:rPr>
              <a:t>mircodata</a:t>
            </a:r>
            <a:r>
              <a:rPr lang="en-GB" sz="1200" kern="1200" dirty="0">
                <a:solidFill>
                  <a:schemeClr val="tx1"/>
                </a:solidFill>
                <a:effectLst/>
                <a:latin typeface="+mn-lt"/>
                <a:ea typeface="+mn-ea"/>
                <a:cs typeface="+mn-cs"/>
              </a:rPr>
              <a:t> were released earlier this month, along with all the latest information for the Jul-Sept 20 period</a:t>
            </a:r>
          </a:p>
          <a:p>
            <a:pPr lvl="0"/>
            <a:r>
              <a:rPr lang="en-GB" sz="1200" kern="1200" dirty="0">
                <a:solidFill>
                  <a:schemeClr val="tx1"/>
                </a:solidFill>
                <a:effectLst/>
                <a:latin typeface="+mn-lt"/>
                <a:ea typeface="+mn-ea"/>
                <a:cs typeface="+mn-cs"/>
              </a:rPr>
              <a:t>Revised </a:t>
            </a:r>
            <a:r>
              <a:rPr lang="en-GB" sz="1200" b="1" kern="1200" dirty="0">
                <a:solidFill>
                  <a:schemeClr val="tx1"/>
                </a:solidFill>
                <a:effectLst/>
                <a:latin typeface="+mn-lt"/>
                <a:ea typeface="+mn-ea"/>
                <a:cs typeface="+mn-cs"/>
              </a:rPr>
              <a:t>LFS Household </a:t>
            </a:r>
            <a:r>
              <a:rPr lang="en-GB" sz="1200" kern="1200" dirty="0">
                <a:solidFill>
                  <a:schemeClr val="tx1"/>
                </a:solidFill>
                <a:effectLst/>
                <a:latin typeface="+mn-lt"/>
                <a:ea typeface="+mn-ea"/>
                <a:cs typeface="+mn-cs"/>
              </a:rPr>
              <a:t>microdata will not be released tomorrow (25</a:t>
            </a:r>
            <a:r>
              <a:rPr lang="en-GB" sz="1200" kern="1200" baseline="30000" dirty="0">
                <a:solidFill>
                  <a:schemeClr val="tx1"/>
                </a:solidFill>
                <a:effectLst/>
                <a:latin typeface="+mn-lt"/>
                <a:ea typeface="+mn-ea"/>
                <a:cs typeface="+mn-cs"/>
              </a:rPr>
              <a:t>th</a:t>
            </a:r>
            <a:r>
              <a:rPr lang="en-GB" sz="1200" kern="1200" dirty="0">
                <a:solidFill>
                  <a:schemeClr val="tx1"/>
                </a:solidFill>
                <a:effectLst/>
                <a:latin typeface="+mn-lt"/>
                <a:ea typeface="+mn-ea"/>
                <a:cs typeface="+mn-cs"/>
              </a:rPr>
              <a:t> November)</a:t>
            </a:r>
          </a:p>
          <a:p>
            <a:endParaRPr lang="en-GB" dirty="0"/>
          </a:p>
          <a:p>
            <a:r>
              <a:rPr lang="en-GB" dirty="0"/>
              <a:t>ONS is planning to reweight LFS/APS data back to 2020 with a refined adjustment reflecting on the non-response bias and the under-representation of non-UK born. A methods paper is to be published in May. </a:t>
            </a:r>
          </a:p>
        </p:txBody>
      </p:sp>
      <p:sp>
        <p:nvSpPr>
          <p:cNvPr id="4" name="Slide Number Placeholder 3"/>
          <p:cNvSpPr>
            <a:spLocks noGrp="1"/>
          </p:cNvSpPr>
          <p:nvPr>
            <p:ph type="sldNum" sz="quarter" idx="5"/>
          </p:nvPr>
        </p:nvSpPr>
        <p:spPr/>
        <p:txBody>
          <a:bodyPr/>
          <a:lstStyle/>
          <a:p>
            <a:fld id="{13895EDB-6B5D-864C-AC6A-318791A1A935}" type="slidenum">
              <a:rPr lang="en-US" smtClean="0"/>
              <a:t>27</a:t>
            </a:fld>
            <a:endParaRPr lang="en-US"/>
          </a:p>
        </p:txBody>
      </p:sp>
    </p:spTree>
    <p:extLst>
      <p:ext uri="{BB962C8B-B14F-4D97-AF65-F5344CB8AC3E}">
        <p14:creationId xmlns:p14="http://schemas.microsoft.com/office/powerpoint/2010/main" val="32261703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dditional questions were added at </a:t>
            </a:r>
            <a:r>
              <a:rPr lang="en-GB" sz="1200" kern="1200" dirty="0">
                <a:solidFill>
                  <a:schemeClr val="tx1"/>
                </a:solidFill>
                <a:effectLst/>
                <a:latin typeface="+mn-lt"/>
                <a:ea typeface="+mn-ea"/>
                <a:cs typeface="+mn-cs"/>
              </a:rPr>
              <a:t>Illne20/Illfst20/Illnxt20 to capture whether a sickness absence was due to COVID19. The new set of questions routes from the answer category ‘other’ as it was felt being the best fit available to avoid causing a disruption for the time series of the existing main sickness absence categories.</a:t>
            </a:r>
          </a:p>
          <a:p>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Several departments have a need to understand circumstances of furloughed workers. In order for us to monitor the impact of COVID19 on the labour market, it is important that </a:t>
            </a:r>
            <a:r>
              <a:rPr lang="en-GB" sz="1200" i="1" kern="1200" dirty="0" err="1">
                <a:solidFill>
                  <a:schemeClr val="tx1"/>
                </a:solidFill>
                <a:effectLst/>
                <a:latin typeface="+mn-lt"/>
                <a:ea typeface="+mn-ea"/>
                <a:cs typeface="+mn-cs"/>
              </a:rPr>
              <a:t>Wrking</a:t>
            </a:r>
            <a:r>
              <a:rPr lang="en-GB" sz="1200" kern="1200" dirty="0">
                <a:solidFill>
                  <a:schemeClr val="tx1"/>
                </a:solidFill>
                <a:effectLst/>
                <a:latin typeface="+mn-lt"/>
                <a:ea typeface="+mn-ea"/>
                <a:cs typeface="+mn-cs"/>
              </a:rPr>
              <a:t> and </a:t>
            </a:r>
            <a:r>
              <a:rPr lang="en-GB" sz="1200" i="1" kern="1200" dirty="0" err="1">
                <a:solidFill>
                  <a:schemeClr val="tx1"/>
                </a:solidFill>
                <a:effectLst/>
                <a:latin typeface="+mn-lt"/>
                <a:ea typeface="+mn-ea"/>
                <a:cs typeface="+mn-cs"/>
              </a:rPr>
              <a:t>JbAway</a:t>
            </a:r>
            <a:r>
              <a:rPr lang="en-GB" sz="1200" i="1" kern="1200" dirty="0">
                <a:solidFill>
                  <a:schemeClr val="tx1"/>
                </a:solidFill>
                <a:effectLst/>
                <a:latin typeface="+mn-lt"/>
                <a:ea typeface="+mn-ea"/>
                <a:cs typeface="+mn-cs"/>
              </a:rPr>
              <a:t> (away from job/business in the reference week)</a:t>
            </a:r>
            <a:r>
              <a:rPr lang="en-GB" sz="1200" kern="1200" dirty="0">
                <a:solidFill>
                  <a:schemeClr val="tx1"/>
                </a:solidFill>
                <a:effectLst/>
                <a:latin typeface="+mn-lt"/>
                <a:ea typeface="+mn-ea"/>
                <a:cs typeface="+mn-cs"/>
              </a:rPr>
              <a:t> are answered correctly. We provided interviewers with further instructions on how COVID19 related work changes need to be considered for existing questions. Any respondents who have a job that has been temporarily suspended (with or without pay) should answer “no” to </a:t>
            </a:r>
            <a:r>
              <a:rPr lang="en-GB" sz="1200" i="1" kern="1200" dirty="0" err="1">
                <a:solidFill>
                  <a:schemeClr val="tx1"/>
                </a:solidFill>
                <a:effectLst/>
                <a:latin typeface="+mn-lt"/>
                <a:ea typeface="+mn-ea"/>
                <a:cs typeface="+mn-cs"/>
              </a:rPr>
              <a:t>Wrking</a:t>
            </a:r>
            <a:r>
              <a:rPr lang="en-GB" sz="1200" i="1" kern="1200" dirty="0">
                <a:solidFill>
                  <a:schemeClr val="tx1"/>
                </a:solidFill>
                <a:effectLst/>
                <a:latin typeface="+mn-lt"/>
                <a:ea typeface="+mn-ea"/>
                <a:cs typeface="+mn-cs"/>
              </a:rPr>
              <a:t> (doing paid work in the reference week)</a:t>
            </a:r>
            <a:r>
              <a:rPr lang="en-GB" sz="1200" kern="1200" dirty="0">
                <a:solidFill>
                  <a:schemeClr val="tx1"/>
                </a:solidFill>
                <a:effectLst/>
                <a:latin typeface="+mn-lt"/>
                <a:ea typeface="+mn-ea"/>
                <a:cs typeface="+mn-cs"/>
              </a:rPr>
              <a:t>, but “yes” to </a:t>
            </a:r>
            <a:r>
              <a:rPr lang="en-GB" sz="1200" i="1" kern="1200" dirty="0" err="1">
                <a:solidFill>
                  <a:schemeClr val="tx1"/>
                </a:solidFill>
                <a:effectLst/>
                <a:latin typeface="+mn-lt"/>
                <a:ea typeface="+mn-ea"/>
                <a:cs typeface="+mn-cs"/>
              </a:rPr>
              <a:t>JbAway</a:t>
            </a:r>
            <a:r>
              <a:rPr lang="en-GB" sz="1200" i="1" kern="1200" dirty="0">
                <a:solidFill>
                  <a:schemeClr val="tx1"/>
                </a:solidFill>
                <a:effectLst/>
                <a:latin typeface="+mn-lt"/>
                <a:ea typeface="+mn-ea"/>
                <a:cs typeface="+mn-cs"/>
              </a:rPr>
              <a:t> (away from job/business in the reference week)</a:t>
            </a:r>
            <a:r>
              <a:rPr lang="en-GB" sz="1200" kern="1200" dirty="0">
                <a:solidFill>
                  <a:schemeClr val="tx1"/>
                </a:solidFill>
                <a:effectLst/>
                <a:latin typeface="+mn-lt"/>
                <a:ea typeface="+mn-ea"/>
                <a:cs typeface="+mn-cs"/>
              </a:rPr>
              <a:t>. Where </a:t>
            </a:r>
            <a:r>
              <a:rPr lang="en-GB" sz="1200" kern="1200" dirty="0" err="1">
                <a:solidFill>
                  <a:schemeClr val="tx1"/>
                </a:solidFill>
                <a:effectLst/>
                <a:latin typeface="+mn-lt"/>
                <a:ea typeface="+mn-ea"/>
                <a:cs typeface="+mn-cs"/>
              </a:rPr>
              <a:t>JbAway</a:t>
            </a:r>
            <a:r>
              <a:rPr lang="en-GB" sz="1200" kern="1200" dirty="0">
                <a:solidFill>
                  <a:schemeClr val="tx1"/>
                </a:solidFill>
                <a:effectLst/>
                <a:latin typeface="+mn-lt"/>
                <a:ea typeface="+mn-ea"/>
                <a:cs typeface="+mn-cs"/>
              </a:rPr>
              <a:t> is answered with “yes”, respondents are routed to the new questions that will identify furloughed workers. Only those who have permanently lost their job due to coronavirus should answer “no” at </a:t>
            </a:r>
            <a:r>
              <a:rPr lang="en-GB" sz="1200" kern="1200" dirty="0" err="1">
                <a:solidFill>
                  <a:schemeClr val="tx1"/>
                </a:solidFill>
                <a:effectLst/>
                <a:latin typeface="+mn-lt"/>
                <a:ea typeface="+mn-ea"/>
                <a:cs typeface="+mn-cs"/>
              </a:rPr>
              <a:t>JbAway</a:t>
            </a:r>
            <a:r>
              <a:rPr lang="en-GB" sz="1200" kern="1200" dirty="0">
                <a:solidFill>
                  <a:schemeClr val="tx1"/>
                </a:solidFill>
                <a:effectLst/>
                <a:latin typeface="+mn-lt"/>
                <a:ea typeface="+mn-ea"/>
                <a:cs typeface="+mn-cs"/>
              </a:rPr>
              <a:t>.</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Respondents are also be asked new questions if they are working </a:t>
            </a:r>
            <a:r>
              <a:rPr lang="en-GB" sz="1200" i="1" kern="1200" dirty="0">
                <a:solidFill>
                  <a:schemeClr val="tx1"/>
                </a:solidFill>
                <a:effectLst/>
                <a:latin typeface="+mn-lt"/>
                <a:ea typeface="+mn-ea"/>
                <a:cs typeface="+mn-cs"/>
              </a:rPr>
              <a:t>more</a:t>
            </a:r>
            <a:r>
              <a:rPr lang="en-GB" sz="1200" kern="1200" dirty="0">
                <a:solidFill>
                  <a:schemeClr val="tx1"/>
                </a:solidFill>
                <a:effectLst/>
                <a:latin typeface="+mn-lt"/>
                <a:ea typeface="+mn-ea"/>
                <a:cs typeface="+mn-cs"/>
              </a:rPr>
              <a:t> hours than usual. All options at </a:t>
            </a:r>
            <a:r>
              <a:rPr lang="en-GB" sz="1200" i="1" kern="1200" dirty="0" err="1">
                <a:solidFill>
                  <a:schemeClr val="tx1"/>
                </a:solidFill>
                <a:effectLst/>
                <a:latin typeface="+mn-lt"/>
                <a:ea typeface="+mn-ea"/>
                <a:cs typeface="+mn-cs"/>
              </a:rPr>
              <a:t>Ymore</a:t>
            </a:r>
            <a:r>
              <a:rPr lang="en-GB" sz="1200" kern="1200" dirty="0">
                <a:solidFill>
                  <a:schemeClr val="tx1"/>
                </a:solidFill>
                <a:effectLst/>
                <a:latin typeface="+mn-lt"/>
                <a:ea typeface="+mn-ea"/>
                <a:cs typeface="+mn-cs"/>
              </a:rPr>
              <a:t> will route to the new COVID questions to ensure all respondents affected by coronavirus are identified. </a:t>
            </a:r>
            <a:r>
              <a:rPr lang="en-GB" sz="1200" i="1" kern="1200" dirty="0">
                <a:solidFill>
                  <a:schemeClr val="tx1"/>
                </a:solidFill>
                <a:effectLst/>
                <a:latin typeface="+mn-lt"/>
                <a:ea typeface="+mn-ea"/>
                <a:cs typeface="+mn-cs"/>
              </a:rPr>
              <a:t>Coro20b3</a:t>
            </a:r>
            <a:r>
              <a:rPr lang="en-GB" sz="1200" kern="1200" dirty="0">
                <a:solidFill>
                  <a:schemeClr val="tx1"/>
                </a:solidFill>
                <a:effectLst/>
                <a:latin typeface="+mn-lt"/>
                <a:ea typeface="+mn-ea"/>
                <a:cs typeface="+mn-cs"/>
              </a:rPr>
              <a:t> also includes options covering health workers and key/essential workers in other industries. </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Just before the start of the state benefits section we have added a question that asks the respondent whether they are receiving support from two specific coronavirus-related schemes. It captures respondents receiving benefits through the Job Retention Scheme and the Self-employment Income Support Scheme. We recognise that respondents may not necessarily be aware of what scheme they are/were receiving support from, so the question also covers a ‘neither’ and ‘don’t know’ option.</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New questions have also been added to the pay section to establish why respondents where receiving less pay than usual. It is important to note that the usual pay information reflects the respondent’s standard pay BEFORE the coronavirus outbreak and that the recent pay reflects their current situation. This will allows you to analyse the impact of the outbreak on pay.</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Availability of LFS/APS datasets through the SRS have been much slower than normal since COVID (due to increase in data ingest; SRS resource); Not all COVID variables available on the UKDS or SRS versions, so far we’ve only made available what Labour Market have used in their published COVID analysis (this is largely centred around confidence in the variables). But we are now working on adding all COVID variable to the data files stored in the SRS (subject to SRS resource to progress this asap) and to UKDS files (subject to sign-off by SDC).</a:t>
            </a:r>
          </a:p>
          <a:p>
            <a:r>
              <a:rPr lang="en-GB" sz="1200" kern="1200" dirty="0">
                <a:solidFill>
                  <a:schemeClr val="tx1"/>
                </a:solidFill>
                <a:effectLst/>
                <a:latin typeface="+mn-lt"/>
                <a:ea typeface="+mn-ea"/>
                <a:cs typeface="+mn-cs"/>
              </a:rPr>
              <a:t> </a:t>
            </a:r>
          </a:p>
          <a:p>
            <a:pPr lvl="0"/>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13895EDB-6B5D-864C-AC6A-318791A1A935}" type="slidenum">
              <a:rPr lang="en-US" smtClean="0"/>
              <a:t>28</a:t>
            </a:fld>
            <a:endParaRPr lang="en-US"/>
          </a:p>
        </p:txBody>
      </p:sp>
    </p:spTree>
    <p:extLst>
      <p:ext uri="{BB962C8B-B14F-4D97-AF65-F5344CB8AC3E}">
        <p14:creationId xmlns:p14="http://schemas.microsoft.com/office/powerpoint/2010/main" val="759688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buFontTx/>
              <a:buChar char="•"/>
            </a:pPr>
            <a:r>
              <a:rPr lang="en-GB" dirty="0"/>
              <a:t> Equates to 120,000 individuals per quarter.</a:t>
            </a:r>
            <a:br>
              <a:rPr lang="en-GB" dirty="0"/>
            </a:br>
            <a:endParaRPr lang="en-GB" dirty="0"/>
          </a:p>
          <a:p>
            <a:pPr eaLnBrk="1" hangingPunct="1">
              <a:buFontTx/>
              <a:buChar char="•"/>
            </a:pPr>
            <a:r>
              <a:rPr lang="en-GB" dirty="0"/>
              <a:t> Its aim is to be representative of the whole UK population. Exceptions include those living in communal establishments and those in Halls of Residence (under review, but </a:t>
            </a:r>
            <a:r>
              <a:rPr lang="en-GB" dirty="0" err="1"/>
              <a:t>currenrly</a:t>
            </a:r>
            <a:r>
              <a:rPr lang="en-GB" dirty="0"/>
              <a:t> captured at parental address</a:t>
            </a:r>
          </a:p>
          <a:p>
            <a:pPr eaLnBrk="1" hangingPunct="1"/>
            <a:endParaRPr lang="en-GB" dirty="0"/>
          </a:p>
          <a:p>
            <a:endParaRPr lang="en-GB" dirty="0"/>
          </a:p>
        </p:txBody>
      </p:sp>
      <p:sp>
        <p:nvSpPr>
          <p:cNvPr id="4" name="Slide Number Placeholder 3"/>
          <p:cNvSpPr>
            <a:spLocks noGrp="1"/>
          </p:cNvSpPr>
          <p:nvPr>
            <p:ph type="sldNum" sz="quarter" idx="5"/>
          </p:nvPr>
        </p:nvSpPr>
        <p:spPr/>
        <p:txBody>
          <a:bodyPr/>
          <a:lstStyle/>
          <a:p>
            <a:fld id="{13895EDB-6B5D-864C-AC6A-318791A1A935}" type="slidenum">
              <a:rPr lang="en-US" smtClean="0"/>
              <a:t>5</a:t>
            </a:fld>
            <a:endParaRPr lang="en-US"/>
          </a:p>
        </p:txBody>
      </p:sp>
    </p:spTree>
    <p:extLst>
      <p:ext uri="{BB962C8B-B14F-4D97-AF65-F5344CB8AC3E}">
        <p14:creationId xmlns:p14="http://schemas.microsoft.com/office/powerpoint/2010/main" val="26043926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Telematching</a:t>
            </a:r>
            <a:r>
              <a:rPr lang="en-GB" dirty="0"/>
              <a:t> is usually just carried out for sampled addresses north of the Caledonian Canal. This was extended to the entire W1 sample in order to change from face to face to telephone interviews. </a:t>
            </a:r>
          </a:p>
          <a:p>
            <a:r>
              <a:rPr lang="en-GB" dirty="0"/>
              <a:t>In addition to that we set up an online portal for sampled households to enter their telephone numbers.</a:t>
            </a:r>
          </a:p>
          <a:p>
            <a:r>
              <a:rPr lang="en-GB" dirty="0"/>
              <a:t>We have so far doubled W1 sample sizes for JS20 and OD20</a:t>
            </a:r>
          </a:p>
          <a:p>
            <a:r>
              <a:rPr lang="en-GB" dirty="0"/>
              <a:t>And in light of the impact of estimates adjusted the weight calibration to include tenure.</a:t>
            </a:r>
          </a:p>
        </p:txBody>
      </p:sp>
      <p:sp>
        <p:nvSpPr>
          <p:cNvPr id="4" name="Slide Number Placeholder 3"/>
          <p:cNvSpPr>
            <a:spLocks noGrp="1"/>
          </p:cNvSpPr>
          <p:nvPr>
            <p:ph type="sldNum" sz="quarter" idx="5"/>
          </p:nvPr>
        </p:nvSpPr>
        <p:spPr/>
        <p:txBody>
          <a:bodyPr/>
          <a:lstStyle/>
          <a:p>
            <a:fld id="{13895EDB-6B5D-864C-AC6A-318791A1A935}" type="slidenum">
              <a:rPr lang="en-US" smtClean="0"/>
              <a:t>29</a:t>
            </a:fld>
            <a:endParaRPr lang="en-US"/>
          </a:p>
        </p:txBody>
      </p:sp>
    </p:spTree>
    <p:extLst>
      <p:ext uri="{BB962C8B-B14F-4D97-AF65-F5344CB8AC3E}">
        <p14:creationId xmlns:p14="http://schemas.microsoft.com/office/powerpoint/2010/main" val="25750111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a:solidFill>
                  <a:schemeClr val="tx1"/>
                </a:solidFill>
                <a:effectLst/>
                <a:latin typeface="+mn-lt"/>
                <a:ea typeface="+mn-ea"/>
                <a:cs typeface="+mn-cs"/>
              </a:rPr>
              <a:t>To collect labour market data via an online-first collection design, a new prototype product is being developed called the “Labour Market Survey” (LMS). The LMS is a mixed-mode survey that focuses on the core data collection requirements needed to produce labour market estimates. It is anticipated that after the integration of administrative data into the estimation system for labour market statistics, the LMS could replace the LFS and be the instrument used to collect any residual survey data requirements. The LMS would also be used to collect socio-demographic variables, which would allow the survey data to be linked to the administrative data sources. The design of the LMS is still in development and, as such, is currently a prototype. It is based on the design of the LFS, but there are some differences between the two products</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The online-only LMS was released in March 2020, comprising of a core set of questions that deliver variables critical to the delivery of our monthly Labour market publications. .</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In 2019 a large scale mixed mode test was conducted offering online mode first with a face-to-face follow-up. The results of this test are published on the ONS website.</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A further mix-mode test, offering online first with a telephone follow-up, was conducted in February 2020. This was on a much smaller scale and with the view to test practicalities around the field data collection. The result from this test were very promising and the launch of the telephone mode as a follow-up to the online mode is planned for July this year.</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It has not yet been decided when the LMS would replace the LFS as there is still further development ongoing.</a:t>
            </a:r>
            <a:endParaRPr lang="en-GB" dirty="0"/>
          </a:p>
        </p:txBody>
      </p:sp>
      <p:sp>
        <p:nvSpPr>
          <p:cNvPr id="4" name="Slide Number Placeholder 3"/>
          <p:cNvSpPr>
            <a:spLocks noGrp="1"/>
          </p:cNvSpPr>
          <p:nvPr>
            <p:ph type="sldNum" sz="quarter" idx="5"/>
          </p:nvPr>
        </p:nvSpPr>
        <p:spPr/>
        <p:txBody>
          <a:bodyPr/>
          <a:lstStyle/>
          <a:p>
            <a:fld id="{13895EDB-6B5D-864C-AC6A-318791A1A935}" type="slidenum">
              <a:rPr lang="en-US" smtClean="0"/>
              <a:t>30</a:t>
            </a:fld>
            <a:endParaRPr lang="en-US"/>
          </a:p>
        </p:txBody>
      </p:sp>
    </p:spTree>
    <p:extLst>
      <p:ext uri="{BB962C8B-B14F-4D97-AF65-F5344CB8AC3E}">
        <p14:creationId xmlns:p14="http://schemas.microsoft.com/office/powerpoint/2010/main" val="31605408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3895EDB-6B5D-864C-AC6A-318791A1A935}" type="slidenum">
              <a:rPr lang="en-US" smtClean="0"/>
              <a:t>32</a:t>
            </a:fld>
            <a:endParaRPr lang="en-US"/>
          </a:p>
        </p:txBody>
      </p:sp>
    </p:spTree>
    <p:extLst>
      <p:ext uri="{BB962C8B-B14F-4D97-AF65-F5344CB8AC3E}">
        <p14:creationId xmlns:p14="http://schemas.microsoft.com/office/powerpoint/2010/main" val="20698890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FS respondents are interviewed 5 times in total – once every quarter for a year. This allows certain longitudinal analysis to be performed on the data, particularly relating to employment information.</a:t>
            </a:r>
          </a:p>
        </p:txBody>
      </p:sp>
      <p:sp>
        <p:nvSpPr>
          <p:cNvPr id="4" name="Slide Number Placeholder 3"/>
          <p:cNvSpPr>
            <a:spLocks noGrp="1"/>
          </p:cNvSpPr>
          <p:nvPr>
            <p:ph type="sldNum" sz="quarter" idx="5"/>
          </p:nvPr>
        </p:nvSpPr>
        <p:spPr/>
        <p:txBody>
          <a:bodyPr/>
          <a:lstStyle/>
          <a:p>
            <a:fld id="{13895EDB-6B5D-864C-AC6A-318791A1A935}" type="slidenum">
              <a:rPr lang="en-US" smtClean="0"/>
              <a:t>35</a:t>
            </a:fld>
            <a:endParaRPr lang="en-US"/>
          </a:p>
        </p:txBody>
      </p:sp>
    </p:spTree>
    <p:extLst>
      <p:ext uri="{BB962C8B-B14F-4D97-AF65-F5344CB8AC3E}">
        <p14:creationId xmlns:p14="http://schemas.microsoft.com/office/powerpoint/2010/main" val="22381072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variables FLOW (labour force gross flow over a 12 month period) and ANFLOW (labour force gross flows across all five quarters) are available on the datasets. They give the categories relating to labour force gross flows in a convenient form. </a:t>
            </a:r>
          </a:p>
        </p:txBody>
      </p:sp>
      <p:sp>
        <p:nvSpPr>
          <p:cNvPr id="4" name="Slide Number Placeholder 3"/>
          <p:cNvSpPr>
            <a:spLocks noGrp="1"/>
          </p:cNvSpPr>
          <p:nvPr>
            <p:ph type="sldNum" sz="quarter" idx="5"/>
          </p:nvPr>
        </p:nvSpPr>
        <p:spPr/>
        <p:txBody>
          <a:bodyPr/>
          <a:lstStyle/>
          <a:p>
            <a:fld id="{13895EDB-6B5D-864C-AC6A-318791A1A935}" type="slidenum">
              <a:rPr lang="en-US" smtClean="0"/>
              <a:t>36</a:t>
            </a:fld>
            <a:endParaRPr lang="en-US"/>
          </a:p>
        </p:txBody>
      </p:sp>
    </p:spTree>
    <p:extLst>
      <p:ext uri="{BB962C8B-B14F-4D97-AF65-F5344CB8AC3E}">
        <p14:creationId xmlns:p14="http://schemas.microsoft.com/office/powerpoint/2010/main" val="9950451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t is important to note that the size of the achieved sample for the Well-Being and Sexual Identity variables within the APS dataset is much smaller than the full APS file. This reduction is due to the Well-Being and Sexual Identity questions only being asked of persons aged 16 and over, who gave a personal interview; proxy answers are not accepted. As a result some caution should be used when analysing responses to </a:t>
            </a:r>
            <a:r>
              <a:rPr lang="en-GB" dirty="0" err="1"/>
              <a:t>WellBeing</a:t>
            </a:r>
            <a:r>
              <a:rPr lang="en-GB" dirty="0"/>
              <a:t> and Sexual Identity questions at detailed geography areas, or other variables, where unweighted respondent numbers maybe relatively small</a:t>
            </a:r>
          </a:p>
        </p:txBody>
      </p:sp>
      <p:sp>
        <p:nvSpPr>
          <p:cNvPr id="4" name="Slide Number Placeholder 3"/>
          <p:cNvSpPr>
            <a:spLocks noGrp="1"/>
          </p:cNvSpPr>
          <p:nvPr>
            <p:ph type="sldNum" sz="quarter" idx="5"/>
          </p:nvPr>
        </p:nvSpPr>
        <p:spPr/>
        <p:txBody>
          <a:bodyPr/>
          <a:lstStyle/>
          <a:p>
            <a:fld id="{13895EDB-6B5D-864C-AC6A-318791A1A935}" type="slidenum">
              <a:rPr lang="en-US" smtClean="0"/>
              <a:t>37</a:t>
            </a:fld>
            <a:endParaRPr lang="en-US"/>
          </a:p>
        </p:txBody>
      </p:sp>
    </p:spTree>
    <p:extLst>
      <p:ext uri="{BB962C8B-B14F-4D97-AF65-F5344CB8AC3E}">
        <p14:creationId xmlns:p14="http://schemas.microsoft.com/office/powerpoint/2010/main" val="35938700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t is important to note that the size of the achieved sample for the Well-Being and Sexual Identity variables within the APS dataset is much smaller than the full APS file. This reduction is due to the Well-Being and Sexual Identity questions only being asked of persons aged 16 and over, who gave a personal interview; proxy answers are not accepted. As a result some caution should be used when analysing responses to </a:t>
            </a:r>
            <a:r>
              <a:rPr lang="en-GB" dirty="0" err="1"/>
              <a:t>WellBeing</a:t>
            </a:r>
            <a:r>
              <a:rPr lang="en-GB" dirty="0"/>
              <a:t> and Sexual Identity questions at detailed geography areas, or other variables, where unweighted respondent numbers maybe relatively small</a:t>
            </a:r>
          </a:p>
        </p:txBody>
      </p:sp>
      <p:sp>
        <p:nvSpPr>
          <p:cNvPr id="4" name="Slide Number Placeholder 3"/>
          <p:cNvSpPr>
            <a:spLocks noGrp="1"/>
          </p:cNvSpPr>
          <p:nvPr>
            <p:ph type="sldNum" sz="quarter" idx="5"/>
          </p:nvPr>
        </p:nvSpPr>
        <p:spPr/>
        <p:txBody>
          <a:bodyPr/>
          <a:lstStyle/>
          <a:p>
            <a:fld id="{13895EDB-6B5D-864C-AC6A-318791A1A935}" type="slidenum">
              <a:rPr lang="en-US" smtClean="0"/>
              <a:t>38</a:t>
            </a:fld>
            <a:endParaRPr lang="en-US"/>
          </a:p>
        </p:txBody>
      </p:sp>
    </p:spTree>
    <p:extLst>
      <p:ext uri="{BB962C8B-B14F-4D97-AF65-F5344CB8AC3E}">
        <p14:creationId xmlns:p14="http://schemas.microsoft.com/office/powerpoint/2010/main" val="27500569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pooled dataset should be treated solely as point-in-time estimates and not for any time series analysis. This is because two consecutive datasets will contain 2 years of the same information (e.g. if comparing J14D16 with J15D17, 2015 and 2016 information will be included in both, so what you are really comparing is 2014 with 2017, which ISN’T advisable) More information on the 3 pooled dataset can be found in user guide volume 6.</a:t>
            </a:r>
          </a:p>
        </p:txBody>
      </p:sp>
      <p:sp>
        <p:nvSpPr>
          <p:cNvPr id="4" name="Slide Number Placeholder 3"/>
          <p:cNvSpPr>
            <a:spLocks noGrp="1"/>
          </p:cNvSpPr>
          <p:nvPr>
            <p:ph type="sldNum" sz="quarter" idx="5"/>
          </p:nvPr>
        </p:nvSpPr>
        <p:spPr/>
        <p:txBody>
          <a:bodyPr/>
          <a:lstStyle/>
          <a:p>
            <a:fld id="{13895EDB-6B5D-864C-AC6A-318791A1A935}" type="slidenum">
              <a:rPr lang="en-US" smtClean="0"/>
              <a:t>39</a:t>
            </a:fld>
            <a:endParaRPr lang="en-US"/>
          </a:p>
        </p:txBody>
      </p:sp>
    </p:spTree>
    <p:extLst>
      <p:ext uri="{BB962C8B-B14F-4D97-AF65-F5344CB8AC3E}">
        <p14:creationId xmlns:p14="http://schemas.microsoft.com/office/powerpoint/2010/main" val="8433234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LFS is a household survey that tries to collect information for all eligible people in a sampled household. The LFS can therefore be used to conduct household and family level analysis. For example, the ONS uses the LFS to publish analysis on workless households. There are two datasets available for household/family analysis that all serve different purposes </a:t>
            </a:r>
            <a:r>
              <a:rPr lang="en-GB" dirty="0">
                <a:sym typeface="Wingdings" panose="05000000000000000000" pitchFamily="2" charset="2"/>
              </a:rPr>
              <a:t> LFS household and APS household.</a:t>
            </a:r>
          </a:p>
          <a:p>
            <a:endParaRPr lang="en-GB" dirty="0">
              <a:sym typeface="Wingdings" panose="05000000000000000000" pitchFamily="2" charset="2"/>
            </a:endParaRPr>
          </a:p>
          <a:p>
            <a:r>
              <a:rPr lang="en-GB" dirty="0"/>
              <a:t>Generally, when you want a count of the number of households, you need to apply the filter RELHRP6=0</a:t>
            </a:r>
          </a:p>
        </p:txBody>
      </p:sp>
      <p:sp>
        <p:nvSpPr>
          <p:cNvPr id="4" name="Slide Number Placeholder 3"/>
          <p:cNvSpPr>
            <a:spLocks noGrp="1"/>
          </p:cNvSpPr>
          <p:nvPr>
            <p:ph type="sldNum" sz="quarter" idx="5"/>
          </p:nvPr>
        </p:nvSpPr>
        <p:spPr/>
        <p:txBody>
          <a:bodyPr/>
          <a:lstStyle/>
          <a:p>
            <a:fld id="{13895EDB-6B5D-864C-AC6A-318791A1A935}" type="slidenum">
              <a:rPr lang="en-US" smtClean="0"/>
              <a:t>40</a:t>
            </a:fld>
            <a:endParaRPr lang="en-US"/>
          </a:p>
        </p:txBody>
      </p:sp>
    </p:spTree>
    <p:extLst>
      <p:ext uri="{BB962C8B-B14F-4D97-AF65-F5344CB8AC3E}">
        <p14:creationId xmlns:p14="http://schemas.microsoft.com/office/powerpoint/2010/main" val="27533382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LFS is a household survey that tries to collect information for all eligible people in a sampled household. The LFS can therefore be used to conduct household and family level analysis. For example, the ONS uses the LFS to publish analysis on workless households. There are two datasets available for household/family analysis that all serve different purposes </a:t>
            </a:r>
            <a:r>
              <a:rPr lang="en-GB" dirty="0">
                <a:sym typeface="Wingdings" panose="05000000000000000000" pitchFamily="2" charset="2"/>
              </a:rPr>
              <a:t> LFS household and APS household.</a:t>
            </a:r>
          </a:p>
          <a:p>
            <a:endParaRPr lang="en-GB" dirty="0">
              <a:sym typeface="Wingdings" panose="05000000000000000000" pitchFamily="2" charset="2"/>
            </a:endParaRPr>
          </a:p>
          <a:p>
            <a:r>
              <a:rPr lang="en-GB" dirty="0"/>
              <a:t>Generally, when you want a count of the number of households, you need to apply the filter RELHRP6=0</a:t>
            </a:r>
          </a:p>
        </p:txBody>
      </p:sp>
      <p:sp>
        <p:nvSpPr>
          <p:cNvPr id="4" name="Slide Number Placeholder 3"/>
          <p:cNvSpPr>
            <a:spLocks noGrp="1"/>
          </p:cNvSpPr>
          <p:nvPr>
            <p:ph type="sldNum" sz="quarter" idx="5"/>
          </p:nvPr>
        </p:nvSpPr>
        <p:spPr/>
        <p:txBody>
          <a:bodyPr/>
          <a:lstStyle/>
          <a:p>
            <a:fld id="{13895EDB-6B5D-864C-AC6A-318791A1A935}" type="slidenum">
              <a:rPr lang="en-US" smtClean="0"/>
              <a:t>41</a:t>
            </a:fld>
            <a:endParaRPr lang="en-US"/>
          </a:p>
        </p:txBody>
      </p:sp>
    </p:spTree>
    <p:extLst>
      <p:ext uri="{BB962C8B-B14F-4D97-AF65-F5344CB8AC3E}">
        <p14:creationId xmlns:p14="http://schemas.microsoft.com/office/powerpoint/2010/main" val="12603474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3895EDB-6B5D-864C-AC6A-318791A1A935}" type="slidenum">
              <a:rPr lang="en-US" smtClean="0"/>
              <a:t>6</a:t>
            </a:fld>
            <a:endParaRPr lang="en-US"/>
          </a:p>
        </p:txBody>
      </p:sp>
    </p:spTree>
    <p:extLst>
      <p:ext uri="{BB962C8B-B14F-4D97-AF65-F5344CB8AC3E}">
        <p14:creationId xmlns:p14="http://schemas.microsoft.com/office/powerpoint/2010/main" val="20544149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LFS collects information on a sample of the population. To enable us to make inferences from this sample to the entire eligible population we must weight the sample data. This entails assigning each responding or imputed case a weight (GROSSING WEIGHTS), which can be thought of as the number of people in the population which that case represents. </a:t>
            </a:r>
          </a:p>
          <a:p>
            <a:r>
              <a:rPr lang="en-GB" dirty="0"/>
              <a:t>The sum of the weights on any dataset make up the eligible population of the UK. Population weighting serves several purposes. It ensures that estimates reflect the sample design so that cases with a lower probability of selection will receive a higher weight to compensate. </a:t>
            </a:r>
          </a:p>
        </p:txBody>
      </p:sp>
      <p:sp>
        <p:nvSpPr>
          <p:cNvPr id="4" name="Slide Number Placeholder 3"/>
          <p:cNvSpPr>
            <a:spLocks noGrp="1"/>
          </p:cNvSpPr>
          <p:nvPr>
            <p:ph type="sldNum" sz="quarter" idx="5"/>
          </p:nvPr>
        </p:nvSpPr>
        <p:spPr/>
        <p:txBody>
          <a:bodyPr/>
          <a:lstStyle/>
          <a:p>
            <a:fld id="{13895EDB-6B5D-864C-AC6A-318791A1A935}" type="slidenum">
              <a:rPr lang="en-US" smtClean="0"/>
              <a:t>42</a:t>
            </a:fld>
            <a:endParaRPr lang="en-US"/>
          </a:p>
        </p:txBody>
      </p:sp>
    </p:spTree>
    <p:extLst>
      <p:ext uri="{BB962C8B-B14F-4D97-AF65-F5344CB8AC3E}">
        <p14:creationId xmlns:p14="http://schemas.microsoft.com/office/powerpoint/2010/main" val="5956160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me are specific to quarters or LFS or APS only (examples?)</a:t>
            </a:r>
          </a:p>
          <a:p>
            <a:r>
              <a:rPr lang="en-GB" dirty="0"/>
              <a:t>Missing values</a:t>
            </a:r>
          </a:p>
          <a:p>
            <a:r>
              <a:rPr lang="en-GB" dirty="0"/>
              <a:t>Data brought forward</a:t>
            </a:r>
          </a:p>
          <a:p>
            <a:endParaRPr lang="en-GB" dirty="0"/>
          </a:p>
        </p:txBody>
      </p:sp>
      <p:sp>
        <p:nvSpPr>
          <p:cNvPr id="4" name="Slide Number Placeholder 3"/>
          <p:cNvSpPr>
            <a:spLocks noGrp="1"/>
          </p:cNvSpPr>
          <p:nvPr>
            <p:ph type="sldNum" sz="quarter" idx="5"/>
          </p:nvPr>
        </p:nvSpPr>
        <p:spPr/>
        <p:txBody>
          <a:bodyPr/>
          <a:lstStyle/>
          <a:p>
            <a:fld id="{13895EDB-6B5D-864C-AC6A-318791A1A935}" type="slidenum">
              <a:rPr lang="en-US" smtClean="0"/>
              <a:t>43</a:t>
            </a:fld>
            <a:endParaRPr lang="en-US"/>
          </a:p>
        </p:txBody>
      </p:sp>
    </p:spTree>
    <p:extLst>
      <p:ext uri="{BB962C8B-B14F-4D97-AF65-F5344CB8AC3E}">
        <p14:creationId xmlns:p14="http://schemas.microsoft.com/office/powerpoint/2010/main" val="34740370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INKING PROCEDURE</a:t>
            </a:r>
            <a:br>
              <a:rPr lang="en-GB" dirty="0"/>
            </a:br>
            <a:r>
              <a:rPr lang="en-GB" dirty="0"/>
              <a:t>The individual-level LFS dataset for the first of the period to be linked (quarter for the LFS or yearly for the APS) is used to produce a reduced cross-sectional dataset confined to the age range and variables to be used for the longitudinal dataset. A unique identification variable (PERSID) is created. A similar procedure is followed on the datasets for the other periods that are to be linked. The datasets for the two quarter, five quarter or two year to be linked are matched by the unique identification variable and checked to ensure that the cases linked match also on sex and date of birth. All unmatched cases are dropped, as are all cases where the data were rolled forward, or where there are no data on economic activity, at any of the quarters.</a:t>
            </a:r>
          </a:p>
          <a:p>
            <a:endParaRPr lang="en-GB" dirty="0"/>
          </a:p>
          <a:p>
            <a:r>
              <a:rPr lang="en-GB" dirty="0"/>
              <a:t>POOLING PROCEDURE</a:t>
            </a:r>
          </a:p>
          <a:p>
            <a:endParaRPr lang="en-GB" dirty="0"/>
          </a:p>
        </p:txBody>
      </p:sp>
      <p:sp>
        <p:nvSpPr>
          <p:cNvPr id="4" name="Slide Number Placeholder 3"/>
          <p:cNvSpPr>
            <a:spLocks noGrp="1"/>
          </p:cNvSpPr>
          <p:nvPr>
            <p:ph type="sldNum" sz="quarter" idx="5"/>
          </p:nvPr>
        </p:nvSpPr>
        <p:spPr/>
        <p:txBody>
          <a:bodyPr/>
          <a:lstStyle/>
          <a:p>
            <a:fld id="{13895EDB-6B5D-864C-AC6A-318791A1A935}" type="slidenum">
              <a:rPr lang="en-US" smtClean="0"/>
              <a:t>44</a:t>
            </a:fld>
            <a:endParaRPr lang="en-US"/>
          </a:p>
        </p:txBody>
      </p:sp>
    </p:spTree>
    <p:extLst>
      <p:ext uri="{BB962C8B-B14F-4D97-AF65-F5344CB8AC3E}">
        <p14:creationId xmlns:p14="http://schemas.microsoft.com/office/powerpoint/2010/main" val="18631082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3895EDB-6B5D-864C-AC6A-318791A1A935}" type="slidenum">
              <a:rPr lang="en-US" smtClean="0"/>
              <a:t>47</a:t>
            </a:fld>
            <a:endParaRPr lang="en-US"/>
          </a:p>
        </p:txBody>
      </p:sp>
    </p:spTree>
    <p:extLst>
      <p:ext uri="{BB962C8B-B14F-4D97-AF65-F5344CB8AC3E}">
        <p14:creationId xmlns:p14="http://schemas.microsoft.com/office/powerpoint/2010/main" val="31779847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90000"/>
              </a:lnSpc>
              <a:buFontTx/>
              <a:buChar char="•"/>
            </a:pPr>
            <a:r>
              <a:rPr lang="en-GB" dirty="0"/>
              <a:t>The data are collected using CAPI; Computer Assisted Personal Interviewing. This involves an electronic questionnaire, designed using software called Blaise. </a:t>
            </a:r>
          </a:p>
          <a:p>
            <a:pPr eaLnBrk="1" hangingPunct="1">
              <a:lnSpc>
                <a:spcPct val="90000"/>
              </a:lnSpc>
              <a:buFontTx/>
              <a:buChar char="•"/>
            </a:pPr>
            <a:r>
              <a:rPr lang="en-GB" dirty="0"/>
              <a:t>For the majority of wave 1 cases, the questionnaire is asked by field interviewers who visit respondents’ homes.</a:t>
            </a:r>
          </a:p>
          <a:p>
            <a:pPr eaLnBrk="1" hangingPunct="1">
              <a:lnSpc>
                <a:spcPct val="90000"/>
              </a:lnSpc>
              <a:buFontTx/>
              <a:buChar char="•"/>
            </a:pPr>
            <a:r>
              <a:rPr lang="en-GB" dirty="0"/>
              <a:t>However, waves 2-5 are conducted by the telephone interviewers in the Telephone Unit in Titchfield. </a:t>
            </a:r>
          </a:p>
          <a:p>
            <a:pPr eaLnBrk="1" hangingPunct="1">
              <a:lnSpc>
                <a:spcPct val="90000"/>
              </a:lnSpc>
              <a:buFontTx/>
              <a:buChar char="•"/>
            </a:pPr>
            <a:r>
              <a:rPr lang="en-GB" dirty="0"/>
              <a:t>If respondents prefer, they are able to request that the subsequent waves be conducted face to face instead of over the phone.</a:t>
            </a:r>
          </a:p>
          <a:p>
            <a:pPr eaLnBrk="1" hangingPunct="1">
              <a:lnSpc>
                <a:spcPct val="90000"/>
              </a:lnSpc>
              <a:buFontTx/>
              <a:buChar char="•"/>
            </a:pPr>
            <a:r>
              <a:rPr lang="en-GB" dirty="0"/>
              <a:t>The primary reason for using the TU is to reduce costs. The interviews also tend to be shorter than the wave 1 so it is more efficient and convenient to use telephone interviewing.</a:t>
            </a:r>
          </a:p>
          <a:p>
            <a:pPr eaLnBrk="1" hangingPunct="1">
              <a:lnSpc>
                <a:spcPct val="90000"/>
              </a:lnSpc>
              <a:buFontTx/>
              <a:buChar char="•"/>
            </a:pPr>
            <a:r>
              <a:rPr lang="en-GB" dirty="0"/>
              <a:t>North of the Caledonian Canal is sparsely-populated which makes face to face interviewing very expensive. As a result the interviews are conducted over the telephone as this reduces costs. </a:t>
            </a:r>
          </a:p>
          <a:p>
            <a:pPr eaLnBrk="1" hangingPunct="1">
              <a:lnSpc>
                <a:spcPct val="90000"/>
              </a:lnSpc>
              <a:buFontTx/>
              <a:buChar char="•"/>
            </a:pPr>
            <a:r>
              <a:rPr lang="en-GB" dirty="0"/>
              <a:t>One third of LFS data are collected by proxy and studies have shown that the reliability of such data is generally good.</a:t>
            </a:r>
          </a:p>
        </p:txBody>
      </p:sp>
      <p:sp>
        <p:nvSpPr>
          <p:cNvPr id="4" name="Slide Number Placeholder 3"/>
          <p:cNvSpPr>
            <a:spLocks noGrp="1"/>
          </p:cNvSpPr>
          <p:nvPr>
            <p:ph type="sldNum" sz="quarter" idx="5"/>
          </p:nvPr>
        </p:nvSpPr>
        <p:spPr/>
        <p:txBody>
          <a:bodyPr/>
          <a:lstStyle/>
          <a:p>
            <a:fld id="{13895EDB-6B5D-864C-AC6A-318791A1A935}" type="slidenum">
              <a:rPr lang="en-US" smtClean="0"/>
              <a:t>12</a:t>
            </a:fld>
            <a:endParaRPr lang="en-US"/>
          </a:p>
        </p:txBody>
      </p:sp>
    </p:spTree>
    <p:extLst>
      <p:ext uri="{BB962C8B-B14F-4D97-AF65-F5344CB8AC3E}">
        <p14:creationId xmlns:p14="http://schemas.microsoft.com/office/powerpoint/2010/main" val="39093259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don’t provide showcards for a lot of other questions where you might expect them because they have a lot of answer options (e.g. education qualifications) ….</a:t>
            </a:r>
            <a:r>
              <a:rPr lang="en-GB" b="1" dirty="0"/>
              <a:t>why don’t we?</a:t>
            </a:r>
          </a:p>
          <a:p>
            <a:endParaRPr lang="en-GB" dirty="0"/>
          </a:p>
          <a:p>
            <a:endParaRPr lang="en-GB" dirty="0"/>
          </a:p>
        </p:txBody>
      </p:sp>
      <p:sp>
        <p:nvSpPr>
          <p:cNvPr id="4" name="Slide Number Placeholder 3"/>
          <p:cNvSpPr>
            <a:spLocks noGrp="1"/>
          </p:cNvSpPr>
          <p:nvPr>
            <p:ph type="sldNum" sz="quarter" idx="5"/>
          </p:nvPr>
        </p:nvSpPr>
        <p:spPr/>
        <p:txBody>
          <a:bodyPr/>
          <a:lstStyle/>
          <a:p>
            <a:fld id="{13895EDB-6B5D-864C-AC6A-318791A1A935}" type="slidenum">
              <a:rPr lang="en-US" smtClean="0"/>
              <a:t>15</a:t>
            </a:fld>
            <a:endParaRPr lang="en-US"/>
          </a:p>
        </p:txBody>
      </p:sp>
    </p:spTree>
    <p:extLst>
      <p:ext uri="{BB962C8B-B14F-4D97-AF65-F5344CB8AC3E}">
        <p14:creationId xmlns:p14="http://schemas.microsoft.com/office/powerpoint/2010/main" val="16818678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This soft check has occurred due to the respondent entering an unusually high salary. The gross pay value entered was £70,000 and period given was weekly (1). This is more likely to have been an annual salary. </a:t>
            </a:r>
          </a:p>
          <a:p>
            <a:endParaRPr lang="en-GB" dirty="0"/>
          </a:p>
        </p:txBody>
      </p:sp>
      <p:sp>
        <p:nvSpPr>
          <p:cNvPr id="4" name="Slide Number Placeholder 3"/>
          <p:cNvSpPr>
            <a:spLocks noGrp="1"/>
          </p:cNvSpPr>
          <p:nvPr>
            <p:ph type="sldNum" sz="quarter" idx="5"/>
          </p:nvPr>
        </p:nvSpPr>
        <p:spPr/>
        <p:txBody>
          <a:bodyPr/>
          <a:lstStyle/>
          <a:p>
            <a:fld id="{13895EDB-6B5D-864C-AC6A-318791A1A935}" type="slidenum">
              <a:rPr lang="en-US" smtClean="0"/>
              <a:t>16</a:t>
            </a:fld>
            <a:endParaRPr lang="en-US"/>
          </a:p>
        </p:txBody>
      </p:sp>
    </p:spTree>
    <p:extLst>
      <p:ext uri="{BB962C8B-B14F-4D97-AF65-F5344CB8AC3E}">
        <p14:creationId xmlns:p14="http://schemas.microsoft.com/office/powerpoint/2010/main" val="35745467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lumMod val="95000"/>
          </a:schemeClr>
        </a:solidFill>
        <a:effectLst/>
      </p:bgPr>
    </p:bg>
    <p:spTree>
      <p:nvGrpSpPr>
        <p:cNvPr id="1" name=""/>
        <p:cNvGrpSpPr/>
        <p:nvPr/>
      </p:nvGrpSpPr>
      <p:grpSpPr>
        <a:xfrm>
          <a:off x="0" y="0"/>
          <a:ext cx="0" cy="0"/>
          <a:chOff x="0" y="0"/>
          <a:chExt cx="0" cy="0"/>
        </a:xfrm>
      </p:grpSpPr>
      <p:sp>
        <p:nvSpPr>
          <p:cNvPr id="13" name="Slide Number Placeholder">
            <a:extLst>
              <a:ext uri="{FF2B5EF4-FFF2-40B4-BE49-F238E27FC236}">
                <a16:creationId xmlns:a16="http://schemas.microsoft.com/office/drawing/2014/main" id="{B3003A7E-23D8-E24C-BF09-F295F1F8A7DE}"/>
              </a:ext>
            </a:extLst>
          </p:cNvPr>
          <p:cNvSpPr>
            <a:spLocks noGrp="1"/>
          </p:cNvSpPr>
          <p:nvPr>
            <p:ph type="sldNum" sz="quarter" idx="12"/>
          </p:nvPr>
        </p:nvSpPr>
        <p:spPr/>
        <p:txBody>
          <a:bodyPr/>
          <a:lstStyle/>
          <a:p>
            <a:pPr algn="ctr"/>
            <a:fld id="{232417FB-2EF4-EC49-BC13-97513C37E9E5}" type="slidenum">
              <a:rPr lang="en-US" smtClean="0"/>
              <a:pPr algn="ctr"/>
              <a:t>‹#›</a:t>
            </a:fld>
            <a:endParaRPr lang="en-US" dirty="0"/>
          </a:p>
        </p:txBody>
      </p:sp>
      <p:sp>
        <p:nvSpPr>
          <p:cNvPr id="12" name="Footer Placeholder">
            <a:extLst>
              <a:ext uri="{FF2B5EF4-FFF2-40B4-BE49-F238E27FC236}">
                <a16:creationId xmlns:a16="http://schemas.microsoft.com/office/drawing/2014/main" id="{9BF0A45B-F2C7-C449-BF19-A76C374C0424}"/>
              </a:ext>
            </a:extLst>
          </p:cNvPr>
          <p:cNvSpPr>
            <a:spLocks noGrp="1"/>
          </p:cNvSpPr>
          <p:nvPr>
            <p:ph type="ftr" sz="quarter" idx="11"/>
          </p:nvPr>
        </p:nvSpPr>
        <p:spPr/>
        <p:txBody>
          <a:bodyPr/>
          <a:lstStyle/>
          <a:p>
            <a:endParaRPr lang="en-US" dirty="0"/>
          </a:p>
        </p:txBody>
      </p:sp>
      <p:sp>
        <p:nvSpPr>
          <p:cNvPr id="3" name="Title Placeholder">
            <a:extLst>
              <a:ext uri="{FF2B5EF4-FFF2-40B4-BE49-F238E27FC236}">
                <a16:creationId xmlns:a16="http://schemas.microsoft.com/office/drawing/2014/main" id="{48485E20-F5C4-4B08-A033-1AF23AE221F2}"/>
              </a:ext>
            </a:extLst>
          </p:cNvPr>
          <p:cNvSpPr>
            <a:spLocks noGrp="1"/>
          </p:cNvSpPr>
          <p:nvPr>
            <p:ph type="title" hasCustomPrompt="1"/>
          </p:nvPr>
        </p:nvSpPr>
        <p:spPr>
          <a:xfrm>
            <a:off x="838200" y="848994"/>
            <a:ext cx="6821557" cy="1325563"/>
          </a:xfrm>
          <a:prstGeom prst="rect">
            <a:avLst/>
          </a:prstGeom>
        </p:spPr>
        <p:txBody>
          <a:bodyPr/>
          <a:lstStyle>
            <a:lvl1pPr>
              <a:defRPr/>
            </a:lvl1pPr>
          </a:lstStyle>
          <a:p>
            <a:r>
              <a:rPr lang="en-US" dirty="0"/>
              <a:t>Write your title here</a:t>
            </a:r>
            <a:br>
              <a:rPr lang="en-US" dirty="0"/>
            </a:br>
            <a:r>
              <a:rPr lang="en-US" dirty="0"/>
              <a:t>(in sentence case)</a:t>
            </a:r>
            <a:endParaRPr lang="en-GB" dirty="0"/>
          </a:p>
        </p:txBody>
      </p:sp>
      <p:sp>
        <p:nvSpPr>
          <p:cNvPr id="21" name="Presenter Text Placeholder">
            <a:extLst>
              <a:ext uri="{FF2B5EF4-FFF2-40B4-BE49-F238E27FC236}">
                <a16:creationId xmlns:a16="http://schemas.microsoft.com/office/drawing/2014/main" id="{8A06CB80-AF0F-B54A-A31F-0FB8E0F9BB86}"/>
              </a:ext>
            </a:extLst>
          </p:cNvPr>
          <p:cNvSpPr>
            <a:spLocks noGrp="1"/>
          </p:cNvSpPr>
          <p:nvPr>
            <p:ph idx="13" hasCustomPrompt="1"/>
          </p:nvPr>
        </p:nvSpPr>
        <p:spPr>
          <a:xfrm>
            <a:off x="838200" y="4272971"/>
            <a:ext cx="10515600" cy="430887"/>
          </a:xfrm>
          <a:prstGeom prst="rect">
            <a:avLst/>
          </a:prstGeom>
        </p:spPr>
        <p:txBody>
          <a:bodyPr vert="horz" lIns="0" tIns="0" rIns="0" bIns="0" rtlCol="0" anchor="b" anchorCtr="0">
            <a:spAutoFit/>
          </a:bodyPr>
          <a:lstStyle>
            <a:lvl1pPr marL="0" indent="0">
              <a:spcBef>
                <a:spcPts val="0"/>
              </a:spcBef>
              <a:buNone/>
              <a:defRPr sz="2800" b="1" i="0">
                <a:latin typeface="Arial" panose="020B0604020202020204" pitchFamily="34" charset="0"/>
                <a:cs typeface="Arial" panose="020B0604020202020204" pitchFamily="34" charset="0"/>
              </a:defRPr>
            </a:lvl1pPr>
          </a:lstStyle>
          <a:p>
            <a:pPr>
              <a:lnSpc>
                <a:spcPct val="100000"/>
              </a:lnSpc>
            </a:pPr>
            <a:r>
              <a:rPr lang="en-US" dirty="0">
                <a:solidFill>
                  <a:srgbClr val="183E56"/>
                </a:solidFill>
                <a:latin typeface="Arial" panose="020B0604020202020204" pitchFamily="34" charset="0"/>
                <a:cs typeface="Arial" panose="020B0604020202020204" pitchFamily="34" charset="0"/>
              </a:rPr>
              <a:t>Presenter Name</a:t>
            </a:r>
          </a:p>
        </p:txBody>
      </p:sp>
      <p:sp>
        <p:nvSpPr>
          <p:cNvPr id="19" name="Presenter Information Text Placeholder">
            <a:extLst>
              <a:ext uri="{FF2B5EF4-FFF2-40B4-BE49-F238E27FC236}">
                <a16:creationId xmlns:a16="http://schemas.microsoft.com/office/drawing/2014/main" id="{08E0EA14-7348-FB49-B0DB-D8600EBF4C8C}"/>
              </a:ext>
            </a:extLst>
          </p:cNvPr>
          <p:cNvSpPr>
            <a:spLocks noGrp="1"/>
          </p:cNvSpPr>
          <p:nvPr>
            <p:ph idx="1" hasCustomPrompt="1"/>
          </p:nvPr>
        </p:nvSpPr>
        <p:spPr>
          <a:xfrm>
            <a:off x="838200" y="4736236"/>
            <a:ext cx="10515600" cy="923330"/>
          </a:xfrm>
          <a:prstGeom prst="rect">
            <a:avLst/>
          </a:prstGeom>
        </p:spPr>
        <p:txBody>
          <a:bodyPr vert="horz" lIns="0" tIns="0" rIns="0" bIns="0" rtlCol="0" anchor="t" anchorCtr="0">
            <a:spAutoFit/>
          </a:bodyPr>
          <a:lstStyle>
            <a:lvl1pPr marL="0" indent="0">
              <a:spcBef>
                <a:spcPts val="0"/>
              </a:spcBef>
              <a:spcAft>
                <a:spcPts val="0"/>
              </a:spcAft>
              <a:buNone/>
              <a:defRPr sz="2000" b="0" i="0">
                <a:latin typeface="Arial" panose="020B0604020202020204" pitchFamily="34" charset="0"/>
                <a:cs typeface="Arial" panose="020B0604020202020204" pitchFamily="34" charset="0"/>
              </a:defRPr>
            </a:lvl1pPr>
          </a:lstStyle>
          <a:p>
            <a:pPr>
              <a:lnSpc>
                <a:spcPct val="100000"/>
              </a:lnSpc>
            </a:pPr>
            <a:r>
              <a:rPr lang="en-US" dirty="0">
                <a:solidFill>
                  <a:srgbClr val="183E56"/>
                </a:solidFill>
                <a:latin typeface="Arial" panose="020B0604020202020204" pitchFamily="34" charset="0"/>
                <a:cs typeface="Arial" panose="020B0604020202020204" pitchFamily="34" charset="0"/>
              </a:rPr>
              <a:t>Job Title</a:t>
            </a:r>
            <a:br>
              <a:rPr lang="en-US" dirty="0">
                <a:solidFill>
                  <a:srgbClr val="183E56"/>
                </a:solidFill>
                <a:latin typeface="Arial" panose="020B0604020202020204" pitchFamily="34" charset="0"/>
                <a:cs typeface="Arial" panose="020B0604020202020204" pitchFamily="34" charset="0"/>
              </a:rPr>
            </a:br>
            <a:r>
              <a:rPr lang="en-US" dirty="0">
                <a:solidFill>
                  <a:srgbClr val="183E56"/>
                </a:solidFill>
                <a:latin typeface="Arial" panose="020B0604020202020204" pitchFamily="34" charset="0"/>
                <a:cs typeface="Arial" panose="020B0604020202020204" pitchFamily="34" charset="0"/>
              </a:rPr>
              <a:t>Department</a:t>
            </a:r>
            <a:br>
              <a:rPr lang="en-US" dirty="0">
                <a:solidFill>
                  <a:srgbClr val="183E56"/>
                </a:solidFill>
                <a:latin typeface="Arial" panose="020B0604020202020204" pitchFamily="34" charset="0"/>
                <a:cs typeface="Arial" panose="020B0604020202020204" pitchFamily="34" charset="0"/>
              </a:rPr>
            </a:br>
            <a:r>
              <a:rPr lang="en-US" dirty="0">
                <a:solidFill>
                  <a:srgbClr val="183E56"/>
                </a:solidFill>
                <a:latin typeface="Arial" panose="020B0604020202020204" pitchFamily="34" charset="0"/>
                <a:cs typeface="Arial" panose="020B0604020202020204" pitchFamily="34" charset="0"/>
              </a:rPr>
              <a:t>@Twitter-handle (if desired)</a:t>
            </a:r>
          </a:p>
        </p:txBody>
      </p:sp>
      <p:sp>
        <p:nvSpPr>
          <p:cNvPr id="6" name="Date Placeholder">
            <a:extLst>
              <a:ext uri="{FF2B5EF4-FFF2-40B4-BE49-F238E27FC236}">
                <a16:creationId xmlns:a16="http://schemas.microsoft.com/office/drawing/2014/main" id="{AA6F2061-5E6E-7440-8213-347350CB8141}"/>
              </a:ext>
            </a:extLst>
          </p:cNvPr>
          <p:cNvSpPr>
            <a:spLocks noGrp="1"/>
          </p:cNvSpPr>
          <p:nvPr>
            <p:ph type="dt" sz="half" idx="10"/>
          </p:nvPr>
        </p:nvSpPr>
        <p:spPr/>
        <p:txBody>
          <a:bodyPr/>
          <a:lstStyle/>
          <a:p>
            <a:fld id="{06C531F1-065E-594C-8147-D209A7179285}" type="datetime4">
              <a:rPr lang="en-GB" smtClean="0"/>
              <a:t>18 May 2021</a:t>
            </a:fld>
            <a:endParaRPr lang="en-US" dirty="0"/>
          </a:p>
        </p:txBody>
      </p:sp>
    </p:spTree>
    <p:extLst>
      <p:ext uri="{BB962C8B-B14F-4D97-AF65-F5344CB8AC3E}">
        <p14:creationId xmlns:p14="http://schemas.microsoft.com/office/powerpoint/2010/main" val="27655396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hree image grid">
    <p:bg>
      <p:bgPr>
        <a:solidFill>
          <a:schemeClr val="bg1">
            <a:lumMod val="95000"/>
          </a:schemeClr>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CD74BE4F-7C4A-3043-BE95-57922E2E4530}"/>
              </a:ext>
            </a:extLst>
          </p:cNvPr>
          <p:cNvSpPr>
            <a:spLocks noGrp="1"/>
          </p:cNvSpPr>
          <p:nvPr>
            <p:ph type="title" hasCustomPrompt="1"/>
          </p:nvPr>
        </p:nvSpPr>
        <p:spPr>
          <a:xfrm>
            <a:off x="838200" y="657094"/>
            <a:ext cx="5119687" cy="765501"/>
          </a:xfrm>
          <a:prstGeom prst="rect">
            <a:avLst/>
          </a:prstGeom>
        </p:spPr>
        <p:txBody>
          <a:bodyPr>
            <a:noAutofit/>
          </a:bodyPr>
          <a:lstStyle>
            <a:lvl1pPr>
              <a:defRPr sz="3200"/>
            </a:lvl1pPr>
          </a:lstStyle>
          <a:p>
            <a:pPr lvl="0"/>
            <a:r>
              <a:rPr lang="en-US" dirty="0"/>
              <a:t>Image Slide</a:t>
            </a:r>
          </a:p>
        </p:txBody>
      </p:sp>
      <p:sp>
        <p:nvSpPr>
          <p:cNvPr id="5" name="Content Placeholder 1">
            <a:extLst>
              <a:ext uri="{FF2B5EF4-FFF2-40B4-BE49-F238E27FC236}">
                <a16:creationId xmlns:a16="http://schemas.microsoft.com/office/drawing/2014/main" id="{FD7AF38B-FBB9-3F4D-B8B3-1F0F79401D2E}"/>
              </a:ext>
            </a:extLst>
          </p:cNvPr>
          <p:cNvSpPr>
            <a:spLocks noGrp="1"/>
          </p:cNvSpPr>
          <p:nvPr>
            <p:ph idx="13" hasCustomPrompt="1"/>
          </p:nvPr>
        </p:nvSpPr>
        <p:spPr>
          <a:xfrm>
            <a:off x="800100" y="641088"/>
            <a:ext cx="5676899" cy="5569212"/>
          </a:xfrm>
          <a:prstGeom prst="rect">
            <a:avLst/>
          </a:prstGeom>
          <a:solidFill>
            <a:schemeClr val="bg2"/>
          </a:solidFill>
          <a:ln>
            <a:solidFill>
              <a:schemeClr val="bg1"/>
            </a:solidFill>
          </a:ln>
        </p:spPr>
        <p:txBody>
          <a:bodyPr wrap="square" lIns="720000" tIns="720000" rIns="720000" bIns="720000" anchor="ctr" anchorCtr="0"/>
          <a:lstStyle>
            <a:lvl1pPr marL="0" indent="0">
              <a:buNone/>
              <a:defRPr sz="3200">
                <a:solidFill>
                  <a:schemeClr val="tx2"/>
                </a:solidFill>
              </a:defRPr>
            </a:lvl1pPr>
            <a:lvl2pPr>
              <a:defRPr sz="2800"/>
            </a:lvl2pPr>
            <a:lvl3pPr>
              <a:defRPr sz="2400"/>
            </a:lvl3pPr>
            <a:lvl4pPr>
              <a:defRPr sz="2000"/>
            </a:lvl4pPr>
            <a:lvl5pPr>
              <a:defRPr sz="2000"/>
            </a:lvl5pPr>
          </a:lstStyle>
          <a:p>
            <a:pPr lvl="0"/>
            <a:r>
              <a:rPr lang="en-US" dirty="0"/>
              <a:t>Add your image here (aspect ratio 1:1)</a:t>
            </a:r>
          </a:p>
        </p:txBody>
      </p:sp>
      <p:sp>
        <p:nvSpPr>
          <p:cNvPr id="12" name="Content Placeholder 2">
            <a:extLst>
              <a:ext uri="{FF2B5EF4-FFF2-40B4-BE49-F238E27FC236}">
                <a16:creationId xmlns:a16="http://schemas.microsoft.com/office/drawing/2014/main" id="{6ED01163-A081-394B-A56F-2E745CD47FAF}"/>
              </a:ext>
            </a:extLst>
          </p:cNvPr>
          <p:cNvSpPr>
            <a:spLocks noGrp="1"/>
          </p:cNvSpPr>
          <p:nvPr>
            <p:ph idx="1" hasCustomPrompt="1"/>
          </p:nvPr>
        </p:nvSpPr>
        <p:spPr>
          <a:xfrm>
            <a:off x="6477000" y="641089"/>
            <a:ext cx="4876799" cy="2800612"/>
          </a:xfrm>
          <a:prstGeom prst="rect">
            <a:avLst/>
          </a:prstGeom>
          <a:solidFill>
            <a:schemeClr val="bg2"/>
          </a:solidFill>
          <a:ln>
            <a:solidFill>
              <a:schemeClr val="bg1"/>
            </a:solidFill>
          </a:ln>
        </p:spPr>
        <p:txBody>
          <a:bodyPr wrap="square" lIns="720000" tIns="720000" rIns="720000" bIns="720000" anchor="ctr" anchorCtr="0"/>
          <a:lstStyle>
            <a:lvl1pPr marL="0" indent="0">
              <a:buNone/>
              <a:defRPr sz="3200">
                <a:solidFill>
                  <a:schemeClr val="tx2"/>
                </a:solidFill>
              </a:defRPr>
            </a:lvl1pPr>
            <a:lvl2pPr>
              <a:defRPr sz="2800"/>
            </a:lvl2pPr>
            <a:lvl3pPr>
              <a:defRPr sz="2400"/>
            </a:lvl3pPr>
            <a:lvl4pPr>
              <a:defRPr sz="2000"/>
            </a:lvl4pPr>
            <a:lvl5pPr>
              <a:defRPr sz="2000"/>
            </a:lvl5pPr>
          </a:lstStyle>
          <a:p>
            <a:pPr lvl="0"/>
            <a:r>
              <a:rPr lang="en-US" dirty="0"/>
              <a:t>Add your image here (aspect ratio 16:9)</a:t>
            </a:r>
          </a:p>
        </p:txBody>
      </p:sp>
      <p:sp>
        <p:nvSpPr>
          <p:cNvPr id="16" name="Content Placeholder 3">
            <a:extLst>
              <a:ext uri="{FF2B5EF4-FFF2-40B4-BE49-F238E27FC236}">
                <a16:creationId xmlns:a16="http://schemas.microsoft.com/office/drawing/2014/main" id="{6F0C757D-809E-2D4A-9E4D-DFA6D9C02CE5}"/>
              </a:ext>
            </a:extLst>
          </p:cNvPr>
          <p:cNvSpPr>
            <a:spLocks noGrp="1"/>
          </p:cNvSpPr>
          <p:nvPr>
            <p:ph idx="12" hasCustomPrompt="1"/>
          </p:nvPr>
        </p:nvSpPr>
        <p:spPr>
          <a:xfrm>
            <a:off x="6477000" y="3441702"/>
            <a:ext cx="4876800" cy="2768598"/>
          </a:xfrm>
          <a:prstGeom prst="rect">
            <a:avLst/>
          </a:prstGeom>
          <a:solidFill>
            <a:schemeClr val="bg2"/>
          </a:solidFill>
          <a:ln>
            <a:solidFill>
              <a:schemeClr val="bg1"/>
            </a:solidFill>
          </a:ln>
        </p:spPr>
        <p:txBody>
          <a:bodyPr wrap="square" lIns="720000" tIns="720000" rIns="720000" bIns="720000" anchor="ctr" anchorCtr="0"/>
          <a:lstStyle>
            <a:lvl1pPr marL="0" indent="0">
              <a:buNone/>
              <a:defRPr sz="3200">
                <a:solidFill>
                  <a:schemeClr val="tx2"/>
                </a:solidFill>
              </a:defRPr>
            </a:lvl1pPr>
            <a:lvl2pPr>
              <a:defRPr sz="2800"/>
            </a:lvl2pPr>
            <a:lvl3pPr>
              <a:defRPr sz="2400"/>
            </a:lvl3pPr>
            <a:lvl4pPr>
              <a:defRPr sz="2000"/>
            </a:lvl4pPr>
            <a:lvl5pPr>
              <a:defRPr sz="2000"/>
            </a:lvl5pPr>
          </a:lstStyle>
          <a:p>
            <a:pPr lvl="0"/>
            <a:r>
              <a:rPr lang="en-US" dirty="0"/>
              <a:t>Add your image here (aspect ratio 16:9)</a:t>
            </a:r>
          </a:p>
        </p:txBody>
      </p:sp>
    </p:spTree>
    <p:extLst>
      <p:ext uri="{BB962C8B-B14F-4D97-AF65-F5344CB8AC3E}">
        <p14:creationId xmlns:p14="http://schemas.microsoft.com/office/powerpoint/2010/main" val="5830849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imple slide">
    <p:bg>
      <p:bgPr>
        <a:solidFill>
          <a:schemeClr val="bg1">
            <a:lumMod val="95000"/>
          </a:schemeClr>
        </a:solidFill>
        <a:effectLst/>
      </p:bgPr>
    </p:bg>
    <p:spTree>
      <p:nvGrpSpPr>
        <p:cNvPr id="1" name=""/>
        <p:cNvGrpSpPr/>
        <p:nvPr/>
      </p:nvGrpSpPr>
      <p:grpSpPr>
        <a:xfrm>
          <a:off x="0" y="0"/>
          <a:ext cx="0" cy="0"/>
          <a:chOff x="0" y="0"/>
          <a:chExt cx="0" cy="0"/>
        </a:xfrm>
      </p:grpSpPr>
      <p:sp>
        <p:nvSpPr>
          <p:cNvPr id="14" name="Slide Number Placeholder">
            <a:extLst>
              <a:ext uri="{FF2B5EF4-FFF2-40B4-BE49-F238E27FC236}">
                <a16:creationId xmlns:a16="http://schemas.microsoft.com/office/drawing/2014/main" id="{5D913410-9DC7-834A-B330-976E80A5685D}"/>
              </a:ext>
            </a:extLst>
          </p:cNvPr>
          <p:cNvSpPr>
            <a:spLocks noGrp="1"/>
          </p:cNvSpPr>
          <p:nvPr>
            <p:ph type="sldNum" sz="quarter" idx="4"/>
          </p:nvPr>
        </p:nvSpPr>
        <p:spPr>
          <a:xfrm>
            <a:off x="4662087" y="6250891"/>
            <a:ext cx="2867826" cy="365125"/>
          </a:xfrm>
          <a:prstGeom prst="rect">
            <a:avLst/>
          </a:prstGeom>
        </p:spPr>
        <p:txBody>
          <a:bodyPr/>
          <a:lstStyle>
            <a:lvl1pPr>
              <a:defRPr sz="2000">
                <a:solidFill>
                  <a:srgbClr val="003C57"/>
                </a:solidFill>
              </a:defRPr>
            </a:lvl1pPr>
          </a:lstStyle>
          <a:p>
            <a:pPr algn="ctr"/>
            <a:fld id="{232417FB-2EF4-EC49-BC13-97513C37E9E5}" type="slidenum">
              <a:rPr lang="en-US" smtClean="0"/>
              <a:pPr algn="ctr"/>
              <a:t>‹#›</a:t>
            </a:fld>
            <a:endParaRPr lang="en-US" dirty="0"/>
          </a:p>
        </p:txBody>
      </p:sp>
      <p:sp>
        <p:nvSpPr>
          <p:cNvPr id="15" name="Footer Placeholder">
            <a:extLst>
              <a:ext uri="{FF2B5EF4-FFF2-40B4-BE49-F238E27FC236}">
                <a16:creationId xmlns:a16="http://schemas.microsoft.com/office/drawing/2014/main" id="{EA701F44-73AD-C64B-8322-8400CB324EF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rgbClr val="003C57"/>
                </a:solidFill>
              </a:defRPr>
            </a:lvl1pPr>
          </a:lstStyle>
          <a:p>
            <a:endParaRPr lang="en-US" dirty="0"/>
          </a:p>
        </p:txBody>
      </p:sp>
      <p:sp>
        <p:nvSpPr>
          <p:cNvPr id="9" name="Title">
            <a:extLst>
              <a:ext uri="{FF2B5EF4-FFF2-40B4-BE49-F238E27FC236}">
                <a16:creationId xmlns:a16="http://schemas.microsoft.com/office/drawing/2014/main" id="{760E4220-BD25-4B4C-B455-33118A52112D}"/>
              </a:ext>
            </a:extLst>
          </p:cNvPr>
          <p:cNvSpPr>
            <a:spLocks noGrp="1"/>
          </p:cNvSpPr>
          <p:nvPr>
            <p:ph type="title" hasCustomPrompt="1"/>
          </p:nvPr>
        </p:nvSpPr>
        <p:spPr>
          <a:xfrm>
            <a:off x="838200" y="2769528"/>
            <a:ext cx="10515600" cy="877163"/>
          </a:xfrm>
          <a:prstGeom prst="rect">
            <a:avLst/>
          </a:prstGeom>
        </p:spPr>
        <p:txBody>
          <a:bodyPr lIns="0" tIns="0" rIns="0" bIns="0" anchor="t" anchorCtr="0">
            <a:spAutoFit/>
          </a:bodyPr>
          <a:lstStyle>
            <a:lvl1pPr algn="l">
              <a:defRPr sz="6000" b="0">
                <a:solidFill>
                  <a:srgbClr val="003C57"/>
                </a:solidFill>
              </a:defRPr>
            </a:lvl1pPr>
          </a:lstStyle>
          <a:p>
            <a:r>
              <a:rPr lang="en-US" dirty="0"/>
              <a:t>Simple slide</a:t>
            </a:r>
          </a:p>
        </p:txBody>
      </p:sp>
      <p:sp>
        <p:nvSpPr>
          <p:cNvPr id="8" name="Subtitle">
            <a:extLst>
              <a:ext uri="{FF2B5EF4-FFF2-40B4-BE49-F238E27FC236}">
                <a16:creationId xmlns:a16="http://schemas.microsoft.com/office/drawing/2014/main" id="{FAC3410B-E9D3-1344-BA0A-156C8EAB8562}"/>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rgbClr val="003C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cxnSp>
        <p:nvCxnSpPr>
          <p:cNvPr id="7" name="Line">
            <a:extLst>
              <a:ext uri="{FF2B5EF4-FFF2-40B4-BE49-F238E27FC236}">
                <a16:creationId xmlns:a16="http://schemas.microsoft.com/office/drawing/2014/main" id="{498D8C91-E3A5-0949-AD80-1579D1DC0571}"/>
              </a:ext>
            </a:extLst>
          </p:cNvPr>
          <p:cNvCxnSpPr>
            <a:cxnSpLocks/>
          </p:cNvCxnSpPr>
          <p:nvPr userDrawn="1"/>
        </p:nvCxnSpPr>
        <p:spPr>
          <a:xfrm>
            <a:off x="822000" y="6055339"/>
            <a:ext cx="10548000" cy="0"/>
          </a:xfrm>
          <a:prstGeom prst="line">
            <a:avLst/>
          </a:prstGeom>
          <a:ln w="12700">
            <a:solidFill>
              <a:srgbClr val="003C57"/>
            </a:solidFill>
          </a:ln>
        </p:spPr>
        <p:style>
          <a:lnRef idx="1">
            <a:schemeClr val="accent1"/>
          </a:lnRef>
          <a:fillRef idx="0">
            <a:schemeClr val="accent1"/>
          </a:fillRef>
          <a:effectRef idx="0">
            <a:schemeClr val="accent1"/>
          </a:effectRef>
          <a:fontRef idx="minor">
            <a:schemeClr val="tx1"/>
          </a:fontRef>
        </p:style>
      </p:cxnSp>
      <p:pic>
        <p:nvPicPr>
          <p:cNvPr id="10" name="Logo" descr="Office for National Statistics Logo">
            <a:extLst>
              <a:ext uri="{FF2B5EF4-FFF2-40B4-BE49-F238E27FC236}">
                <a16:creationId xmlns:a16="http://schemas.microsoft.com/office/drawing/2014/main" id="{99919A97-416F-9E4A-94EF-4E9EE0165D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8200" y="6286250"/>
            <a:ext cx="3331866" cy="288762"/>
          </a:xfrm>
          <a:prstGeom prst="rect">
            <a:avLst/>
          </a:prstGeom>
        </p:spPr>
      </p:pic>
    </p:spTree>
    <p:extLst>
      <p:ext uri="{BB962C8B-B14F-4D97-AF65-F5344CB8AC3E}">
        <p14:creationId xmlns:p14="http://schemas.microsoft.com/office/powerpoint/2010/main" val="4781961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imple slide dark">
    <p:bg>
      <p:bgPr>
        <a:gradFill flip="none" rotWithShape="1">
          <a:gsLst>
            <a:gs pos="100000">
              <a:schemeClr val="tx2"/>
            </a:gs>
            <a:gs pos="0">
              <a:schemeClr val="tx2"/>
            </a:gs>
          </a:gsLst>
          <a:lin ang="0" scaled="1"/>
          <a:tileRect/>
        </a:gradFill>
        <a:effectLst/>
      </p:bgPr>
    </p:bg>
    <p:spTree>
      <p:nvGrpSpPr>
        <p:cNvPr id="1" name=""/>
        <p:cNvGrpSpPr/>
        <p:nvPr/>
      </p:nvGrpSpPr>
      <p:grpSpPr>
        <a:xfrm>
          <a:off x="0" y="0"/>
          <a:ext cx="0" cy="0"/>
          <a:chOff x="0" y="0"/>
          <a:chExt cx="0" cy="0"/>
        </a:xfrm>
      </p:grpSpPr>
      <p:sp>
        <p:nvSpPr>
          <p:cNvPr id="14" name="Slide Number Placeholder">
            <a:extLst>
              <a:ext uri="{FF2B5EF4-FFF2-40B4-BE49-F238E27FC236}">
                <a16:creationId xmlns:a16="http://schemas.microsoft.com/office/drawing/2014/main" id="{5D913410-9DC7-834A-B330-976E80A5685D}"/>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15" name="Footer Placeholder">
            <a:extLst>
              <a:ext uri="{FF2B5EF4-FFF2-40B4-BE49-F238E27FC236}">
                <a16:creationId xmlns:a16="http://schemas.microsoft.com/office/drawing/2014/main" id="{EA701F44-73AD-C64B-8322-8400CB324EF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12" name="Title">
            <a:extLst>
              <a:ext uri="{FF2B5EF4-FFF2-40B4-BE49-F238E27FC236}">
                <a16:creationId xmlns:a16="http://schemas.microsoft.com/office/drawing/2014/main" id="{E66B1B25-E87D-DD48-B7D5-8781B0C8E2B4}"/>
              </a:ext>
            </a:extLst>
          </p:cNvPr>
          <p:cNvSpPr>
            <a:spLocks noGrp="1"/>
          </p:cNvSpPr>
          <p:nvPr>
            <p:ph type="title" hasCustomPrompt="1"/>
          </p:nvPr>
        </p:nvSpPr>
        <p:spPr>
          <a:xfrm>
            <a:off x="838200" y="2769528"/>
            <a:ext cx="10515600" cy="877163"/>
          </a:xfrm>
          <a:prstGeom prst="rect">
            <a:avLst/>
          </a:prstGeom>
        </p:spPr>
        <p:txBody>
          <a:bodyPr lIns="0" tIns="0" rIns="0" bIns="0" anchor="t" anchorCtr="0">
            <a:spAutoFit/>
          </a:bodyPr>
          <a:lstStyle>
            <a:lvl1pPr algn="l">
              <a:defRPr sz="6000" b="0">
                <a:solidFill>
                  <a:schemeClr val="bg1"/>
                </a:solidFill>
              </a:defRPr>
            </a:lvl1pPr>
          </a:lstStyle>
          <a:p>
            <a:r>
              <a:rPr lang="en-US" dirty="0"/>
              <a:t>Simple slide dark</a:t>
            </a:r>
          </a:p>
        </p:txBody>
      </p:sp>
      <p:sp>
        <p:nvSpPr>
          <p:cNvPr id="11" name="Subtitle">
            <a:extLst>
              <a:ext uri="{FF2B5EF4-FFF2-40B4-BE49-F238E27FC236}">
                <a16:creationId xmlns:a16="http://schemas.microsoft.com/office/drawing/2014/main" id="{AC9D43D1-196F-6E4B-8A8C-576F7DDB875F}"/>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cxnSp>
        <p:nvCxnSpPr>
          <p:cNvPr id="8" name="Line">
            <a:extLst>
              <a:ext uri="{FF2B5EF4-FFF2-40B4-BE49-F238E27FC236}">
                <a16:creationId xmlns:a16="http://schemas.microsoft.com/office/drawing/2014/main" id="{8B15311A-8D87-4AEA-B2F4-786F7B873889}"/>
              </a:ext>
            </a:extLst>
          </p:cNvPr>
          <p:cNvCxnSpPr>
            <a:cxnSpLocks/>
          </p:cNvCxnSpPr>
          <p:nvPr userDrawn="1"/>
        </p:nvCxnSpPr>
        <p:spPr>
          <a:xfrm>
            <a:off x="822000" y="6055339"/>
            <a:ext cx="105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Logo">
            <a:extLst>
              <a:ext uri="{FF2B5EF4-FFF2-40B4-BE49-F238E27FC236}">
                <a16:creationId xmlns:a16="http://schemas.microsoft.com/office/drawing/2014/main" id="{2BB19BE0-BF19-C147-A9B0-5351D1A7AC54}"/>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21268447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ull image slide with tex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a:extLst>
              <a:ext uri="{FF2B5EF4-FFF2-40B4-BE49-F238E27FC236}">
                <a16:creationId xmlns:a16="http://schemas.microsoft.com/office/drawing/2014/main" id="{A887C01F-E831-1347-BF6E-F8337514ED80}"/>
              </a:ext>
            </a:extLst>
          </p:cNvPr>
          <p:cNvSpPr>
            <a:spLocks noGrp="1"/>
          </p:cNvSpPr>
          <p:nvPr>
            <p:ph type="sldNum" sz="quarter" idx="12"/>
          </p:nvPr>
        </p:nvSpPr>
        <p:spPr/>
        <p:txBody>
          <a:bodyPr/>
          <a:lstStyle>
            <a:lvl1pPr>
              <a:defRPr>
                <a:solidFill>
                  <a:schemeClr val="bg1"/>
                </a:solidFill>
              </a:defRPr>
            </a:lvl1pPr>
          </a:lstStyle>
          <a:p>
            <a:pPr algn="ctr"/>
            <a:fld id="{232417FB-2EF4-EC49-BC13-97513C37E9E5}" type="slidenum">
              <a:rPr lang="en-US" smtClean="0"/>
              <a:pPr algn="ctr"/>
              <a:t>‹#›</a:t>
            </a:fld>
            <a:endParaRPr lang="en-US" dirty="0"/>
          </a:p>
        </p:txBody>
      </p:sp>
      <p:sp>
        <p:nvSpPr>
          <p:cNvPr id="4" name="Footer Placeholder">
            <a:extLst>
              <a:ext uri="{FF2B5EF4-FFF2-40B4-BE49-F238E27FC236}">
                <a16:creationId xmlns:a16="http://schemas.microsoft.com/office/drawing/2014/main" id="{D984022C-717A-394E-A7B0-E38478A09ADA}"/>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2" name="Colour filter for image" descr="The Earth from space">
            <a:extLst>
              <a:ext uri="{FF2B5EF4-FFF2-40B4-BE49-F238E27FC236}">
                <a16:creationId xmlns:a16="http://schemas.microsoft.com/office/drawing/2014/main" id="{B014DE38-8C4D-6F43-8595-E82C3F754B7A}"/>
              </a:ext>
            </a:extLst>
          </p:cNvPr>
          <p:cNvSpPr/>
          <p:nvPr userDrawn="1"/>
        </p:nvSpPr>
        <p:spPr>
          <a:xfrm>
            <a:off x="0" y="0"/>
            <a:ext cx="12192000" cy="6858000"/>
          </a:xfrm>
          <a:prstGeom prst="rect">
            <a:avLst/>
          </a:prstGeom>
          <a:solidFill>
            <a:schemeClr val="tx1">
              <a:alpha val="2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a:extLst>
              <a:ext uri="{FF2B5EF4-FFF2-40B4-BE49-F238E27FC236}">
                <a16:creationId xmlns:a16="http://schemas.microsoft.com/office/drawing/2014/main" id="{83AAA621-F3CF-3740-81C1-B8882EE4AE1F}"/>
              </a:ext>
            </a:extLst>
          </p:cNvPr>
          <p:cNvSpPr>
            <a:spLocks noGrp="1"/>
          </p:cNvSpPr>
          <p:nvPr>
            <p:ph type="title" hasCustomPrompt="1"/>
          </p:nvPr>
        </p:nvSpPr>
        <p:spPr>
          <a:xfrm>
            <a:off x="838200" y="1716932"/>
            <a:ext cx="10515600" cy="2105192"/>
          </a:xfrm>
          <a:prstGeom prst="rect">
            <a:avLst/>
          </a:prstGeom>
        </p:spPr>
        <p:txBody>
          <a:bodyPr lIns="0" tIns="0" rIns="0" bIns="0" anchor="b" anchorCtr="0">
            <a:spAutoFit/>
          </a:bodyPr>
          <a:lstStyle>
            <a:lvl1pPr algn="l">
              <a:defRPr sz="7200">
                <a:solidFill>
                  <a:schemeClr val="bg1"/>
                </a:solidFill>
              </a:defRPr>
            </a:lvl1pPr>
          </a:lstStyle>
          <a:p>
            <a:r>
              <a:rPr lang="en-US" dirty="0"/>
              <a:t>Text over</a:t>
            </a:r>
            <a:br>
              <a:rPr lang="en-US" dirty="0"/>
            </a:br>
            <a:r>
              <a:rPr lang="en-US" dirty="0"/>
              <a:t>image slide</a:t>
            </a:r>
          </a:p>
        </p:txBody>
      </p:sp>
      <p:sp>
        <p:nvSpPr>
          <p:cNvPr id="8" name="Subtitle">
            <a:extLst>
              <a:ext uri="{FF2B5EF4-FFF2-40B4-BE49-F238E27FC236}">
                <a16:creationId xmlns:a16="http://schemas.microsoft.com/office/drawing/2014/main" id="{ACB83E4B-B9C7-0F43-932F-F73B5EC8324B}"/>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5" name="Copyright information for image if required">
            <a:extLst>
              <a:ext uri="{FF2B5EF4-FFF2-40B4-BE49-F238E27FC236}">
                <a16:creationId xmlns:a16="http://schemas.microsoft.com/office/drawing/2014/main" id="{D31CAD75-D2A9-D948-9127-164AB51939F0}"/>
              </a:ext>
            </a:extLst>
          </p:cNvPr>
          <p:cNvSpPr>
            <a:spLocks noGrp="1"/>
          </p:cNvSpPr>
          <p:nvPr>
            <p:ph type="body" sz="quarter" idx="13" hasCustomPrompt="1"/>
          </p:nvPr>
        </p:nvSpPr>
        <p:spPr>
          <a:xfrm>
            <a:off x="838199" y="5264052"/>
            <a:ext cx="10533743" cy="744243"/>
          </a:xfrm>
        </p:spPr>
        <p:txBody>
          <a:bodyPr/>
          <a:lstStyle>
            <a:lvl1pPr marL="0" marR="0" indent="0" algn="l" defTabSz="914400" rtl="0" eaLnBrk="1" fontAlgn="auto" latinLnBrk="0" hangingPunct="1">
              <a:lnSpc>
                <a:spcPct val="110000"/>
              </a:lnSpc>
              <a:spcBef>
                <a:spcPts val="0"/>
              </a:spcBef>
              <a:spcAft>
                <a:spcPts val="1000"/>
              </a:spcAft>
              <a:buClrTx/>
              <a:buSzTx/>
              <a:buFont typeface="Arial" panose="020B0604020202020204" pitchFamily="34" charset="0"/>
              <a:buNone/>
              <a:tabLst/>
              <a:defRPr sz="2000">
                <a:solidFill>
                  <a:schemeClr val="bg1"/>
                </a:solidFill>
              </a:defRPr>
            </a:lvl1pPr>
          </a:lstStyle>
          <a:p>
            <a:pPr marL="0" marR="0" lvl="0" indent="0" algn="l" defTabSz="914400" rtl="0" eaLnBrk="1" fontAlgn="auto" latinLnBrk="0" hangingPunct="1">
              <a:lnSpc>
                <a:spcPct val="110000"/>
              </a:lnSpc>
              <a:spcBef>
                <a:spcPts val="0"/>
              </a:spcBef>
              <a:spcAft>
                <a:spcPts val="1000"/>
              </a:spcAft>
              <a:buClrTx/>
              <a:buSzTx/>
              <a:buFont typeface="Arial" panose="020B0604020202020204" pitchFamily="34" charset="0"/>
              <a:buNone/>
              <a:tabLst/>
              <a:defRPr/>
            </a:pPr>
            <a:r>
              <a:rPr lang="en-US" dirty="0"/>
              <a:t>Replace the background image and include any copyright information if required e.g. </a:t>
            </a:r>
            <a:r>
              <a:rPr lang="en-US" dirty="0">
                <a:solidFill>
                  <a:schemeClr val="bg1"/>
                </a:solidFill>
              </a:rPr>
              <a:t>© </a:t>
            </a:r>
            <a:r>
              <a:rPr lang="en-GB" dirty="0">
                <a:solidFill>
                  <a:schemeClr val="bg1"/>
                </a:solidFill>
              </a:rPr>
              <a:t>Photo by NASA on </a:t>
            </a:r>
            <a:r>
              <a:rPr lang="en-GB" dirty="0" err="1">
                <a:solidFill>
                  <a:schemeClr val="bg1"/>
                </a:solidFill>
              </a:rPr>
              <a:t>Unsplash</a:t>
            </a:r>
            <a:endParaRPr lang="en-US" dirty="0"/>
          </a:p>
        </p:txBody>
      </p:sp>
      <p:pic>
        <p:nvPicPr>
          <p:cNvPr id="11" name="Logo">
            <a:extLst>
              <a:ext uri="{FF2B5EF4-FFF2-40B4-BE49-F238E27FC236}">
                <a16:creationId xmlns:a16="http://schemas.microsoft.com/office/drawing/2014/main" id="{12026E50-6CA0-494F-A582-38EE98D46C82}"/>
              </a:ext>
            </a:extLst>
          </p:cNvPr>
          <p:cNvPicPr>
            <a:picLocks noChangeAspect="1"/>
          </p:cNvPicPr>
          <p:nvPr userDrawn="1"/>
        </p:nvPicPr>
        <p:blipFill>
          <a:blip r:embed="rId3"/>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22121297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slide simple">
    <p:bg>
      <p:bgPr>
        <a:solidFill>
          <a:schemeClr val="bg1">
            <a:lumMod val="95000"/>
          </a:schemeClr>
        </a:solidFill>
        <a:effectLst/>
      </p:bgPr>
    </p:bg>
    <p:spTree>
      <p:nvGrpSpPr>
        <p:cNvPr id="1" name=""/>
        <p:cNvGrpSpPr/>
        <p:nvPr/>
      </p:nvGrpSpPr>
      <p:grpSpPr>
        <a:xfrm>
          <a:off x="0" y="0"/>
          <a:ext cx="0" cy="0"/>
          <a:chOff x="0" y="0"/>
          <a:chExt cx="0" cy="0"/>
        </a:xfrm>
      </p:grpSpPr>
      <p:sp>
        <p:nvSpPr>
          <p:cNvPr id="8" name="Slide Number Placeholder">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tx1"/>
                </a:solidFill>
              </a:defRPr>
            </a:lvl1pPr>
          </a:lstStyle>
          <a:p>
            <a:pPr algn="ctr"/>
            <a:fld id="{232417FB-2EF4-EC49-BC13-97513C37E9E5}" type="slidenum">
              <a:rPr lang="en-US" smtClean="0"/>
              <a:pPr algn="ctr"/>
              <a:t>‹#›</a:t>
            </a:fld>
            <a:endParaRPr lang="en-US" dirty="0"/>
          </a:p>
        </p:txBody>
      </p:sp>
      <p:sp>
        <p:nvSpPr>
          <p:cNvPr id="9" name="Footer Placeholder">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tx1"/>
                </a:solidFill>
              </a:defRPr>
            </a:lvl1pPr>
          </a:lstStyle>
          <a:p>
            <a:endParaRPr lang="en-US" dirty="0"/>
          </a:p>
        </p:txBody>
      </p:sp>
      <p:sp>
        <p:nvSpPr>
          <p:cNvPr id="14" name="Title">
            <a:extLst>
              <a:ext uri="{FF2B5EF4-FFF2-40B4-BE49-F238E27FC236}">
                <a16:creationId xmlns:a16="http://schemas.microsoft.com/office/drawing/2014/main" id="{F0107D9C-8794-7E4B-B350-FEC30E7FAEF6}"/>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chemeClr val="tx1"/>
                </a:solidFill>
              </a:defRPr>
            </a:lvl1pPr>
          </a:lstStyle>
          <a:p>
            <a:r>
              <a:rPr lang="en-US" dirty="0"/>
              <a:t>Section slide</a:t>
            </a:r>
          </a:p>
        </p:txBody>
      </p:sp>
      <p:sp>
        <p:nvSpPr>
          <p:cNvPr id="12" name="Subtitle">
            <a:extLst>
              <a:ext uri="{FF2B5EF4-FFF2-40B4-BE49-F238E27FC236}">
                <a16:creationId xmlns:a16="http://schemas.microsoft.com/office/drawing/2014/main" id="{814F886F-B0B2-9547-B024-B36E85246204}"/>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cxnSp>
        <p:nvCxnSpPr>
          <p:cNvPr id="10" name="Line">
            <a:extLst>
              <a:ext uri="{FF2B5EF4-FFF2-40B4-BE49-F238E27FC236}">
                <a16:creationId xmlns:a16="http://schemas.microsoft.com/office/drawing/2014/main" id="{41E16F23-B3CF-314E-AFD9-633806B1334D}"/>
              </a:ext>
            </a:extLst>
          </p:cNvPr>
          <p:cNvCxnSpPr>
            <a:cxnSpLocks/>
          </p:cNvCxnSpPr>
          <p:nvPr userDrawn="1"/>
        </p:nvCxnSpPr>
        <p:spPr>
          <a:xfrm>
            <a:off x="823943" y="6055339"/>
            <a:ext cx="10548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Logo" descr="Office for National Statistics Logo">
            <a:extLst>
              <a:ext uri="{FF2B5EF4-FFF2-40B4-BE49-F238E27FC236}">
                <a16:creationId xmlns:a16="http://schemas.microsoft.com/office/drawing/2014/main" id="{9BF7A66C-9371-944B-BDBC-89062A33775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8200" y="6286250"/>
            <a:ext cx="3331866" cy="288762"/>
          </a:xfrm>
          <a:prstGeom prst="rect">
            <a:avLst/>
          </a:prstGeom>
        </p:spPr>
      </p:pic>
    </p:spTree>
    <p:extLst>
      <p:ext uri="{BB962C8B-B14F-4D97-AF65-F5344CB8AC3E}">
        <p14:creationId xmlns:p14="http://schemas.microsoft.com/office/powerpoint/2010/main" val="28539033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slide black">
    <p:bg>
      <p:bgPr>
        <a:solidFill>
          <a:srgbClr val="323132"/>
        </a:solidFill>
        <a:effectLst/>
      </p:bgPr>
    </p:bg>
    <p:spTree>
      <p:nvGrpSpPr>
        <p:cNvPr id="1" name=""/>
        <p:cNvGrpSpPr/>
        <p:nvPr/>
      </p:nvGrpSpPr>
      <p:grpSpPr>
        <a:xfrm>
          <a:off x="0" y="0"/>
          <a:ext cx="0" cy="0"/>
          <a:chOff x="0" y="0"/>
          <a:chExt cx="0" cy="0"/>
        </a:xfrm>
      </p:grpSpPr>
      <p:sp>
        <p:nvSpPr>
          <p:cNvPr id="8" name="Slide Number Placeholder">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9" name="Footer Placeholder">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14" name="Title">
            <a:extLst>
              <a:ext uri="{FF2B5EF4-FFF2-40B4-BE49-F238E27FC236}">
                <a16:creationId xmlns:a16="http://schemas.microsoft.com/office/drawing/2014/main" id="{F0107D9C-8794-7E4B-B350-FEC30E7FAEF6}"/>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chemeClr val="bg1"/>
                </a:solidFill>
              </a:defRPr>
            </a:lvl1pPr>
          </a:lstStyle>
          <a:p>
            <a:r>
              <a:rPr lang="en-US" dirty="0"/>
              <a:t>Section slide</a:t>
            </a:r>
          </a:p>
        </p:txBody>
      </p:sp>
      <p:sp>
        <p:nvSpPr>
          <p:cNvPr id="13" name="Subtitle">
            <a:extLst>
              <a:ext uri="{FF2B5EF4-FFF2-40B4-BE49-F238E27FC236}">
                <a16:creationId xmlns:a16="http://schemas.microsoft.com/office/drawing/2014/main" id="{C51DA302-E673-0B48-9032-76748EE3E6F6}"/>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pic>
        <p:nvPicPr>
          <p:cNvPr id="11" name="Logo">
            <a:extLst>
              <a:ext uri="{FF2B5EF4-FFF2-40B4-BE49-F238E27FC236}">
                <a16:creationId xmlns:a16="http://schemas.microsoft.com/office/drawing/2014/main" id="{72A5B614-7B64-C544-88F1-6AA5BB9D0DB2}"/>
              </a:ext>
            </a:extLst>
          </p:cNvPr>
          <p:cNvPicPr>
            <a:picLocks noChangeAspect="1"/>
          </p:cNvPicPr>
          <p:nvPr userDrawn="1"/>
        </p:nvPicPr>
        <p:blipFill>
          <a:blip r:embed="rId2"/>
          <a:stretch>
            <a:fillRect/>
          </a:stretch>
        </p:blipFill>
        <p:spPr>
          <a:xfrm>
            <a:off x="767166" y="6230570"/>
            <a:ext cx="3489869" cy="408624"/>
          </a:xfrm>
          <a:prstGeom prst="rect">
            <a:avLst/>
          </a:prstGeom>
        </p:spPr>
      </p:pic>
      <p:cxnSp>
        <p:nvCxnSpPr>
          <p:cNvPr id="10" name="Line">
            <a:extLst>
              <a:ext uri="{FF2B5EF4-FFF2-40B4-BE49-F238E27FC236}">
                <a16:creationId xmlns:a16="http://schemas.microsoft.com/office/drawing/2014/main" id="{41E16F23-B3CF-314E-AFD9-633806B1334D}"/>
              </a:ext>
            </a:extLst>
          </p:cNvPr>
          <p:cNvCxnSpPr>
            <a:cxnSpLocks/>
          </p:cNvCxnSpPr>
          <p:nvPr userDrawn="1"/>
        </p:nvCxnSpPr>
        <p:spPr>
          <a:xfrm>
            <a:off x="823943" y="6055339"/>
            <a:ext cx="105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55033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slide ONS blue">
    <p:bg>
      <p:bgPr>
        <a:solidFill>
          <a:srgbClr val="003C57"/>
        </a:solidFill>
        <a:effectLst/>
      </p:bgPr>
    </p:bg>
    <p:spTree>
      <p:nvGrpSpPr>
        <p:cNvPr id="1" name=""/>
        <p:cNvGrpSpPr/>
        <p:nvPr/>
      </p:nvGrpSpPr>
      <p:grpSpPr>
        <a:xfrm>
          <a:off x="0" y="0"/>
          <a:ext cx="0" cy="0"/>
          <a:chOff x="0" y="0"/>
          <a:chExt cx="0" cy="0"/>
        </a:xfrm>
      </p:grpSpPr>
      <p:sp>
        <p:nvSpPr>
          <p:cNvPr id="8" name="Slide Number Placeholder">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9" name="Footer Placeholder">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14" name="Title">
            <a:extLst>
              <a:ext uri="{FF2B5EF4-FFF2-40B4-BE49-F238E27FC236}">
                <a16:creationId xmlns:a16="http://schemas.microsoft.com/office/drawing/2014/main" id="{39705124-4B77-4A45-9308-A04738CB6E18}"/>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chemeClr val="bg1"/>
                </a:solidFill>
              </a:defRPr>
            </a:lvl1pPr>
          </a:lstStyle>
          <a:p>
            <a:r>
              <a:rPr lang="en-US" dirty="0"/>
              <a:t>Section slide</a:t>
            </a:r>
          </a:p>
        </p:txBody>
      </p:sp>
      <p:sp>
        <p:nvSpPr>
          <p:cNvPr id="13" name="Subtitle">
            <a:extLst>
              <a:ext uri="{FF2B5EF4-FFF2-40B4-BE49-F238E27FC236}">
                <a16:creationId xmlns:a16="http://schemas.microsoft.com/office/drawing/2014/main" id="{335C0D86-6B6D-9340-A3E4-0C4964615FC3}"/>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cxnSp>
        <p:nvCxnSpPr>
          <p:cNvPr id="10" name="Line">
            <a:extLst>
              <a:ext uri="{FF2B5EF4-FFF2-40B4-BE49-F238E27FC236}">
                <a16:creationId xmlns:a16="http://schemas.microsoft.com/office/drawing/2014/main" id="{05620796-8D76-664C-B761-7F015F0DFF3B}"/>
              </a:ext>
            </a:extLst>
          </p:cNvPr>
          <p:cNvCxnSpPr>
            <a:cxnSpLocks/>
          </p:cNvCxnSpPr>
          <p:nvPr userDrawn="1"/>
        </p:nvCxnSpPr>
        <p:spPr>
          <a:xfrm>
            <a:off x="823943" y="6055339"/>
            <a:ext cx="105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Logo">
            <a:extLst>
              <a:ext uri="{FF2B5EF4-FFF2-40B4-BE49-F238E27FC236}">
                <a16:creationId xmlns:a16="http://schemas.microsoft.com/office/drawing/2014/main" id="{9AF54F23-B2F8-884B-AA95-68EE4B087C2E}"/>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37138366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slide slate">
    <p:bg>
      <p:bgPr>
        <a:solidFill>
          <a:srgbClr val="5F7682"/>
        </a:solidFill>
        <a:effectLst/>
      </p:bgPr>
    </p:bg>
    <p:spTree>
      <p:nvGrpSpPr>
        <p:cNvPr id="1" name=""/>
        <p:cNvGrpSpPr/>
        <p:nvPr/>
      </p:nvGrpSpPr>
      <p:grpSpPr>
        <a:xfrm>
          <a:off x="0" y="0"/>
          <a:ext cx="0" cy="0"/>
          <a:chOff x="0" y="0"/>
          <a:chExt cx="0" cy="0"/>
        </a:xfrm>
      </p:grpSpPr>
      <p:sp>
        <p:nvSpPr>
          <p:cNvPr id="8" name="Slide Number Placeholder">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9" name="Footer Placeholder">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13" name="Title">
            <a:extLst>
              <a:ext uri="{FF2B5EF4-FFF2-40B4-BE49-F238E27FC236}">
                <a16:creationId xmlns:a16="http://schemas.microsoft.com/office/drawing/2014/main" id="{17295645-9FDE-574A-9486-F7FDBDF3781B}"/>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chemeClr val="bg1"/>
                </a:solidFill>
              </a:defRPr>
            </a:lvl1pPr>
          </a:lstStyle>
          <a:p>
            <a:r>
              <a:rPr lang="en-US" dirty="0"/>
              <a:t>Section slide</a:t>
            </a:r>
          </a:p>
        </p:txBody>
      </p:sp>
      <p:sp>
        <p:nvSpPr>
          <p:cNvPr id="12" name="Subtitle">
            <a:extLst>
              <a:ext uri="{FF2B5EF4-FFF2-40B4-BE49-F238E27FC236}">
                <a16:creationId xmlns:a16="http://schemas.microsoft.com/office/drawing/2014/main" id="{B9896418-9A93-F547-B375-91E5E5B76A8D}"/>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cxnSp>
        <p:nvCxnSpPr>
          <p:cNvPr id="17" name="Line">
            <a:extLst>
              <a:ext uri="{FF2B5EF4-FFF2-40B4-BE49-F238E27FC236}">
                <a16:creationId xmlns:a16="http://schemas.microsoft.com/office/drawing/2014/main" id="{E7A17917-5AA2-9546-83BC-34444E3C1470}"/>
              </a:ext>
            </a:extLst>
          </p:cNvPr>
          <p:cNvCxnSpPr>
            <a:cxnSpLocks/>
          </p:cNvCxnSpPr>
          <p:nvPr userDrawn="1"/>
        </p:nvCxnSpPr>
        <p:spPr>
          <a:xfrm>
            <a:off x="823943" y="6055339"/>
            <a:ext cx="105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44D09BF6-3114-B842-B442-F5AB30510376}"/>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36905904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slide matisse">
    <p:bg>
      <p:bgPr>
        <a:solidFill>
          <a:srgbClr val="206095"/>
        </a:solidFill>
        <a:effectLst/>
      </p:bgPr>
    </p:bg>
    <p:spTree>
      <p:nvGrpSpPr>
        <p:cNvPr id="1" name=""/>
        <p:cNvGrpSpPr/>
        <p:nvPr/>
      </p:nvGrpSpPr>
      <p:grpSpPr>
        <a:xfrm>
          <a:off x="0" y="0"/>
          <a:ext cx="0" cy="0"/>
          <a:chOff x="0" y="0"/>
          <a:chExt cx="0" cy="0"/>
        </a:xfrm>
      </p:grpSpPr>
      <p:sp>
        <p:nvSpPr>
          <p:cNvPr id="8" name="Slide Number Placeholder">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9" name="Footer Placeholder">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cxnSp>
        <p:nvCxnSpPr>
          <p:cNvPr id="10" name="Line">
            <a:extLst>
              <a:ext uri="{FF2B5EF4-FFF2-40B4-BE49-F238E27FC236}">
                <a16:creationId xmlns:a16="http://schemas.microsoft.com/office/drawing/2014/main" id="{05620796-8D76-664C-B761-7F015F0DFF3B}"/>
              </a:ext>
            </a:extLst>
          </p:cNvPr>
          <p:cNvCxnSpPr>
            <a:cxnSpLocks/>
          </p:cNvCxnSpPr>
          <p:nvPr userDrawn="1"/>
        </p:nvCxnSpPr>
        <p:spPr>
          <a:xfrm>
            <a:off x="823943" y="6055339"/>
            <a:ext cx="105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itle">
            <a:extLst>
              <a:ext uri="{FF2B5EF4-FFF2-40B4-BE49-F238E27FC236}">
                <a16:creationId xmlns:a16="http://schemas.microsoft.com/office/drawing/2014/main" id="{B4C955DF-BE42-D34D-9E3E-CC9BF3A6DE30}"/>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chemeClr val="bg1"/>
                </a:solidFill>
              </a:defRPr>
            </a:lvl1pPr>
          </a:lstStyle>
          <a:p>
            <a:r>
              <a:rPr lang="en-US" dirty="0"/>
              <a:t>Section slide</a:t>
            </a:r>
          </a:p>
        </p:txBody>
      </p:sp>
      <p:sp>
        <p:nvSpPr>
          <p:cNvPr id="13" name="Subtitle">
            <a:extLst>
              <a:ext uri="{FF2B5EF4-FFF2-40B4-BE49-F238E27FC236}">
                <a16:creationId xmlns:a16="http://schemas.microsoft.com/office/drawing/2014/main" id="{622D5613-4A3F-4C4D-AB7A-78FCC248ADED}"/>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pic>
        <p:nvPicPr>
          <p:cNvPr id="11" name="Logo">
            <a:extLst>
              <a:ext uri="{FF2B5EF4-FFF2-40B4-BE49-F238E27FC236}">
                <a16:creationId xmlns:a16="http://schemas.microsoft.com/office/drawing/2014/main" id="{5E074EF3-30DC-3B43-A8EF-1E6E6D70838E}"/>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38039813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slide astral">
    <p:bg>
      <p:bgPr>
        <a:solidFill>
          <a:srgbClr val="3B7A9E"/>
        </a:solidFill>
        <a:effectLst/>
      </p:bgPr>
    </p:bg>
    <p:spTree>
      <p:nvGrpSpPr>
        <p:cNvPr id="1" name=""/>
        <p:cNvGrpSpPr/>
        <p:nvPr/>
      </p:nvGrpSpPr>
      <p:grpSpPr>
        <a:xfrm>
          <a:off x="0" y="0"/>
          <a:ext cx="0" cy="0"/>
          <a:chOff x="0" y="0"/>
          <a:chExt cx="0" cy="0"/>
        </a:xfrm>
      </p:grpSpPr>
      <p:sp>
        <p:nvSpPr>
          <p:cNvPr id="8" name="Slide Number Placeholder">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9" name="Footer Placeholder">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17" name="Title">
            <a:extLst>
              <a:ext uri="{FF2B5EF4-FFF2-40B4-BE49-F238E27FC236}">
                <a16:creationId xmlns:a16="http://schemas.microsoft.com/office/drawing/2014/main" id="{FC7DF6CB-9235-DA4D-B1A3-7CA929282849}"/>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chemeClr val="bg1"/>
                </a:solidFill>
              </a:defRPr>
            </a:lvl1pPr>
          </a:lstStyle>
          <a:p>
            <a:r>
              <a:rPr lang="en-US" dirty="0"/>
              <a:t>Section slide</a:t>
            </a:r>
          </a:p>
        </p:txBody>
      </p:sp>
      <p:sp>
        <p:nvSpPr>
          <p:cNvPr id="16" name="Subtitle">
            <a:extLst>
              <a:ext uri="{FF2B5EF4-FFF2-40B4-BE49-F238E27FC236}">
                <a16:creationId xmlns:a16="http://schemas.microsoft.com/office/drawing/2014/main" id="{DC45B465-DB9D-1B4E-98E6-EC6BC62650E6}"/>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cxnSp>
        <p:nvCxnSpPr>
          <p:cNvPr id="10" name="Line">
            <a:extLst>
              <a:ext uri="{FF2B5EF4-FFF2-40B4-BE49-F238E27FC236}">
                <a16:creationId xmlns:a16="http://schemas.microsoft.com/office/drawing/2014/main" id="{05620796-8D76-664C-B761-7F015F0DFF3B}"/>
              </a:ext>
            </a:extLst>
          </p:cNvPr>
          <p:cNvCxnSpPr>
            <a:cxnSpLocks/>
          </p:cNvCxnSpPr>
          <p:nvPr userDrawn="1"/>
        </p:nvCxnSpPr>
        <p:spPr>
          <a:xfrm>
            <a:off x="823943" y="6055339"/>
            <a:ext cx="105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Logo">
            <a:extLst>
              <a:ext uri="{FF2B5EF4-FFF2-40B4-BE49-F238E27FC236}">
                <a16:creationId xmlns:a16="http://schemas.microsoft.com/office/drawing/2014/main" id="{0D133FD3-7BB7-2244-B284-336B4FDFDB5B}"/>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3938841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ingle column 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8" name="Rectangle">
            <a:extLst>
              <a:ext uri="{FF2B5EF4-FFF2-40B4-BE49-F238E27FC236}">
                <a16:creationId xmlns:a16="http://schemas.microsoft.com/office/drawing/2014/main" id="{CAB7C50D-A92E-F542-A579-D6ACCE3E0F84}"/>
              </a:ext>
            </a:extLst>
          </p:cNvPr>
          <p:cNvSpPr/>
          <p:nvPr userDrawn="1"/>
        </p:nvSpPr>
        <p:spPr>
          <a:xfrm>
            <a:off x="0" y="6037942"/>
            <a:ext cx="12192000" cy="820058"/>
          </a:xfrm>
          <a:prstGeom prst="rect">
            <a:avLst/>
          </a:prstGeom>
          <a:solidFill>
            <a:srgbClr val="183E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lide Number Placeholder">
            <a:extLst>
              <a:ext uri="{FF2B5EF4-FFF2-40B4-BE49-F238E27FC236}">
                <a16:creationId xmlns:a16="http://schemas.microsoft.com/office/drawing/2014/main" id="{AB8A9106-B24D-064D-974C-C8C4B2C84B82}"/>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14" name="Footer Placeholder">
            <a:extLst>
              <a:ext uri="{FF2B5EF4-FFF2-40B4-BE49-F238E27FC236}">
                <a16:creationId xmlns:a16="http://schemas.microsoft.com/office/drawing/2014/main" id="{EC4B6832-9A04-854F-9075-DF58CE992FA7}"/>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2" name="Title"/>
          <p:cNvSpPr>
            <a:spLocks noGrp="1"/>
          </p:cNvSpPr>
          <p:nvPr>
            <p:ph type="title" hasCustomPrompt="1"/>
          </p:nvPr>
        </p:nvSpPr>
        <p:spPr>
          <a:xfrm>
            <a:off x="838200" y="642127"/>
            <a:ext cx="10515600" cy="526298"/>
          </a:xfrm>
          <a:prstGeom prst="rect">
            <a:avLst/>
          </a:prstGeom>
        </p:spPr>
        <p:txBody>
          <a:bodyPr wrap="square">
            <a:spAutoFit/>
          </a:bodyPr>
          <a:lstStyle>
            <a:lvl1pPr>
              <a:defRPr sz="3600" baseline="0"/>
            </a:lvl1pPr>
          </a:lstStyle>
          <a:p>
            <a:r>
              <a:rPr lang="en-US" dirty="0"/>
              <a:t>Add your heading here</a:t>
            </a:r>
          </a:p>
        </p:txBody>
      </p:sp>
      <p:sp>
        <p:nvSpPr>
          <p:cNvPr id="3" name="Content Placeholder"/>
          <p:cNvSpPr>
            <a:spLocks noGrp="1"/>
          </p:cNvSpPr>
          <p:nvPr>
            <p:ph idx="1" hasCustomPrompt="1"/>
          </p:nvPr>
        </p:nvSpPr>
        <p:spPr>
          <a:xfrm>
            <a:off x="838200" y="1424324"/>
            <a:ext cx="10515600" cy="2298001"/>
          </a:xfrm>
          <a:prstGeom prst="rect">
            <a:avLst/>
          </a:prstGeom>
        </p:spPr>
        <p:txBody>
          <a:bodyPr wrap="square" lIns="0" tIns="0" rIns="0" bIns="0" anchor="t" anchorCtr="0">
            <a:spAutoFit/>
          </a:bodyPr>
          <a:lstStyle>
            <a:lvl1pPr>
              <a:lnSpc>
                <a:spcPct val="110000"/>
              </a:lnSpc>
              <a:spcAft>
                <a:spcPts val="500"/>
              </a:spcAft>
              <a:defRPr sz="3200">
                <a:solidFill>
                  <a:schemeClr val="tx1"/>
                </a:solidFill>
              </a:defRPr>
            </a:lvl1pPr>
            <a:lvl2pPr>
              <a:spcAft>
                <a:spcPts val="500"/>
              </a:spcAft>
              <a:defRPr sz="2800">
                <a:solidFill>
                  <a:schemeClr val="tx1"/>
                </a:solidFill>
              </a:defRPr>
            </a:lvl2pPr>
            <a:lvl3pPr>
              <a:spcAft>
                <a:spcPts val="500"/>
              </a:spcAft>
              <a:defRPr sz="2400">
                <a:solidFill>
                  <a:schemeClr val="tx1"/>
                </a:solidFill>
              </a:defRPr>
            </a:lvl3pPr>
            <a:lvl4pPr>
              <a:spcAft>
                <a:spcPts val="500"/>
              </a:spcAft>
              <a:defRPr sz="2000">
                <a:solidFill>
                  <a:schemeClr val="tx1"/>
                </a:solidFill>
              </a:defRPr>
            </a:lvl4pPr>
            <a:lvl5pPr>
              <a:spcAft>
                <a:spcPts val="500"/>
              </a:spcAft>
              <a:defRPr sz="1800">
                <a:solidFill>
                  <a:schemeClr val="tx1"/>
                </a:solidFill>
              </a:defRPr>
            </a:lvl5pPr>
          </a:lstStyle>
          <a:p>
            <a:pPr lvl="0"/>
            <a:r>
              <a:rPr lang="en-US" dirty="0"/>
              <a:t>Single column</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Logo">
            <a:extLst>
              <a:ext uri="{FF2B5EF4-FFF2-40B4-BE49-F238E27FC236}">
                <a16:creationId xmlns:a16="http://schemas.microsoft.com/office/drawing/2014/main" id="{1839CFE9-5E9D-864B-BC7C-64F240C26D16}"/>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36812481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slide light blue">
    <p:bg>
      <p:bgPr>
        <a:solidFill>
          <a:srgbClr val="27A0CC"/>
        </a:solidFill>
        <a:effectLst/>
      </p:bgPr>
    </p:bg>
    <p:spTree>
      <p:nvGrpSpPr>
        <p:cNvPr id="1" name=""/>
        <p:cNvGrpSpPr/>
        <p:nvPr/>
      </p:nvGrpSpPr>
      <p:grpSpPr>
        <a:xfrm>
          <a:off x="0" y="0"/>
          <a:ext cx="0" cy="0"/>
          <a:chOff x="0" y="0"/>
          <a:chExt cx="0" cy="0"/>
        </a:xfrm>
      </p:grpSpPr>
      <p:sp>
        <p:nvSpPr>
          <p:cNvPr id="8" name="Slide Number Placeholder">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9" name="Footer Placeholder">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cxnSp>
        <p:nvCxnSpPr>
          <p:cNvPr id="10" name="Line">
            <a:extLst>
              <a:ext uri="{FF2B5EF4-FFF2-40B4-BE49-F238E27FC236}">
                <a16:creationId xmlns:a16="http://schemas.microsoft.com/office/drawing/2014/main" id="{D13A9CD3-E6C3-0344-974D-58215B0ABAAA}"/>
              </a:ext>
            </a:extLst>
          </p:cNvPr>
          <p:cNvCxnSpPr>
            <a:cxnSpLocks/>
          </p:cNvCxnSpPr>
          <p:nvPr userDrawn="1"/>
        </p:nvCxnSpPr>
        <p:spPr>
          <a:xfrm>
            <a:off x="823943" y="6055339"/>
            <a:ext cx="105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itle">
            <a:extLst>
              <a:ext uri="{FF2B5EF4-FFF2-40B4-BE49-F238E27FC236}">
                <a16:creationId xmlns:a16="http://schemas.microsoft.com/office/drawing/2014/main" id="{A07FCA63-88F4-0D40-B646-DB3E33AA931D}"/>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chemeClr val="bg1"/>
                </a:solidFill>
              </a:defRPr>
            </a:lvl1pPr>
          </a:lstStyle>
          <a:p>
            <a:r>
              <a:rPr lang="en-US" dirty="0"/>
              <a:t>Section slide</a:t>
            </a:r>
          </a:p>
        </p:txBody>
      </p:sp>
      <p:sp>
        <p:nvSpPr>
          <p:cNvPr id="16" name="Subtitle">
            <a:extLst>
              <a:ext uri="{FF2B5EF4-FFF2-40B4-BE49-F238E27FC236}">
                <a16:creationId xmlns:a16="http://schemas.microsoft.com/office/drawing/2014/main" id="{680E1A51-C56D-6C4C-90F5-70BA71A10A6C}"/>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pic>
        <p:nvPicPr>
          <p:cNvPr id="11" name="Logo">
            <a:extLst>
              <a:ext uri="{FF2B5EF4-FFF2-40B4-BE49-F238E27FC236}">
                <a16:creationId xmlns:a16="http://schemas.microsoft.com/office/drawing/2014/main" id="{E11F3919-182C-5544-B7DB-D4176EE8D853}"/>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3460749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slide light teal">
    <p:bg>
      <p:bgPr>
        <a:solidFill>
          <a:srgbClr val="00A5A1"/>
        </a:solidFill>
        <a:effectLst/>
      </p:bgPr>
    </p:bg>
    <p:spTree>
      <p:nvGrpSpPr>
        <p:cNvPr id="1" name=""/>
        <p:cNvGrpSpPr/>
        <p:nvPr/>
      </p:nvGrpSpPr>
      <p:grpSpPr>
        <a:xfrm>
          <a:off x="0" y="0"/>
          <a:ext cx="0" cy="0"/>
          <a:chOff x="0" y="0"/>
          <a:chExt cx="0" cy="0"/>
        </a:xfrm>
      </p:grpSpPr>
      <p:sp>
        <p:nvSpPr>
          <p:cNvPr id="8" name="Slide Number Placeholder">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9" name="Footer Placeholder">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17" name="Title">
            <a:extLst>
              <a:ext uri="{FF2B5EF4-FFF2-40B4-BE49-F238E27FC236}">
                <a16:creationId xmlns:a16="http://schemas.microsoft.com/office/drawing/2014/main" id="{5594CD60-7AAD-6645-8BE7-91075D074DEF}"/>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chemeClr val="bg1"/>
                </a:solidFill>
              </a:defRPr>
            </a:lvl1pPr>
          </a:lstStyle>
          <a:p>
            <a:r>
              <a:rPr lang="en-US" dirty="0"/>
              <a:t>Section slide</a:t>
            </a:r>
          </a:p>
        </p:txBody>
      </p:sp>
      <p:sp>
        <p:nvSpPr>
          <p:cNvPr id="16" name="Subtitle">
            <a:extLst>
              <a:ext uri="{FF2B5EF4-FFF2-40B4-BE49-F238E27FC236}">
                <a16:creationId xmlns:a16="http://schemas.microsoft.com/office/drawing/2014/main" id="{24E14278-FEE3-0242-BA15-B6E28E53E8F1}"/>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cxnSp>
        <p:nvCxnSpPr>
          <p:cNvPr id="10" name="Line">
            <a:extLst>
              <a:ext uri="{FF2B5EF4-FFF2-40B4-BE49-F238E27FC236}">
                <a16:creationId xmlns:a16="http://schemas.microsoft.com/office/drawing/2014/main" id="{AAED0727-79E8-044A-A266-B0C74790E72D}"/>
              </a:ext>
            </a:extLst>
          </p:cNvPr>
          <p:cNvCxnSpPr>
            <a:cxnSpLocks/>
          </p:cNvCxnSpPr>
          <p:nvPr userDrawn="1"/>
        </p:nvCxnSpPr>
        <p:spPr>
          <a:xfrm>
            <a:off x="823943" y="6055339"/>
            <a:ext cx="105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Logo">
            <a:extLst>
              <a:ext uri="{FF2B5EF4-FFF2-40B4-BE49-F238E27FC236}">
                <a16:creationId xmlns:a16="http://schemas.microsoft.com/office/drawing/2014/main" id="{98F9CD02-1E8F-E747-887A-4899AC4407B6}"/>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15073987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slide teal">
    <p:bg>
      <p:bgPr>
        <a:solidFill>
          <a:srgbClr val="008080"/>
        </a:solidFill>
        <a:effectLst/>
      </p:bgPr>
    </p:bg>
    <p:spTree>
      <p:nvGrpSpPr>
        <p:cNvPr id="1" name=""/>
        <p:cNvGrpSpPr/>
        <p:nvPr/>
      </p:nvGrpSpPr>
      <p:grpSpPr>
        <a:xfrm>
          <a:off x="0" y="0"/>
          <a:ext cx="0" cy="0"/>
          <a:chOff x="0" y="0"/>
          <a:chExt cx="0" cy="0"/>
        </a:xfrm>
      </p:grpSpPr>
      <p:sp>
        <p:nvSpPr>
          <p:cNvPr id="8" name="Slide Number Placeholder">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9" name="Footer Placeholder">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17" name="Title">
            <a:extLst>
              <a:ext uri="{FF2B5EF4-FFF2-40B4-BE49-F238E27FC236}">
                <a16:creationId xmlns:a16="http://schemas.microsoft.com/office/drawing/2014/main" id="{1FFF5308-8243-A94B-81A6-3885912D01F0}"/>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chemeClr val="bg1"/>
                </a:solidFill>
              </a:defRPr>
            </a:lvl1pPr>
          </a:lstStyle>
          <a:p>
            <a:r>
              <a:rPr lang="en-US" dirty="0"/>
              <a:t>Section slide</a:t>
            </a:r>
          </a:p>
        </p:txBody>
      </p:sp>
      <p:sp>
        <p:nvSpPr>
          <p:cNvPr id="16" name="Subtitle">
            <a:extLst>
              <a:ext uri="{FF2B5EF4-FFF2-40B4-BE49-F238E27FC236}">
                <a16:creationId xmlns:a16="http://schemas.microsoft.com/office/drawing/2014/main" id="{5903921C-6D50-A849-B477-5BE38F246FF8}"/>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cxnSp>
        <p:nvCxnSpPr>
          <p:cNvPr id="10" name="Line">
            <a:extLst>
              <a:ext uri="{FF2B5EF4-FFF2-40B4-BE49-F238E27FC236}">
                <a16:creationId xmlns:a16="http://schemas.microsoft.com/office/drawing/2014/main" id="{9BEE2D9E-3E87-ED40-89C2-DBA774F1F211}"/>
              </a:ext>
            </a:extLst>
          </p:cNvPr>
          <p:cNvCxnSpPr>
            <a:cxnSpLocks/>
          </p:cNvCxnSpPr>
          <p:nvPr userDrawn="1"/>
        </p:nvCxnSpPr>
        <p:spPr>
          <a:xfrm>
            <a:off x="823943" y="6055339"/>
            <a:ext cx="105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Logo">
            <a:extLst>
              <a:ext uri="{FF2B5EF4-FFF2-40B4-BE49-F238E27FC236}">
                <a16:creationId xmlns:a16="http://schemas.microsoft.com/office/drawing/2014/main" id="{2015EA9F-8838-304C-B7BC-0CE52FD5BE54}"/>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30523764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slide salem">
    <p:bg>
      <p:bgPr>
        <a:solidFill>
          <a:srgbClr val="0F8243"/>
        </a:solidFill>
        <a:effectLst/>
      </p:bgPr>
    </p:bg>
    <p:spTree>
      <p:nvGrpSpPr>
        <p:cNvPr id="1" name=""/>
        <p:cNvGrpSpPr/>
        <p:nvPr/>
      </p:nvGrpSpPr>
      <p:grpSpPr>
        <a:xfrm>
          <a:off x="0" y="0"/>
          <a:ext cx="0" cy="0"/>
          <a:chOff x="0" y="0"/>
          <a:chExt cx="0" cy="0"/>
        </a:xfrm>
      </p:grpSpPr>
      <p:sp>
        <p:nvSpPr>
          <p:cNvPr id="8" name="Slide Number Placeholder">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9" name="Footer Placeholder">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17" name="Title">
            <a:extLst>
              <a:ext uri="{FF2B5EF4-FFF2-40B4-BE49-F238E27FC236}">
                <a16:creationId xmlns:a16="http://schemas.microsoft.com/office/drawing/2014/main" id="{54334A07-9B9F-A349-8CB2-86A842F8F64D}"/>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chemeClr val="bg1"/>
                </a:solidFill>
              </a:defRPr>
            </a:lvl1pPr>
          </a:lstStyle>
          <a:p>
            <a:r>
              <a:rPr lang="en-US" dirty="0"/>
              <a:t>Section slide</a:t>
            </a:r>
          </a:p>
        </p:txBody>
      </p:sp>
      <p:sp>
        <p:nvSpPr>
          <p:cNvPr id="16" name="Subtitle">
            <a:extLst>
              <a:ext uri="{FF2B5EF4-FFF2-40B4-BE49-F238E27FC236}">
                <a16:creationId xmlns:a16="http://schemas.microsoft.com/office/drawing/2014/main" id="{D120A143-5C37-E449-99C7-B1D969F1B890}"/>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cxnSp>
        <p:nvCxnSpPr>
          <p:cNvPr id="10" name="Line">
            <a:extLst>
              <a:ext uri="{FF2B5EF4-FFF2-40B4-BE49-F238E27FC236}">
                <a16:creationId xmlns:a16="http://schemas.microsoft.com/office/drawing/2014/main" id="{2D6F6E82-1A2A-A042-8877-3692D4187F3F}"/>
              </a:ext>
            </a:extLst>
          </p:cNvPr>
          <p:cNvCxnSpPr>
            <a:cxnSpLocks/>
          </p:cNvCxnSpPr>
          <p:nvPr userDrawn="1"/>
        </p:nvCxnSpPr>
        <p:spPr>
          <a:xfrm>
            <a:off x="823943" y="6055339"/>
            <a:ext cx="105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Logo">
            <a:extLst>
              <a:ext uri="{FF2B5EF4-FFF2-40B4-BE49-F238E27FC236}">
                <a16:creationId xmlns:a16="http://schemas.microsoft.com/office/drawing/2014/main" id="{B7241265-81A3-DF48-A381-D1A72AE8ECF0}"/>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16069779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slide gold">
    <p:bg>
      <p:bgPr>
        <a:solidFill>
          <a:srgbClr val="B8860B"/>
        </a:solidFill>
        <a:effectLst/>
      </p:bgPr>
    </p:bg>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9" name="Footer Placeholder 13">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cxnSp>
        <p:nvCxnSpPr>
          <p:cNvPr id="10" name="Straight Connector 9">
            <a:extLst>
              <a:ext uri="{FF2B5EF4-FFF2-40B4-BE49-F238E27FC236}">
                <a16:creationId xmlns:a16="http://schemas.microsoft.com/office/drawing/2014/main" id="{7B81843D-E333-4F4C-A36D-94080D3638C8}"/>
              </a:ext>
            </a:extLst>
          </p:cNvPr>
          <p:cNvCxnSpPr>
            <a:cxnSpLocks/>
          </p:cNvCxnSpPr>
          <p:nvPr userDrawn="1"/>
        </p:nvCxnSpPr>
        <p:spPr>
          <a:xfrm>
            <a:off x="823943" y="6055339"/>
            <a:ext cx="105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Subtitle 2">
            <a:extLst>
              <a:ext uri="{FF2B5EF4-FFF2-40B4-BE49-F238E27FC236}">
                <a16:creationId xmlns:a16="http://schemas.microsoft.com/office/drawing/2014/main" id="{C62F1910-CA81-E648-B863-DE791419B0EC}"/>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19" name="Title 1">
            <a:extLst>
              <a:ext uri="{FF2B5EF4-FFF2-40B4-BE49-F238E27FC236}">
                <a16:creationId xmlns:a16="http://schemas.microsoft.com/office/drawing/2014/main" id="{8E7CF45C-0FAE-7E42-85CA-A478088C01D7}"/>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chemeClr val="bg1"/>
                </a:solidFill>
              </a:defRPr>
            </a:lvl1pPr>
          </a:lstStyle>
          <a:p>
            <a:r>
              <a:rPr lang="en-US" dirty="0"/>
              <a:t>Section slide</a:t>
            </a:r>
          </a:p>
        </p:txBody>
      </p:sp>
      <p:pic>
        <p:nvPicPr>
          <p:cNvPr id="11" name="Picture 10">
            <a:extLst>
              <a:ext uri="{FF2B5EF4-FFF2-40B4-BE49-F238E27FC236}">
                <a16:creationId xmlns:a16="http://schemas.microsoft.com/office/drawing/2014/main" id="{6BA032E8-2F59-1346-8B38-BC9AB7E98612}"/>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5990016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slide poppy">
    <p:bg>
      <p:bgPr>
        <a:solidFill>
          <a:srgbClr val="D32F2F"/>
        </a:solidFill>
        <a:effectLst/>
      </p:bgPr>
    </p:bg>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9" name="Footer Placeholder 13">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cxnSp>
        <p:nvCxnSpPr>
          <p:cNvPr id="10" name="Straight Connector 9">
            <a:extLst>
              <a:ext uri="{FF2B5EF4-FFF2-40B4-BE49-F238E27FC236}">
                <a16:creationId xmlns:a16="http://schemas.microsoft.com/office/drawing/2014/main" id="{55661407-3B8B-664A-A263-554870E58063}"/>
              </a:ext>
            </a:extLst>
          </p:cNvPr>
          <p:cNvCxnSpPr>
            <a:cxnSpLocks/>
          </p:cNvCxnSpPr>
          <p:nvPr userDrawn="1"/>
        </p:nvCxnSpPr>
        <p:spPr>
          <a:xfrm>
            <a:off x="823943" y="6055339"/>
            <a:ext cx="105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Subtitle 2">
            <a:extLst>
              <a:ext uri="{FF2B5EF4-FFF2-40B4-BE49-F238E27FC236}">
                <a16:creationId xmlns:a16="http://schemas.microsoft.com/office/drawing/2014/main" id="{97414DBD-79C5-A244-8B4E-E0A37BD602F5}"/>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14" name="Title 1">
            <a:extLst>
              <a:ext uri="{FF2B5EF4-FFF2-40B4-BE49-F238E27FC236}">
                <a16:creationId xmlns:a16="http://schemas.microsoft.com/office/drawing/2014/main" id="{0A16821C-C6DC-7B48-A948-EEC91826F275}"/>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chemeClr val="bg1"/>
                </a:solidFill>
              </a:defRPr>
            </a:lvl1pPr>
          </a:lstStyle>
          <a:p>
            <a:r>
              <a:rPr lang="en-US" dirty="0"/>
              <a:t>Section slide</a:t>
            </a:r>
          </a:p>
        </p:txBody>
      </p:sp>
      <p:pic>
        <p:nvPicPr>
          <p:cNvPr id="11" name="Picture 10">
            <a:extLst>
              <a:ext uri="{FF2B5EF4-FFF2-40B4-BE49-F238E27FC236}">
                <a16:creationId xmlns:a16="http://schemas.microsoft.com/office/drawing/2014/main" id="{2278BEC1-E904-E643-AD67-189383A11525}"/>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26482399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slide pink">
    <p:bg>
      <p:bgPr>
        <a:solidFill>
          <a:srgbClr val="D2376D"/>
        </a:solidFill>
        <a:effectLst/>
      </p:bgPr>
    </p:bg>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9" name="Footer Placeholder 13">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cxnSp>
        <p:nvCxnSpPr>
          <p:cNvPr id="10" name="Straight Connector 9">
            <a:extLst>
              <a:ext uri="{FF2B5EF4-FFF2-40B4-BE49-F238E27FC236}">
                <a16:creationId xmlns:a16="http://schemas.microsoft.com/office/drawing/2014/main" id="{F67D8161-5352-AC4F-8422-00F311FA85FA}"/>
              </a:ext>
            </a:extLst>
          </p:cNvPr>
          <p:cNvCxnSpPr>
            <a:cxnSpLocks/>
          </p:cNvCxnSpPr>
          <p:nvPr userDrawn="1"/>
        </p:nvCxnSpPr>
        <p:spPr>
          <a:xfrm>
            <a:off x="823943" y="6055339"/>
            <a:ext cx="105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Subtitle 2">
            <a:extLst>
              <a:ext uri="{FF2B5EF4-FFF2-40B4-BE49-F238E27FC236}">
                <a16:creationId xmlns:a16="http://schemas.microsoft.com/office/drawing/2014/main" id="{D0B060B4-A511-0047-913D-9721FF5144B9}"/>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14" name="Title 1">
            <a:extLst>
              <a:ext uri="{FF2B5EF4-FFF2-40B4-BE49-F238E27FC236}">
                <a16:creationId xmlns:a16="http://schemas.microsoft.com/office/drawing/2014/main" id="{03386FE0-A862-5740-962C-C24D3F6B9956}"/>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chemeClr val="bg1"/>
                </a:solidFill>
              </a:defRPr>
            </a:lvl1pPr>
          </a:lstStyle>
          <a:p>
            <a:r>
              <a:rPr lang="en-US" dirty="0"/>
              <a:t>Section slide</a:t>
            </a:r>
          </a:p>
        </p:txBody>
      </p:sp>
      <p:pic>
        <p:nvPicPr>
          <p:cNvPr id="11" name="Picture 10">
            <a:extLst>
              <a:ext uri="{FF2B5EF4-FFF2-40B4-BE49-F238E27FC236}">
                <a16:creationId xmlns:a16="http://schemas.microsoft.com/office/drawing/2014/main" id="{1BD4B935-3569-AC4D-9192-03F32FFAA3F4}"/>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11908218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ection slide prince">
    <p:bg>
      <p:bgPr>
        <a:solidFill>
          <a:srgbClr val="6E2585"/>
        </a:solidFill>
        <a:effectLst/>
      </p:bgPr>
    </p:bg>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9" name="Footer Placeholder 13">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cxnSp>
        <p:nvCxnSpPr>
          <p:cNvPr id="10" name="Straight Connector 9">
            <a:extLst>
              <a:ext uri="{FF2B5EF4-FFF2-40B4-BE49-F238E27FC236}">
                <a16:creationId xmlns:a16="http://schemas.microsoft.com/office/drawing/2014/main" id="{95FF6451-6437-294C-AE93-D483699E514B}"/>
              </a:ext>
            </a:extLst>
          </p:cNvPr>
          <p:cNvCxnSpPr>
            <a:cxnSpLocks/>
          </p:cNvCxnSpPr>
          <p:nvPr userDrawn="1"/>
        </p:nvCxnSpPr>
        <p:spPr>
          <a:xfrm>
            <a:off x="823943" y="6055339"/>
            <a:ext cx="105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Subtitle 2">
            <a:extLst>
              <a:ext uri="{FF2B5EF4-FFF2-40B4-BE49-F238E27FC236}">
                <a16:creationId xmlns:a16="http://schemas.microsoft.com/office/drawing/2014/main" id="{543DF038-D2D9-464B-9CBE-BD4B00AFCE9F}"/>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14" name="Title 1">
            <a:extLst>
              <a:ext uri="{FF2B5EF4-FFF2-40B4-BE49-F238E27FC236}">
                <a16:creationId xmlns:a16="http://schemas.microsoft.com/office/drawing/2014/main" id="{C2A06972-B375-D540-B534-45327AACFB1D}"/>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chemeClr val="bg1"/>
                </a:solidFill>
              </a:defRPr>
            </a:lvl1pPr>
          </a:lstStyle>
          <a:p>
            <a:r>
              <a:rPr lang="en-US" dirty="0"/>
              <a:t>Section slide</a:t>
            </a:r>
          </a:p>
        </p:txBody>
      </p:sp>
      <p:pic>
        <p:nvPicPr>
          <p:cNvPr id="11" name="Picture 10">
            <a:extLst>
              <a:ext uri="{FF2B5EF4-FFF2-40B4-BE49-F238E27FC236}">
                <a16:creationId xmlns:a16="http://schemas.microsoft.com/office/drawing/2014/main" id="{BA23289A-BC0D-9E47-9000-C2CB97DF4BB4}"/>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5647529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slide purple">
    <p:bg>
      <p:bgPr>
        <a:solidFill>
          <a:srgbClr val="37288B"/>
        </a:solidFill>
        <a:effectLst/>
      </p:bgPr>
    </p:bg>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9" name="Footer Placeholder 13">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cxnSp>
        <p:nvCxnSpPr>
          <p:cNvPr id="10" name="Straight Connector 9">
            <a:extLst>
              <a:ext uri="{FF2B5EF4-FFF2-40B4-BE49-F238E27FC236}">
                <a16:creationId xmlns:a16="http://schemas.microsoft.com/office/drawing/2014/main" id="{A9692B31-F575-6549-88BE-268E460843FC}"/>
              </a:ext>
            </a:extLst>
          </p:cNvPr>
          <p:cNvCxnSpPr>
            <a:cxnSpLocks/>
          </p:cNvCxnSpPr>
          <p:nvPr userDrawn="1"/>
        </p:nvCxnSpPr>
        <p:spPr>
          <a:xfrm>
            <a:off x="823943" y="6055339"/>
            <a:ext cx="105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Subtitle 2">
            <a:extLst>
              <a:ext uri="{FF2B5EF4-FFF2-40B4-BE49-F238E27FC236}">
                <a16:creationId xmlns:a16="http://schemas.microsoft.com/office/drawing/2014/main" id="{461247D4-94C2-BE4C-A999-F549F7698CE4}"/>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14" name="Title 1">
            <a:extLst>
              <a:ext uri="{FF2B5EF4-FFF2-40B4-BE49-F238E27FC236}">
                <a16:creationId xmlns:a16="http://schemas.microsoft.com/office/drawing/2014/main" id="{0650BAC6-52B8-9D45-96A4-4363AFCA8331}"/>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chemeClr val="bg1"/>
                </a:solidFill>
              </a:defRPr>
            </a:lvl1pPr>
          </a:lstStyle>
          <a:p>
            <a:r>
              <a:rPr lang="en-US" dirty="0"/>
              <a:t>Section slide</a:t>
            </a:r>
          </a:p>
        </p:txBody>
      </p:sp>
      <p:pic>
        <p:nvPicPr>
          <p:cNvPr id="11" name="Picture 10">
            <a:extLst>
              <a:ext uri="{FF2B5EF4-FFF2-40B4-BE49-F238E27FC236}">
                <a16:creationId xmlns:a16="http://schemas.microsoft.com/office/drawing/2014/main" id="{18B50C91-4863-6047-9A7D-B2969DAB43CA}"/>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28815040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slide yellow">
    <p:bg>
      <p:bgPr>
        <a:solidFill>
          <a:srgbClr val="FBC900"/>
        </a:solidFill>
        <a:effectLst/>
      </p:bgPr>
    </p:bg>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F65B387B-3FD1-45EA-AC50-60AD9B8DA706}"/>
              </a:ext>
            </a:extLst>
          </p:cNvPr>
          <p:cNvSpPr>
            <a:spLocks noGrp="1"/>
          </p:cNvSpPr>
          <p:nvPr>
            <p:ph type="sldNum" sz="quarter" idx="4"/>
          </p:nvPr>
        </p:nvSpPr>
        <p:spPr>
          <a:xfrm>
            <a:off x="4662087" y="6250891"/>
            <a:ext cx="2867826" cy="365125"/>
          </a:xfrm>
          <a:prstGeom prst="rect">
            <a:avLst/>
          </a:prstGeom>
        </p:spPr>
        <p:txBody>
          <a:bodyPr/>
          <a:lstStyle>
            <a:lvl1pPr>
              <a:defRPr sz="2000">
                <a:solidFill>
                  <a:srgbClr val="003C57"/>
                </a:solidFill>
              </a:defRPr>
            </a:lvl1pPr>
          </a:lstStyle>
          <a:p>
            <a:pPr algn="ctr"/>
            <a:fld id="{232417FB-2EF4-EC49-BC13-97513C37E9E5}" type="slidenum">
              <a:rPr lang="en-US" smtClean="0"/>
              <a:pPr algn="ctr"/>
              <a:t>‹#›</a:t>
            </a:fld>
            <a:endParaRPr lang="en-US" dirty="0"/>
          </a:p>
        </p:txBody>
      </p:sp>
      <p:sp>
        <p:nvSpPr>
          <p:cNvPr id="16" name="Footer Placeholder 13">
            <a:extLst>
              <a:ext uri="{FF2B5EF4-FFF2-40B4-BE49-F238E27FC236}">
                <a16:creationId xmlns:a16="http://schemas.microsoft.com/office/drawing/2014/main" id="{BEFA1C02-658E-4EF5-B8BD-C62D45000802}"/>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rgbClr val="003C57"/>
                </a:solidFill>
              </a:defRPr>
            </a:lvl1pPr>
          </a:lstStyle>
          <a:p>
            <a:endParaRPr lang="en-US" dirty="0"/>
          </a:p>
        </p:txBody>
      </p:sp>
      <p:cxnSp>
        <p:nvCxnSpPr>
          <p:cNvPr id="17" name="Straight Connector 16">
            <a:extLst>
              <a:ext uri="{FF2B5EF4-FFF2-40B4-BE49-F238E27FC236}">
                <a16:creationId xmlns:a16="http://schemas.microsoft.com/office/drawing/2014/main" id="{20C9938C-4DE2-4450-B60D-069F30542F33}"/>
              </a:ext>
            </a:extLst>
          </p:cNvPr>
          <p:cNvCxnSpPr>
            <a:cxnSpLocks/>
          </p:cNvCxnSpPr>
          <p:nvPr userDrawn="1"/>
        </p:nvCxnSpPr>
        <p:spPr>
          <a:xfrm>
            <a:off x="823943" y="6055339"/>
            <a:ext cx="10548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Subtitle 2">
            <a:extLst>
              <a:ext uri="{FF2B5EF4-FFF2-40B4-BE49-F238E27FC236}">
                <a16:creationId xmlns:a16="http://schemas.microsoft.com/office/drawing/2014/main" id="{08FEB706-A4AF-49A8-A8AD-557CD3B0754E}"/>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rgbClr val="003C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19" name="Title 1">
            <a:extLst>
              <a:ext uri="{FF2B5EF4-FFF2-40B4-BE49-F238E27FC236}">
                <a16:creationId xmlns:a16="http://schemas.microsoft.com/office/drawing/2014/main" id="{AFB31923-E9AE-428F-A39B-605D38B7CAFD}"/>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rgbClr val="003C57"/>
                </a:solidFill>
              </a:defRPr>
            </a:lvl1pPr>
          </a:lstStyle>
          <a:p>
            <a:r>
              <a:rPr lang="en-US" dirty="0"/>
              <a:t>Section slide</a:t>
            </a:r>
          </a:p>
        </p:txBody>
      </p:sp>
      <p:pic>
        <p:nvPicPr>
          <p:cNvPr id="10" name="Picture 9">
            <a:extLst>
              <a:ext uri="{FF2B5EF4-FFF2-40B4-BE49-F238E27FC236}">
                <a16:creationId xmlns:a16="http://schemas.microsoft.com/office/drawing/2014/main" id="{7F931902-9386-C04B-8FC9-4754486AEF4F}"/>
              </a:ext>
            </a:extLst>
          </p:cNvPr>
          <p:cNvPicPr>
            <a:picLocks noChangeAspect="1"/>
          </p:cNvPicPr>
          <p:nvPr userDrawn="1"/>
        </p:nvPicPr>
        <p:blipFill>
          <a:blip r:embed="rId2"/>
          <a:stretch>
            <a:fillRect/>
          </a:stretch>
        </p:blipFill>
        <p:spPr>
          <a:xfrm>
            <a:off x="767162" y="6230570"/>
            <a:ext cx="3489878" cy="408624"/>
          </a:xfrm>
          <a:prstGeom prst="rect">
            <a:avLst/>
          </a:prstGeom>
        </p:spPr>
      </p:pic>
    </p:spTree>
    <p:extLst>
      <p:ext uri="{BB962C8B-B14F-4D97-AF65-F5344CB8AC3E}">
        <p14:creationId xmlns:p14="http://schemas.microsoft.com/office/powerpoint/2010/main" val="37340817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wo column text and content">
    <p:bg>
      <p:bgPr>
        <a:solidFill>
          <a:schemeClr val="bg1">
            <a:lumMod val="95000"/>
          </a:schemeClr>
        </a:solidFill>
        <a:effectLst/>
      </p:bgPr>
    </p:bg>
    <p:spTree>
      <p:nvGrpSpPr>
        <p:cNvPr id="1" name=""/>
        <p:cNvGrpSpPr/>
        <p:nvPr/>
      </p:nvGrpSpPr>
      <p:grpSpPr>
        <a:xfrm>
          <a:off x="0" y="0"/>
          <a:ext cx="0" cy="0"/>
          <a:chOff x="0" y="0"/>
          <a:chExt cx="0" cy="0"/>
        </a:xfrm>
      </p:grpSpPr>
      <p:sp>
        <p:nvSpPr>
          <p:cNvPr id="12" name="Rectangle">
            <a:extLst>
              <a:ext uri="{FF2B5EF4-FFF2-40B4-BE49-F238E27FC236}">
                <a16:creationId xmlns:a16="http://schemas.microsoft.com/office/drawing/2014/main" id="{B75BE5F0-67EC-0641-9E8B-7BC2DE4910BB}"/>
              </a:ext>
            </a:extLst>
          </p:cNvPr>
          <p:cNvSpPr/>
          <p:nvPr userDrawn="1"/>
        </p:nvSpPr>
        <p:spPr>
          <a:xfrm>
            <a:off x="0" y="6037942"/>
            <a:ext cx="12192000" cy="820058"/>
          </a:xfrm>
          <a:prstGeom prst="rect">
            <a:avLst/>
          </a:prstGeom>
          <a:solidFill>
            <a:srgbClr val="183E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a:extLst>
              <a:ext uri="{FF2B5EF4-FFF2-40B4-BE49-F238E27FC236}">
                <a16:creationId xmlns:a16="http://schemas.microsoft.com/office/drawing/2014/main" id="{5D913410-9DC7-834A-B330-976E80A5685D}"/>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15" name="Footer Placeholder">
            <a:extLst>
              <a:ext uri="{FF2B5EF4-FFF2-40B4-BE49-F238E27FC236}">
                <a16:creationId xmlns:a16="http://schemas.microsoft.com/office/drawing/2014/main" id="{EA701F44-73AD-C64B-8322-8400CB324EF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17" name="Title">
            <a:extLst>
              <a:ext uri="{FF2B5EF4-FFF2-40B4-BE49-F238E27FC236}">
                <a16:creationId xmlns:a16="http://schemas.microsoft.com/office/drawing/2014/main" id="{BF8E2729-03F2-4F77-BF33-CCC290F9D763}"/>
              </a:ext>
            </a:extLst>
          </p:cNvPr>
          <p:cNvSpPr>
            <a:spLocks noGrp="1"/>
          </p:cNvSpPr>
          <p:nvPr>
            <p:ph type="title" hasCustomPrompt="1"/>
          </p:nvPr>
        </p:nvSpPr>
        <p:spPr>
          <a:xfrm>
            <a:off x="838200" y="642126"/>
            <a:ext cx="10515600" cy="526298"/>
          </a:xfrm>
          <a:prstGeom prst="rect">
            <a:avLst/>
          </a:prstGeom>
        </p:spPr>
        <p:txBody>
          <a:bodyPr>
            <a:spAutoFit/>
          </a:bodyPr>
          <a:lstStyle>
            <a:lvl1pPr>
              <a:defRPr sz="3600"/>
            </a:lvl1pPr>
          </a:lstStyle>
          <a:p>
            <a:r>
              <a:rPr lang="en-US" dirty="0"/>
              <a:t>Add your heading here</a:t>
            </a:r>
          </a:p>
        </p:txBody>
      </p:sp>
      <p:sp>
        <p:nvSpPr>
          <p:cNvPr id="3" name="Content Placeholder 1"/>
          <p:cNvSpPr>
            <a:spLocks noGrp="1"/>
          </p:cNvSpPr>
          <p:nvPr>
            <p:ph sz="half" idx="1" hasCustomPrompt="1"/>
          </p:nvPr>
        </p:nvSpPr>
        <p:spPr>
          <a:xfrm>
            <a:off x="838200" y="1422595"/>
            <a:ext cx="4961351" cy="2375394"/>
          </a:xfrm>
          <a:prstGeom prst="rect">
            <a:avLst/>
          </a:prstGeom>
        </p:spPr>
        <p:txBody>
          <a:bodyPr wrap="square" tIns="0" bIns="0" anchor="t" anchorCtr="0"/>
          <a:lstStyle>
            <a:lvl1pPr>
              <a:spcAft>
                <a:spcPts val="500"/>
              </a:spcAft>
              <a:defRPr sz="3200">
                <a:solidFill>
                  <a:schemeClr val="tx1"/>
                </a:solidFill>
              </a:defRPr>
            </a:lvl1pPr>
            <a:lvl2pPr>
              <a:spcAft>
                <a:spcPts val="500"/>
              </a:spcAft>
              <a:defRPr sz="2800">
                <a:solidFill>
                  <a:schemeClr val="tx1"/>
                </a:solidFill>
              </a:defRPr>
            </a:lvl2pPr>
            <a:lvl3pPr>
              <a:spcAft>
                <a:spcPts val="500"/>
              </a:spcAft>
              <a:defRPr sz="2400">
                <a:solidFill>
                  <a:schemeClr val="tx1"/>
                </a:solidFill>
              </a:defRPr>
            </a:lvl3pPr>
            <a:lvl4pPr>
              <a:spcAft>
                <a:spcPts val="500"/>
              </a:spcAft>
              <a:defRPr sz="2000">
                <a:solidFill>
                  <a:schemeClr val="tx1"/>
                </a:solidFill>
              </a:defRPr>
            </a:lvl4pPr>
            <a:lvl5pPr>
              <a:spcAft>
                <a:spcPts val="500"/>
              </a:spcAft>
              <a:defRPr sz="2000">
                <a:solidFill>
                  <a:schemeClr val="tx1"/>
                </a:solidFill>
              </a:defRPr>
            </a:lvl5pPr>
          </a:lstStyle>
          <a:p>
            <a:pPr lvl="0"/>
            <a:r>
              <a:rPr lang="en-US" dirty="0"/>
              <a:t>Column on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sz="half" idx="2" hasCustomPrompt="1"/>
          </p:nvPr>
        </p:nvSpPr>
        <p:spPr>
          <a:xfrm>
            <a:off x="6172200" y="1422595"/>
            <a:ext cx="5199743" cy="2375394"/>
          </a:xfrm>
          <a:prstGeom prst="rect">
            <a:avLst/>
          </a:prstGeom>
        </p:spPr>
        <p:txBody>
          <a:bodyPr wrap="square" tIns="0" bIns="0" anchor="t" anchorCtr="0"/>
          <a:lstStyle>
            <a:lvl1pPr>
              <a:spcAft>
                <a:spcPts val="500"/>
              </a:spcAft>
              <a:defRPr sz="3200">
                <a:solidFill>
                  <a:schemeClr val="tx1"/>
                </a:solidFill>
              </a:defRPr>
            </a:lvl1pPr>
            <a:lvl2pPr>
              <a:spcAft>
                <a:spcPts val="500"/>
              </a:spcAft>
              <a:defRPr sz="2800">
                <a:solidFill>
                  <a:schemeClr val="tx1"/>
                </a:solidFill>
              </a:defRPr>
            </a:lvl2pPr>
            <a:lvl3pPr>
              <a:spcAft>
                <a:spcPts val="500"/>
              </a:spcAft>
              <a:defRPr sz="2400">
                <a:solidFill>
                  <a:schemeClr val="tx1"/>
                </a:solidFill>
              </a:defRPr>
            </a:lvl3pPr>
            <a:lvl4pPr>
              <a:spcAft>
                <a:spcPts val="500"/>
              </a:spcAft>
              <a:defRPr sz="2000">
                <a:solidFill>
                  <a:schemeClr val="tx1"/>
                </a:solidFill>
              </a:defRPr>
            </a:lvl4pPr>
            <a:lvl5pPr>
              <a:spcAft>
                <a:spcPts val="500"/>
              </a:spcAft>
              <a:defRPr sz="2000">
                <a:solidFill>
                  <a:schemeClr val="tx1"/>
                </a:solidFill>
              </a:defRPr>
            </a:lvl5pPr>
          </a:lstStyle>
          <a:p>
            <a:pPr lvl="0"/>
            <a:r>
              <a:rPr lang="en-US" dirty="0"/>
              <a:t>Column two</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Logo">
            <a:extLst>
              <a:ext uri="{FF2B5EF4-FFF2-40B4-BE49-F238E27FC236}">
                <a16:creationId xmlns:a16="http://schemas.microsoft.com/office/drawing/2014/main" id="{F7514166-DC7B-8643-B3B3-DEFD64FA4F2F}"/>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11757716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slide ONS Green">
    <p:bg>
      <p:bgPr>
        <a:solidFill>
          <a:srgbClr val="A8BD3A"/>
        </a:solidFill>
        <a:effectLst/>
      </p:bgPr>
    </p:bg>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F65B387B-3FD1-45EA-AC50-60AD9B8DA706}"/>
              </a:ext>
            </a:extLst>
          </p:cNvPr>
          <p:cNvSpPr>
            <a:spLocks noGrp="1"/>
          </p:cNvSpPr>
          <p:nvPr>
            <p:ph type="sldNum" sz="quarter" idx="4"/>
          </p:nvPr>
        </p:nvSpPr>
        <p:spPr>
          <a:xfrm>
            <a:off x="4662087" y="6250891"/>
            <a:ext cx="2867826" cy="365125"/>
          </a:xfrm>
          <a:prstGeom prst="rect">
            <a:avLst/>
          </a:prstGeom>
        </p:spPr>
        <p:txBody>
          <a:bodyPr/>
          <a:lstStyle>
            <a:lvl1pPr>
              <a:defRPr sz="2000">
                <a:solidFill>
                  <a:srgbClr val="003C57"/>
                </a:solidFill>
              </a:defRPr>
            </a:lvl1pPr>
          </a:lstStyle>
          <a:p>
            <a:pPr algn="ctr"/>
            <a:fld id="{232417FB-2EF4-EC49-BC13-97513C37E9E5}" type="slidenum">
              <a:rPr lang="en-US" smtClean="0"/>
              <a:pPr algn="ctr"/>
              <a:t>‹#›</a:t>
            </a:fld>
            <a:endParaRPr lang="en-US" dirty="0"/>
          </a:p>
        </p:txBody>
      </p:sp>
      <p:sp>
        <p:nvSpPr>
          <p:cNvPr id="16" name="Footer Placeholder 13">
            <a:extLst>
              <a:ext uri="{FF2B5EF4-FFF2-40B4-BE49-F238E27FC236}">
                <a16:creationId xmlns:a16="http://schemas.microsoft.com/office/drawing/2014/main" id="{BEFA1C02-658E-4EF5-B8BD-C62D45000802}"/>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rgbClr val="003C57"/>
                </a:solidFill>
              </a:defRPr>
            </a:lvl1pPr>
          </a:lstStyle>
          <a:p>
            <a:endParaRPr lang="en-US" dirty="0"/>
          </a:p>
        </p:txBody>
      </p:sp>
      <p:cxnSp>
        <p:nvCxnSpPr>
          <p:cNvPr id="17" name="Straight Connector 16">
            <a:extLst>
              <a:ext uri="{FF2B5EF4-FFF2-40B4-BE49-F238E27FC236}">
                <a16:creationId xmlns:a16="http://schemas.microsoft.com/office/drawing/2014/main" id="{20C9938C-4DE2-4450-B60D-069F30542F33}"/>
              </a:ext>
            </a:extLst>
          </p:cNvPr>
          <p:cNvCxnSpPr>
            <a:cxnSpLocks/>
          </p:cNvCxnSpPr>
          <p:nvPr userDrawn="1"/>
        </p:nvCxnSpPr>
        <p:spPr>
          <a:xfrm>
            <a:off x="823943" y="6055339"/>
            <a:ext cx="10548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Subtitle 2">
            <a:extLst>
              <a:ext uri="{FF2B5EF4-FFF2-40B4-BE49-F238E27FC236}">
                <a16:creationId xmlns:a16="http://schemas.microsoft.com/office/drawing/2014/main" id="{08FEB706-A4AF-49A8-A8AD-557CD3B0754E}"/>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rgbClr val="003C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19" name="Title 1">
            <a:extLst>
              <a:ext uri="{FF2B5EF4-FFF2-40B4-BE49-F238E27FC236}">
                <a16:creationId xmlns:a16="http://schemas.microsoft.com/office/drawing/2014/main" id="{AFB31923-E9AE-428F-A39B-605D38B7CAFD}"/>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rgbClr val="003C57"/>
                </a:solidFill>
              </a:defRPr>
            </a:lvl1pPr>
          </a:lstStyle>
          <a:p>
            <a:r>
              <a:rPr lang="en-US" dirty="0"/>
              <a:t>Section slide</a:t>
            </a:r>
          </a:p>
        </p:txBody>
      </p:sp>
      <p:pic>
        <p:nvPicPr>
          <p:cNvPr id="8" name="Picture 7">
            <a:extLst>
              <a:ext uri="{FF2B5EF4-FFF2-40B4-BE49-F238E27FC236}">
                <a16:creationId xmlns:a16="http://schemas.microsoft.com/office/drawing/2014/main" id="{BCDC79FA-CAE1-5B4D-80D4-0E154323570F}"/>
              </a:ext>
            </a:extLst>
          </p:cNvPr>
          <p:cNvPicPr>
            <a:picLocks noChangeAspect="1"/>
          </p:cNvPicPr>
          <p:nvPr userDrawn="1"/>
        </p:nvPicPr>
        <p:blipFill>
          <a:blip r:embed="rId2"/>
          <a:stretch>
            <a:fillRect/>
          </a:stretch>
        </p:blipFill>
        <p:spPr>
          <a:xfrm>
            <a:off x="767162" y="6230570"/>
            <a:ext cx="3489878" cy="408624"/>
          </a:xfrm>
          <a:prstGeom prst="rect">
            <a:avLst/>
          </a:prstGeom>
        </p:spPr>
      </p:pic>
    </p:spTree>
    <p:extLst>
      <p:ext uri="{BB962C8B-B14F-4D97-AF65-F5344CB8AC3E}">
        <p14:creationId xmlns:p14="http://schemas.microsoft.com/office/powerpoint/2010/main" val="14548986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slide gradient 1">
    <p:bg>
      <p:bgPr>
        <a:gradFill flip="none" rotWithShape="1">
          <a:gsLst>
            <a:gs pos="81000">
              <a:srgbClr val="003C57"/>
            </a:gs>
            <a:gs pos="0">
              <a:srgbClr val="008080"/>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9" name="Footer Placeholder 13">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cxnSp>
        <p:nvCxnSpPr>
          <p:cNvPr id="17" name="Straight Connector 16">
            <a:extLst>
              <a:ext uri="{FF2B5EF4-FFF2-40B4-BE49-F238E27FC236}">
                <a16:creationId xmlns:a16="http://schemas.microsoft.com/office/drawing/2014/main" id="{E7A17917-5AA2-9546-83BC-34444E3C1470}"/>
              </a:ext>
            </a:extLst>
          </p:cNvPr>
          <p:cNvCxnSpPr>
            <a:cxnSpLocks/>
          </p:cNvCxnSpPr>
          <p:nvPr userDrawn="1"/>
        </p:nvCxnSpPr>
        <p:spPr>
          <a:xfrm>
            <a:off x="823943" y="6055339"/>
            <a:ext cx="105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B9896418-9A93-F547-B375-91E5E5B76A8D}"/>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13" name="Title 1">
            <a:extLst>
              <a:ext uri="{FF2B5EF4-FFF2-40B4-BE49-F238E27FC236}">
                <a16:creationId xmlns:a16="http://schemas.microsoft.com/office/drawing/2014/main" id="{17295645-9FDE-574A-9486-F7FDBDF3781B}"/>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chemeClr val="bg1"/>
                </a:solidFill>
              </a:defRPr>
            </a:lvl1pPr>
          </a:lstStyle>
          <a:p>
            <a:r>
              <a:rPr lang="en-US" dirty="0"/>
              <a:t>Section slide</a:t>
            </a:r>
          </a:p>
        </p:txBody>
      </p:sp>
      <p:pic>
        <p:nvPicPr>
          <p:cNvPr id="10" name="Picture 9">
            <a:extLst>
              <a:ext uri="{FF2B5EF4-FFF2-40B4-BE49-F238E27FC236}">
                <a16:creationId xmlns:a16="http://schemas.microsoft.com/office/drawing/2014/main" id="{A902ADDA-AB5F-054D-ADFD-F0378799BAE8}"/>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27237849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slide gradient 2">
    <p:bg>
      <p:bgPr>
        <a:gradFill flip="none" rotWithShape="1">
          <a:gsLst>
            <a:gs pos="81000">
              <a:srgbClr val="008080"/>
            </a:gs>
            <a:gs pos="0">
              <a:srgbClr val="27A0CC"/>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9" name="Footer Placeholder 13">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cxnSp>
        <p:nvCxnSpPr>
          <p:cNvPr id="17" name="Straight Connector 16">
            <a:extLst>
              <a:ext uri="{FF2B5EF4-FFF2-40B4-BE49-F238E27FC236}">
                <a16:creationId xmlns:a16="http://schemas.microsoft.com/office/drawing/2014/main" id="{E7A17917-5AA2-9546-83BC-34444E3C1470}"/>
              </a:ext>
            </a:extLst>
          </p:cNvPr>
          <p:cNvCxnSpPr>
            <a:cxnSpLocks/>
          </p:cNvCxnSpPr>
          <p:nvPr userDrawn="1"/>
        </p:nvCxnSpPr>
        <p:spPr>
          <a:xfrm>
            <a:off x="823943" y="6055339"/>
            <a:ext cx="105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2BB51AC8-339B-F542-A4E2-891D4443FD7A}"/>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13" name="Title 1">
            <a:extLst>
              <a:ext uri="{FF2B5EF4-FFF2-40B4-BE49-F238E27FC236}">
                <a16:creationId xmlns:a16="http://schemas.microsoft.com/office/drawing/2014/main" id="{76165A53-E610-A246-BF2B-8FE1F65A42F6}"/>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chemeClr val="bg1"/>
                </a:solidFill>
              </a:defRPr>
            </a:lvl1pPr>
          </a:lstStyle>
          <a:p>
            <a:r>
              <a:rPr lang="en-US" dirty="0"/>
              <a:t>Section slide</a:t>
            </a:r>
          </a:p>
        </p:txBody>
      </p:sp>
      <p:pic>
        <p:nvPicPr>
          <p:cNvPr id="10" name="Picture 9">
            <a:extLst>
              <a:ext uri="{FF2B5EF4-FFF2-40B4-BE49-F238E27FC236}">
                <a16:creationId xmlns:a16="http://schemas.microsoft.com/office/drawing/2014/main" id="{D5324137-511F-1645-8722-42DBC4BAFA7D}"/>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33019206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slide gradient 3">
    <p:bg>
      <p:bgPr>
        <a:gradFill flip="none" rotWithShape="1">
          <a:gsLst>
            <a:gs pos="90000">
              <a:srgbClr val="3C388E"/>
            </a:gs>
            <a:gs pos="0">
              <a:srgbClr val="902082"/>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9" name="Footer Placeholder 13">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cxnSp>
        <p:nvCxnSpPr>
          <p:cNvPr id="17" name="Straight Connector 16">
            <a:extLst>
              <a:ext uri="{FF2B5EF4-FFF2-40B4-BE49-F238E27FC236}">
                <a16:creationId xmlns:a16="http://schemas.microsoft.com/office/drawing/2014/main" id="{E7A17917-5AA2-9546-83BC-34444E3C1470}"/>
              </a:ext>
            </a:extLst>
          </p:cNvPr>
          <p:cNvCxnSpPr>
            <a:cxnSpLocks/>
          </p:cNvCxnSpPr>
          <p:nvPr userDrawn="1"/>
        </p:nvCxnSpPr>
        <p:spPr>
          <a:xfrm>
            <a:off x="823943" y="6055339"/>
            <a:ext cx="105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1F692672-45E9-DB45-968E-472F1D3201F3}"/>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13" name="Title 1">
            <a:extLst>
              <a:ext uri="{FF2B5EF4-FFF2-40B4-BE49-F238E27FC236}">
                <a16:creationId xmlns:a16="http://schemas.microsoft.com/office/drawing/2014/main" id="{E3A6E39D-26AC-134F-96EF-39DF3B1062E8}"/>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chemeClr val="bg1"/>
                </a:solidFill>
              </a:defRPr>
            </a:lvl1pPr>
          </a:lstStyle>
          <a:p>
            <a:r>
              <a:rPr lang="en-US" dirty="0"/>
              <a:t>Section slide</a:t>
            </a:r>
          </a:p>
        </p:txBody>
      </p:sp>
      <p:pic>
        <p:nvPicPr>
          <p:cNvPr id="10" name="Picture 9">
            <a:extLst>
              <a:ext uri="{FF2B5EF4-FFF2-40B4-BE49-F238E27FC236}">
                <a16:creationId xmlns:a16="http://schemas.microsoft.com/office/drawing/2014/main" id="{7E899311-9E19-344F-9900-CD5C93FCF3B9}"/>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41168077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slide gradient 4">
    <p:bg>
      <p:bgPr>
        <a:gradFill flip="none" rotWithShape="1">
          <a:gsLst>
            <a:gs pos="81000">
              <a:srgbClr val="0F8243"/>
            </a:gs>
            <a:gs pos="0">
              <a:srgbClr val="00A5A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9" name="Footer Placeholder 13">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cxnSp>
        <p:nvCxnSpPr>
          <p:cNvPr id="17" name="Straight Connector 16">
            <a:extLst>
              <a:ext uri="{FF2B5EF4-FFF2-40B4-BE49-F238E27FC236}">
                <a16:creationId xmlns:a16="http://schemas.microsoft.com/office/drawing/2014/main" id="{E7A17917-5AA2-9546-83BC-34444E3C1470}"/>
              </a:ext>
            </a:extLst>
          </p:cNvPr>
          <p:cNvCxnSpPr>
            <a:cxnSpLocks/>
          </p:cNvCxnSpPr>
          <p:nvPr userDrawn="1"/>
        </p:nvCxnSpPr>
        <p:spPr>
          <a:xfrm>
            <a:off x="823943" y="6055339"/>
            <a:ext cx="105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10A3A34B-DE42-9B4B-9D76-6B04A45E1097}"/>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13" name="Title 1">
            <a:extLst>
              <a:ext uri="{FF2B5EF4-FFF2-40B4-BE49-F238E27FC236}">
                <a16:creationId xmlns:a16="http://schemas.microsoft.com/office/drawing/2014/main" id="{5C16E151-0ED9-1744-A65B-E5226804066A}"/>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chemeClr val="bg1"/>
                </a:solidFill>
              </a:defRPr>
            </a:lvl1pPr>
          </a:lstStyle>
          <a:p>
            <a:r>
              <a:rPr lang="en-US" dirty="0"/>
              <a:t>Section slide</a:t>
            </a:r>
          </a:p>
        </p:txBody>
      </p:sp>
      <p:pic>
        <p:nvPicPr>
          <p:cNvPr id="10" name="Picture 9">
            <a:extLst>
              <a:ext uri="{FF2B5EF4-FFF2-40B4-BE49-F238E27FC236}">
                <a16:creationId xmlns:a16="http://schemas.microsoft.com/office/drawing/2014/main" id="{D8796CC5-1490-C047-AEC4-B8C2ED9C7B02}"/>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37957164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slide gradient 5 - Data Science Campus">
    <p:bg>
      <p:bgPr>
        <a:gradFill flip="none" rotWithShape="1">
          <a:gsLst>
            <a:gs pos="0">
              <a:srgbClr val="E9742C"/>
            </a:gs>
            <a:gs pos="81000">
              <a:srgbClr val="D2376D"/>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8" name="Slide Number Placeholder">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9" name="Footer Placeholder">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13" name="Title">
            <a:extLst>
              <a:ext uri="{FF2B5EF4-FFF2-40B4-BE49-F238E27FC236}">
                <a16:creationId xmlns:a16="http://schemas.microsoft.com/office/drawing/2014/main" id="{7A4B3A4D-4DE7-BE46-A8F2-E186A17B7EA5}"/>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chemeClr val="bg1"/>
                </a:solidFill>
              </a:defRPr>
            </a:lvl1pPr>
          </a:lstStyle>
          <a:p>
            <a:r>
              <a:rPr lang="en-US" dirty="0"/>
              <a:t>Section slide</a:t>
            </a:r>
          </a:p>
        </p:txBody>
      </p:sp>
      <p:sp>
        <p:nvSpPr>
          <p:cNvPr id="11" name="Subtitle">
            <a:extLst>
              <a:ext uri="{FF2B5EF4-FFF2-40B4-BE49-F238E27FC236}">
                <a16:creationId xmlns:a16="http://schemas.microsoft.com/office/drawing/2014/main" id="{FE11B252-106E-D845-B192-770BA16A6EDF}"/>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cxnSp>
        <p:nvCxnSpPr>
          <p:cNvPr id="17" name="Line">
            <a:extLst>
              <a:ext uri="{FF2B5EF4-FFF2-40B4-BE49-F238E27FC236}">
                <a16:creationId xmlns:a16="http://schemas.microsoft.com/office/drawing/2014/main" id="{E7A17917-5AA2-9546-83BC-34444E3C1470}"/>
              </a:ext>
            </a:extLst>
          </p:cNvPr>
          <p:cNvCxnSpPr>
            <a:cxnSpLocks/>
          </p:cNvCxnSpPr>
          <p:nvPr userDrawn="1"/>
        </p:nvCxnSpPr>
        <p:spPr>
          <a:xfrm>
            <a:off x="823943" y="6055339"/>
            <a:ext cx="105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A525C43C-A73A-014B-8A3C-80F8E3C84CDF}"/>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302693427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slide gradient 6">
    <p:bg>
      <p:bgPr>
        <a:gradFill flip="none" rotWithShape="1">
          <a:gsLst>
            <a:gs pos="81000">
              <a:srgbClr val="FBC900"/>
            </a:gs>
            <a:gs pos="0">
              <a:srgbClr val="FF9933"/>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8" name="Slide Number Placeholder">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rgbClr val="003C57"/>
                </a:solidFill>
              </a:defRPr>
            </a:lvl1pPr>
          </a:lstStyle>
          <a:p>
            <a:pPr algn="ctr"/>
            <a:fld id="{232417FB-2EF4-EC49-BC13-97513C37E9E5}" type="slidenum">
              <a:rPr lang="en-US" smtClean="0"/>
              <a:pPr algn="ctr"/>
              <a:t>‹#›</a:t>
            </a:fld>
            <a:endParaRPr lang="en-US" dirty="0"/>
          </a:p>
        </p:txBody>
      </p:sp>
      <p:sp>
        <p:nvSpPr>
          <p:cNvPr id="9" name="Footer Placeholder">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rgbClr val="003C57"/>
                </a:solidFill>
              </a:defRPr>
            </a:lvl1pPr>
          </a:lstStyle>
          <a:p>
            <a:endParaRPr lang="en-US" dirty="0"/>
          </a:p>
        </p:txBody>
      </p:sp>
      <p:sp>
        <p:nvSpPr>
          <p:cNvPr id="13" name="Title">
            <a:extLst>
              <a:ext uri="{FF2B5EF4-FFF2-40B4-BE49-F238E27FC236}">
                <a16:creationId xmlns:a16="http://schemas.microsoft.com/office/drawing/2014/main" id="{76DFADB9-CC9D-E547-8CD9-C58C55DDD2D6}"/>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rgbClr val="003C57"/>
                </a:solidFill>
              </a:defRPr>
            </a:lvl1pPr>
          </a:lstStyle>
          <a:p>
            <a:r>
              <a:rPr lang="en-US" dirty="0"/>
              <a:t>Section slide</a:t>
            </a:r>
          </a:p>
        </p:txBody>
      </p:sp>
      <p:sp>
        <p:nvSpPr>
          <p:cNvPr id="11" name="Subtitle">
            <a:extLst>
              <a:ext uri="{FF2B5EF4-FFF2-40B4-BE49-F238E27FC236}">
                <a16:creationId xmlns:a16="http://schemas.microsoft.com/office/drawing/2014/main" id="{F27CF227-6C56-1B4B-8B3C-836CBD421334}"/>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rgbClr val="003C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cxnSp>
        <p:nvCxnSpPr>
          <p:cNvPr id="17" name="Line">
            <a:extLst>
              <a:ext uri="{FF2B5EF4-FFF2-40B4-BE49-F238E27FC236}">
                <a16:creationId xmlns:a16="http://schemas.microsoft.com/office/drawing/2014/main" id="{E7A17917-5AA2-9546-83BC-34444E3C1470}"/>
              </a:ext>
            </a:extLst>
          </p:cNvPr>
          <p:cNvCxnSpPr>
            <a:cxnSpLocks/>
          </p:cNvCxnSpPr>
          <p:nvPr userDrawn="1"/>
        </p:nvCxnSpPr>
        <p:spPr>
          <a:xfrm>
            <a:off x="823943" y="6055339"/>
            <a:ext cx="10548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05F23751-8F25-804D-A4CB-18DC4D33B746}"/>
              </a:ext>
            </a:extLst>
          </p:cNvPr>
          <p:cNvPicPr>
            <a:picLocks noChangeAspect="1"/>
          </p:cNvPicPr>
          <p:nvPr userDrawn="1"/>
        </p:nvPicPr>
        <p:blipFill>
          <a:blip r:embed="rId2"/>
          <a:stretch>
            <a:fillRect/>
          </a:stretch>
        </p:blipFill>
        <p:spPr>
          <a:xfrm>
            <a:off x="767162" y="6230570"/>
            <a:ext cx="3489878" cy="408624"/>
          </a:xfrm>
          <a:prstGeom prst="rect">
            <a:avLst/>
          </a:prstGeom>
        </p:spPr>
      </p:pic>
    </p:spTree>
    <p:extLst>
      <p:ext uri="{BB962C8B-B14F-4D97-AF65-F5344CB8AC3E}">
        <p14:creationId xmlns:p14="http://schemas.microsoft.com/office/powerpoint/2010/main" val="1040801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7Section slide gradient 7">
    <p:bg>
      <p:bgPr>
        <a:gradFill flip="none" rotWithShape="1">
          <a:gsLst>
            <a:gs pos="0">
              <a:srgbClr val="E9742C"/>
            </a:gs>
            <a:gs pos="67000">
              <a:srgbClr val="D32F2F"/>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8" name="Slide Number Placeholder">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9" name="Footer Placeholder">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13" name="Title">
            <a:extLst>
              <a:ext uri="{FF2B5EF4-FFF2-40B4-BE49-F238E27FC236}">
                <a16:creationId xmlns:a16="http://schemas.microsoft.com/office/drawing/2014/main" id="{7A4B3A4D-4DE7-BE46-A8F2-E186A17B7EA5}"/>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chemeClr val="bg1"/>
                </a:solidFill>
              </a:defRPr>
            </a:lvl1pPr>
          </a:lstStyle>
          <a:p>
            <a:r>
              <a:rPr lang="en-US" dirty="0"/>
              <a:t>Section slide</a:t>
            </a:r>
          </a:p>
        </p:txBody>
      </p:sp>
      <p:sp>
        <p:nvSpPr>
          <p:cNvPr id="11" name="Subtitle">
            <a:extLst>
              <a:ext uri="{FF2B5EF4-FFF2-40B4-BE49-F238E27FC236}">
                <a16:creationId xmlns:a16="http://schemas.microsoft.com/office/drawing/2014/main" id="{FE11B252-106E-D845-B192-770BA16A6EDF}"/>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cxnSp>
        <p:nvCxnSpPr>
          <p:cNvPr id="17" name="Line">
            <a:extLst>
              <a:ext uri="{FF2B5EF4-FFF2-40B4-BE49-F238E27FC236}">
                <a16:creationId xmlns:a16="http://schemas.microsoft.com/office/drawing/2014/main" id="{E7A17917-5AA2-9546-83BC-34444E3C1470}"/>
              </a:ext>
            </a:extLst>
          </p:cNvPr>
          <p:cNvCxnSpPr>
            <a:cxnSpLocks/>
          </p:cNvCxnSpPr>
          <p:nvPr userDrawn="1"/>
        </p:nvCxnSpPr>
        <p:spPr>
          <a:xfrm>
            <a:off x="823943" y="6055339"/>
            <a:ext cx="105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55E81007-7ADB-5B45-AD78-EB189DC9FA1F}"/>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12224855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8_Section slide gradient">
    <p:bg>
      <p:bgPr>
        <a:gradFill flip="none" rotWithShape="1">
          <a:gsLst>
            <a:gs pos="81000">
              <a:srgbClr val="003C57"/>
            </a:gs>
            <a:gs pos="1000">
              <a:srgbClr val="206095"/>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8" name="Slide Number Placeholder">
            <a:extLst>
              <a:ext uri="{FF2B5EF4-FFF2-40B4-BE49-F238E27FC236}">
                <a16:creationId xmlns:a16="http://schemas.microsoft.com/office/drawing/2014/main" id="{BAA1490B-BB3E-0748-BA6A-B8586696578B}"/>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9" name="Footer Placeholder">
            <a:extLst>
              <a:ext uri="{FF2B5EF4-FFF2-40B4-BE49-F238E27FC236}">
                <a16:creationId xmlns:a16="http://schemas.microsoft.com/office/drawing/2014/main" id="{61622BCB-5999-744E-B77D-08F504F71E8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cxnSp>
        <p:nvCxnSpPr>
          <p:cNvPr id="17" name="Line">
            <a:extLst>
              <a:ext uri="{FF2B5EF4-FFF2-40B4-BE49-F238E27FC236}">
                <a16:creationId xmlns:a16="http://schemas.microsoft.com/office/drawing/2014/main" id="{E7A17917-5AA2-9546-83BC-34444E3C1470}"/>
              </a:ext>
            </a:extLst>
          </p:cNvPr>
          <p:cNvCxnSpPr>
            <a:cxnSpLocks/>
          </p:cNvCxnSpPr>
          <p:nvPr userDrawn="1"/>
        </p:nvCxnSpPr>
        <p:spPr>
          <a:xfrm>
            <a:off x="823943" y="6055339"/>
            <a:ext cx="105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itle">
            <a:extLst>
              <a:ext uri="{FF2B5EF4-FFF2-40B4-BE49-F238E27FC236}">
                <a16:creationId xmlns:a16="http://schemas.microsoft.com/office/drawing/2014/main" id="{76165A53-E610-A246-BF2B-8FE1F65A42F6}"/>
              </a:ext>
            </a:extLst>
          </p:cNvPr>
          <p:cNvSpPr>
            <a:spLocks noGrp="1"/>
          </p:cNvSpPr>
          <p:nvPr>
            <p:ph type="title" hasCustomPrompt="1"/>
          </p:nvPr>
        </p:nvSpPr>
        <p:spPr>
          <a:xfrm>
            <a:off x="838200" y="2769528"/>
            <a:ext cx="10515600" cy="1052596"/>
          </a:xfrm>
          <a:prstGeom prst="rect">
            <a:avLst/>
          </a:prstGeom>
        </p:spPr>
        <p:txBody>
          <a:bodyPr lIns="0" tIns="0" rIns="0" bIns="0" anchor="t" anchorCtr="0">
            <a:spAutoFit/>
          </a:bodyPr>
          <a:lstStyle>
            <a:lvl1pPr algn="l">
              <a:defRPr sz="7200">
                <a:solidFill>
                  <a:schemeClr val="bg1"/>
                </a:solidFill>
              </a:defRPr>
            </a:lvl1pPr>
          </a:lstStyle>
          <a:p>
            <a:r>
              <a:rPr lang="en-US" dirty="0"/>
              <a:t>Section slide</a:t>
            </a:r>
          </a:p>
        </p:txBody>
      </p:sp>
      <p:sp>
        <p:nvSpPr>
          <p:cNvPr id="11" name="Subtitle">
            <a:extLst>
              <a:ext uri="{FF2B5EF4-FFF2-40B4-BE49-F238E27FC236}">
                <a16:creationId xmlns:a16="http://schemas.microsoft.com/office/drawing/2014/main" id="{2BB51AC8-339B-F542-A4E2-891D4443FD7A}"/>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pic>
        <p:nvPicPr>
          <p:cNvPr id="10" name="Logo">
            <a:extLst>
              <a:ext uri="{FF2B5EF4-FFF2-40B4-BE49-F238E27FC236}">
                <a16:creationId xmlns:a16="http://schemas.microsoft.com/office/drawing/2014/main" id="{A662EFF2-9D37-6244-8260-98167C81D117}"/>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2764034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Single column title and content">
    <p:bg>
      <p:bgPr>
        <a:solidFill>
          <a:srgbClr val="5F7682">
            <a:alpha val="9804"/>
          </a:srgbClr>
        </a:solidFill>
        <a:effectLst/>
      </p:bgPr>
    </p:bg>
    <p:spTree>
      <p:nvGrpSpPr>
        <p:cNvPr id="1" name=""/>
        <p:cNvGrpSpPr/>
        <p:nvPr/>
      </p:nvGrpSpPr>
      <p:grpSpPr>
        <a:xfrm>
          <a:off x="0" y="0"/>
          <a:ext cx="0" cy="0"/>
          <a:chOff x="0" y="0"/>
          <a:chExt cx="0" cy="0"/>
        </a:xfrm>
      </p:grpSpPr>
      <p:sp>
        <p:nvSpPr>
          <p:cNvPr id="8" name="Rectangle">
            <a:extLst>
              <a:ext uri="{FF2B5EF4-FFF2-40B4-BE49-F238E27FC236}">
                <a16:creationId xmlns:a16="http://schemas.microsoft.com/office/drawing/2014/main" id="{CAB7C50D-A92E-F542-A579-D6ACCE3E0F84}"/>
              </a:ext>
            </a:extLst>
          </p:cNvPr>
          <p:cNvSpPr/>
          <p:nvPr userDrawn="1"/>
        </p:nvSpPr>
        <p:spPr>
          <a:xfrm>
            <a:off x="0" y="6037942"/>
            <a:ext cx="12192000" cy="820058"/>
          </a:xfrm>
          <a:prstGeom prst="rect">
            <a:avLst/>
          </a:prstGeom>
          <a:solidFill>
            <a:srgbClr val="5F76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lide Number Placeholder">
            <a:extLst>
              <a:ext uri="{FF2B5EF4-FFF2-40B4-BE49-F238E27FC236}">
                <a16:creationId xmlns:a16="http://schemas.microsoft.com/office/drawing/2014/main" id="{AB8A9106-B24D-064D-974C-C8C4B2C84B82}"/>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14" name="Footer Placeholder">
            <a:extLst>
              <a:ext uri="{FF2B5EF4-FFF2-40B4-BE49-F238E27FC236}">
                <a16:creationId xmlns:a16="http://schemas.microsoft.com/office/drawing/2014/main" id="{EC4B6832-9A04-854F-9075-DF58CE992FA7}"/>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9" name="Title">
            <a:extLst>
              <a:ext uri="{FF2B5EF4-FFF2-40B4-BE49-F238E27FC236}">
                <a16:creationId xmlns:a16="http://schemas.microsoft.com/office/drawing/2014/main" id="{9A618861-ED12-F140-A5C9-21D2D050FB4B}"/>
              </a:ext>
            </a:extLst>
          </p:cNvPr>
          <p:cNvSpPr>
            <a:spLocks noGrp="1"/>
          </p:cNvSpPr>
          <p:nvPr>
            <p:ph type="title" hasCustomPrompt="1"/>
          </p:nvPr>
        </p:nvSpPr>
        <p:spPr>
          <a:xfrm>
            <a:off x="838200" y="642127"/>
            <a:ext cx="10515600" cy="526298"/>
          </a:xfrm>
          <a:prstGeom prst="rect">
            <a:avLst/>
          </a:prstGeom>
        </p:spPr>
        <p:txBody>
          <a:bodyPr wrap="square">
            <a:spAutoFit/>
          </a:bodyPr>
          <a:lstStyle>
            <a:lvl1pPr>
              <a:defRPr sz="3600" baseline="0">
                <a:solidFill>
                  <a:schemeClr val="tx1"/>
                </a:solidFill>
              </a:defRPr>
            </a:lvl1pPr>
          </a:lstStyle>
          <a:p>
            <a:r>
              <a:rPr lang="en-US" dirty="0"/>
              <a:t>Add your heading here</a:t>
            </a:r>
          </a:p>
        </p:txBody>
      </p:sp>
      <p:sp>
        <p:nvSpPr>
          <p:cNvPr id="10" name="Content Placeholder">
            <a:extLst>
              <a:ext uri="{FF2B5EF4-FFF2-40B4-BE49-F238E27FC236}">
                <a16:creationId xmlns:a16="http://schemas.microsoft.com/office/drawing/2014/main" id="{9D898B65-99EC-234F-9F66-E9867F7DFEBA}"/>
              </a:ext>
            </a:extLst>
          </p:cNvPr>
          <p:cNvSpPr>
            <a:spLocks noGrp="1"/>
          </p:cNvSpPr>
          <p:nvPr>
            <p:ph idx="1" hasCustomPrompt="1"/>
          </p:nvPr>
        </p:nvSpPr>
        <p:spPr>
          <a:xfrm>
            <a:off x="838200" y="1424324"/>
            <a:ext cx="10515600" cy="2298001"/>
          </a:xfrm>
          <a:prstGeom prst="rect">
            <a:avLst/>
          </a:prstGeom>
        </p:spPr>
        <p:txBody>
          <a:bodyPr wrap="square" lIns="0" tIns="0" rIns="0" bIns="0" anchor="t" anchorCtr="0">
            <a:spAutoFit/>
          </a:bodyPr>
          <a:lstStyle>
            <a:lvl1pPr>
              <a:lnSpc>
                <a:spcPct val="110000"/>
              </a:lnSpc>
              <a:spcAft>
                <a:spcPts val="500"/>
              </a:spcAft>
              <a:defRPr sz="3200">
                <a:solidFill>
                  <a:schemeClr val="tx1"/>
                </a:solidFill>
              </a:defRPr>
            </a:lvl1pPr>
            <a:lvl2pPr>
              <a:spcAft>
                <a:spcPts val="500"/>
              </a:spcAft>
              <a:defRPr sz="2800">
                <a:solidFill>
                  <a:schemeClr val="tx1"/>
                </a:solidFill>
              </a:defRPr>
            </a:lvl2pPr>
            <a:lvl3pPr>
              <a:spcAft>
                <a:spcPts val="500"/>
              </a:spcAft>
              <a:defRPr sz="2400">
                <a:solidFill>
                  <a:schemeClr val="tx1"/>
                </a:solidFill>
              </a:defRPr>
            </a:lvl3pPr>
            <a:lvl4pPr>
              <a:spcAft>
                <a:spcPts val="500"/>
              </a:spcAft>
              <a:defRPr sz="2000">
                <a:solidFill>
                  <a:schemeClr val="tx1"/>
                </a:solidFill>
              </a:defRPr>
            </a:lvl4pPr>
            <a:lvl5pPr>
              <a:spcAft>
                <a:spcPts val="500"/>
              </a:spcAft>
              <a:defRPr sz="1800">
                <a:solidFill>
                  <a:schemeClr val="tx1"/>
                </a:solidFill>
              </a:defRPr>
            </a:lvl5pPr>
          </a:lstStyle>
          <a:p>
            <a:pPr lvl="0"/>
            <a:r>
              <a:rPr lang="en-US" dirty="0"/>
              <a:t>Single column</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Logo">
            <a:extLst>
              <a:ext uri="{FF2B5EF4-FFF2-40B4-BE49-F238E27FC236}">
                <a16:creationId xmlns:a16="http://schemas.microsoft.com/office/drawing/2014/main" id="{3CBDED6F-0268-CC4F-B011-B3C57742C0B1}"/>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15905896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imple single column 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9" name="Slide Number Placeholder">
            <a:extLst>
              <a:ext uri="{FF2B5EF4-FFF2-40B4-BE49-F238E27FC236}">
                <a16:creationId xmlns:a16="http://schemas.microsoft.com/office/drawing/2014/main" id="{41DF6F2E-6103-7646-B158-3C2256C8207A}"/>
              </a:ext>
            </a:extLst>
          </p:cNvPr>
          <p:cNvSpPr>
            <a:spLocks noGrp="1"/>
          </p:cNvSpPr>
          <p:nvPr>
            <p:ph type="sldNum" sz="quarter" idx="4"/>
          </p:nvPr>
        </p:nvSpPr>
        <p:spPr>
          <a:xfrm>
            <a:off x="4662087" y="6250891"/>
            <a:ext cx="2867826" cy="365125"/>
          </a:xfrm>
          <a:prstGeom prst="rect">
            <a:avLst/>
          </a:prstGeom>
        </p:spPr>
        <p:txBody>
          <a:bodyPr/>
          <a:lstStyle>
            <a:lvl1pPr>
              <a:defRPr sz="2000">
                <a:solidFill>
                  <a:srgbClr val="003C57"/>
                </a:solidFill>
              </a:defRPr>
            </a:lvl1pPr>
          </a:lstStyle>
          <a:p>
            <a:pPr algn="ctr"/>
            <a:fld id="{232417FB-2EF4-EC49-BC13-97513C37E9E5}" type="slidenum">
              <a:rPr lang="en-US" smtClean="0"/>
              <a:pPr algn="ctr"/>
              <a:t>‹#›</a:t>
            </a:fld>
            <a:endParaRPr lang="en-US" dirty="0"/>
          </a:p>
        </p:txBody>
      </p:sp>
      <p:sp>
        <p:nvSpPr>
          <p:cNvPr id="10" name="Footer Placeholder">
            <a:extLst>
              <a:ext uri="{FF2B5EF4-FFF2-40B4-BE49-F238E27FC236}">
                <a16:creationId xmlns:a16="http://schemas.microsoft.com/office/drawing/2014/main" id="{329F9C9E-62CC-2B44-BA02-01ADE0F29C3E}"/>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rgbClr val="003C57"/>
                </a:solidFill>
              </a:defRPr>
            </a:lvl1pPr>
          </a:lstStyle>
          <a:p>
            <a:endParaRPr lang="en-US" dirty="0"/>
          </a:p>
        </p:txBody>
      </p:sp>
      <p:sp>
        <p:nvSpPr>
          <p:cNvPr id="2" name="Title"/>
          <p:cNvSpPr>
            <a:spLocks noGrp="1"/>
          </p:cNvSpPr>
          <p:nvPr>
            <p:ph type="title" hasCustomPrompt="1"/>
          </p:nvPr>
        </p:nvSpPr>
        <p:spPr>
          <a:xfrm>
            <a:off x="838200" y="642127"/>
            <a:ext cx="10515600" cy="526298"/>
          </a:xfrm>
          <a:prstGeom prst="rect">
            <a:avLst/>
          </a:prstGeom>
        </p:spPr>
        <p:txBody>
          <a:bodyPr wrap="square">
            <a:spAutoFit/>
          </a:bodyPr>
          <a:lstStyle>
            <a:lvl1pPr>
              <a:defRPr sz="3600" baseline="0"/>
            </a:lvl1pPr>
          </a:lstStyle>
          <a:p>
            <a:r>
              <a:rPr lang="en-US" dirty="0"/>
              <a:t>Add your heading here</a:t>
            </a:r>
          </a:p>
        </p:txBody>
      </p:sp>
      <p:sp>
        <p:nvSpPr>
          <p:cNvPr id="3" name="Content Placeholder"/>
          <p:cNvSpPr>
            <a:spLocks noGrp="1"/>
          </p:cNvSpPr>
          <p:nvPr>
            <p:ph idx="1" hasCustomPrompt="1"/>
          </p:nvPr>
        </p:nvSpPr>
        <p:spPr>
          <a:xfrm>
            <a:off x="838200" y="1424324"/>
            <a:ext cx="10515600" cy="2298001"/>
          </a:xfrm>
          <a:prstGeom prst="rect">
            <a:avLst/>
          </a:prstGeom>
        </p:spPr>
        <p:txBody>
          <a:bodyPr wrap="square" lIns="0" tIns="0" rIns="0" bIns="0" anchor="t" anchorCtr="0">
            <a:spAutoFit/>
          </a:bodyPr>
          <a:lstStyle>
            <a:lvl1pPr>
              <a:lnSpc>
                <a:spcPct val="110000"/>
              </a:lnSpc>
              <a:spcAft>
                <a:spcPts val="500"/>
              </a:spcAft>
              <a:defRPr sz="3200">
                <a:solidFill>
                  <a:schemeClr val="tx1"/>
                </a:solidFill>
              </a:defRPr>
            </a:lvl1pPr>
            <a:lvl2pPr>
              <a:spcAft>
                <a:spcPts val="500"/>
              </a:spcAft>
              <a:defRPr sz="2800">
                <a:solidFill>
                  <a:schemeClr val="tx1"/>
                </a:solidFill>
              </a:defRPr>
            </a:lvl2pPr>
            <a:lvl3pPr>
              <a:spcAft>
                <a:spcPts val="500"/>
              </a:spcAft>
              <a:defRPr sz="2400">
                <a:solidFill>
                  <a:schemeClr val="tx1"/>
                </a:solidFill>
              </a:defRPr>
            </a:lvl3pPr>
            <a:lvl4pPr>
              <a:spcAft>
                <a:spcPts val="500"/>
              </a:spcAft>
              <a:defRPr sz="2000">
                <a:solidFill>
                  <a:schemeClr val="tx1"/>
                </a:solidFill>
              </a:defRPr>
            </a:lvl4pPr>
            <a:lvl5pPr>
              <a:spcAft>
                <a:spcPts val="500"/>
              </a:spcAft>
              <a:defRPr sz="1800">
                <a:solidFill>
                  <a:schemeClr val="tx1"/>
                </a:solidFill>
              </a:defRPr>
            </a:lvl5pPr>
          </a:lstStyle>
          <a:p>
            <a:pPr lvl="0"/>
            <a:r>
              <a:rPr lang="en-US" dirty="0"/>
              <a:t>Single column</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Line">
            <a:extLst>
              <a:ext uri="{FF2B5EF4-FFF2-40B4-BE49-F238E27FC236}">
                <a16:creationId xmlns:a16="http://schemas.microsoft.com/office/drawing/2014/main" id="{30544EB6-513C-7842-B1EB-1E3E37F1B12C}"/>
              </a:ext>
            </a:extLst>
          </p:cNvPr>
          <p:cNvCxnSpPr>
            <a:cxnSpLocks/>
          </p:cNvCxnSpPr>
          <p:nvPr userDrawn="1"/>
        </p:nvCxnSpPr>
        <p:spPr>
          <a:xfrm>
            <a:off x="822000" y="6055339"/>
            <a:ext cx="10548000" cy="0"/>
          </a:xfrm>
          <a:prstGeom prst="line">
            <a:avLst/>
          </a:prstGeom>
          <a:ln w="12700">
            <a:solidFill>
              <a:srgbClr val="003C57"/>
            </a:solidFill>
          </a:ln>
        </p:spPr>
        <p:style>
          <a:lnRef idx="1">
            <a:schemeClr val="accent1"/>
          </a:lnRef>
          <a:fillRef idx="0">
            <a:schemeClr val="accent1"/>
          </a:fillRef>
          <a:effectRef idx="0">
            <a:schemeClr val="accent1"/>
          </a:effectRef>
          <a:fontRef idx="minor">
            <a:schemeClr val="tx1"/>
          </a:fontRef>
        </p:style>
      </p:cxnSp>
      <p:pic>
        <p:nvPicPr>
          <p:cNvPr id="12" name="Logo" descr="Office for National Statistics Logo">
            <a:extLst>
              <a:ext uri="{FF2B5EF4-FFF2-40B4-BE49-F238E27FC236}">
                <a16:creationId xmlns:a16="http://schemas.microsoft.com/office/drawing/2014/main" id="{20FC3DEC-64C2-E24C-99DA-2AD2A3BFAC4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8200" y="6286250"/>
            <a:ext cx="3331866" cy="288762"/>
          </a:xfrm>
          <a:prstGeom prst="rect">
            <a:avLst/>
          </a:prstGeom>
        </p:spPr>
      </p:pic>
    </p:spTree>
    <p:extLst>
      <p:ext uri="{BB962C8B-B14F-4D97-AF65-F5344CB8AC3E}">
        <p14:creationId xmlns:p14="http://schemas.microsoft.com/office/powerpoint/2010/main" val="391405291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_Single column title and content">
    <p:bg>
      <p:bgPr>
        <a:solidFill>
          <a:srgbClr val="206095">
            <a:alpha val="9804"/>
          </a:srgbClr>
        </a:solidFill>
        <a:effectLst/>
      </p:bgPr>
    </p:bg>
    <p:spTree>
      <p:nvGrpSpPr>
        <p:cNvPr id="1" name=""/>
        <p:cNvGrpSpPr/>
        <p:nvPr/>
      </p:nvGrpSpPr>
      <p:grpSpPr>
        <a:xfrm>
          <a:off x="0" y="0"/>
          <a:ext cx="0" cy="0"/>
          <a:chOff x="0" y="0"/>
          <a:chExt cx="0" cy="0"/>
        </a:xfrm>
      </p:grpSpPr>
      <p:sp>
        <p:nvSpPr>
          <p:cNvPr id="8" name="Rectangle">
            <a:extLst>
              <a:ext uri="{FF2B5EF4-FFF2-40B4-BE49-F238E27FC236}">
                <a16:creationId xmlns:a16="http://schemas.microsoft.com/office/drawing/2014/main" id="{CAB7C50D-A92E-F542-A579-D6ACCE3E0F84}"/>
              </a:ext>
            </a:extLst>
          </p:cNvPr>
          <p:cNvSpPr/>
          <p:nvPr userDrawn="1"/>
        </p:nvSpPr>
        <p:spPr>
          <a:xfrm>
            <a:off x="0" y="6037942"/>
            <a:ext cx="12192000" cy="820058"/>
          </a:xfrm>
          <a:prstGeom prst="rect">
            <a:avLst/>
          </a:prstGeom>
          <a:solidFill>
            <a:srgbClr val="2060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lide Number Placeholder">
            <a:extLst>
              <a:ext uri="{FF2B5EF4-FFF2-40B4-BE49-F238E27FC236}">
                <a16:creationId xmlns:a16="http://schemas.microsoft.com/office/drawing/2014/main" id="{AB8A9106-B24D-064D-974C-C8C4B2C84B82}"/>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14" name="Footer Placeholder">
            <a:extLst>
              <a:ext uri="{FF2B5EF4-FFF2-40B4-BE49-F238E27FC236}">
                <a16:creationId xmlns:a16="http://schemas.microsoft.com/office/drawing/2014/main" id="{EC4B6832-9A04-854F-9075-DF58CE992FA7}"/>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10" name="Title">
            <a:extLst>
              <a:ext uri="{FF2B5EF4-FFF2-40B4-BE49-F238E27FC236}">
                <a16:creationId xmlns:a16="http://schemas.microsoft.com/office/drawing/2014/main" id="{5529D046-3304-C048-A259-4072E1685AD1}"/>
              </a:ext>
            </a:extLst>
          </p:cNvPr>
          <p:cNvSpPr>
            <a:spLocks noGrp="1"/>
          </p:cNvSpPr>
          <p:nvPr>
            <p:ph type="title" hasCustomPrompt="1"/>
          </p:nvPr>
        </p:nvSpPr>
        <p:spPr>
          <a:xfrm>
            <a:off x="838200" y="642127"/>
            <a:ext cx="10515600" cy="526298"/>
          </a:xfrm>
          <a:prstGeom prst="rect">
            <a:avLst/>
          </a:prstGeom>
        </p:spPr>
        <p:txBody>
          <a:bodyPr wrap="square">
            <a:spAutoFit/>
          </a:bodyPr>
          <a:lstStyle>
            <a:lvl1pPr>
              <a:defRPr sz="3600" baseline="0">
                <a:solidFill>
                  <a:schemeClr val="tx1"/>
                </a:solidFill>
              </a:defRPr>
            </a:lvl1pPr>
          </a:lstStyle>
          <a:p>
            <a:r>
              <a:rPr lang="en-US" dirty="0"/>
              <a:t>Add your heading here</a:t>
            </a:r>
          </a:p>
        </p:txBody>
      </p:sp>
      <p:sp>
        <p:nvSpPr>
          <p:cNvPr id="11" name="Content Placeholder">
            <a:extLst>
              <a:ext uri="{FF2B5EF4-FFF2-40B4-BE49-F238E27FC236}">
                <a16:creationId xmlns:a16="http://schemas.microsoft.com/office/drawing/2014/main" id="{CAD29F18-7F8F-834A-916E-5882B73CE807}"/>
              </a:ext>
            </a:extLst>
          </p:cNvPr>
          <p:cNvSpPr>
            <a:spLocks noGrp="1"/>
          </p:cNvSpPr>
          <p:nvPr>
            <p:ph idx="1" hasCustomPrompt="1"/>
          </p:nvPr>
        </p:nvSpPr>
        <p:spPr>
          <a:xfrm>
            <a:off x="838200" y="1424324"/>
            <a:ext cx="10515600" cy="2298001"/>
          </a:xfrm>
          <a:prstGeom prst="rect">
            <a:avLst/>
          </a:prstGeom>
        </p:spPr>
        <p:txBody>
          <a:bodyPr wrap="square" lIns="0" tIns="0" rIns="0" bIns="0" anchor="t" anchorCtr="0">
            <a:spAutoFit/>
          </a:bodyPr>
          <a:lstStyle>
            <a:lvl1pPr>
              <a:lnSpc>
                <a:spcPct val="110000"/>
              </a:lnSpc>
              <a:spcAft>
                <a:spcPts val="500"/>
              </a:spcAft>
              <a:defRPr sz="3200">
                <a:solidFill>
                  <a:schemeClr val="tx1"/>
                </a:solidFill>
              </a:defRPr>
            </a:lvl1pPr>
            <a:lvl2pPr>
              <a:spcAft>
                <a:spcPts val="500"/>
              </a:spcAft>
              <a:defRPr sz="2800">
                <a:solidFill>
                  <a:schemeClr val="tx1"/>
                </a:solidFill>
              </a:defRPr>
            </a:lvl2pPr>
            <a:lvl3pPr>
              <a:spcAft>
                <a:spcPts val="500"/>
              </a:spcAft>
              <a:defRPr sz="2400">
                <a:solidFill>
                  <a:schemeClr val="tx1"/>
                </a:solidFill>
              </a:defRPr>
            </a:lvl3pPr>
            <a:lvl4pPr>
              <a:spcAft>
                <a:spcPts val="500"/>
              </a:spcAft>
              <a:defRPr sz="2000">
                <a:solidFill>
                  <a:schemeClr val="tx1"/>
                </a:solidFill>
              </a:defRPr>
            </a:lvl4pPr>
            <a:lvl5pPr>
              <a:spcAft>
                <a:spcPts val="500"/>
              </a:spcAft>
              <a:defRPr sz="1800">
                <a:solidFill>
                  <a:schemeClr val="tx1"/>
                </a:solidFill>
              </a:defRPr>
            </a:lvl5pPr>
          </a:lstStyle>
          <a:p>
            <a:pPr lvl="0"/>
            <a:r>
              <a:rPr lang="en-US" dirty="0"/>
              <a:t>Single column</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Logo">
            <a:extLst>
              <a:ext uri="{FF2B5EF4-FFF2-40B4-BE49-F238E27FC236}">
                <a16:creationId xmlns:a16="http://schemas.microsoft.com/office/drawing/2014/main" id="{912EC0DD-68B0-1744-A4DF-BD5951A08563}"/>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8490754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_Single column title and content">
    <p:bg>
      <p:bgPr>
        <a:solidFill>
          <a:srgbClr val="3B7A9E">
            <a:alpha val="9804"/>
          </a:srgbClr>
        </a:solidFill>
        <a:effectLst/>
      </p:bgPr>
    </p:bg>
    <p:spTree>
      <p:nvGrpSpPr>
        <p:cNvPr id="1" name=""/>
        <p:cNvGrpSpPr/>
        <p:nvPr/>
      </p:nvGrpSpPr>
      <p:grpSpPr>
        <a:xfrm>
          <a:off x="0" y="0"/>
          <a:ext cx="0" cy="0"/>
          <a:chOff x="0" y="0"/>
          <a:chExt cx="0" cy="0"/>
        </a:xfrm>
      </p:grpSpPr>
      <p:sp>
        <p:nvSpPr>
          <p:cNvPr id="8" name="Rectangle">
            <a:extLst>
              <a:ext uri="{FF2B5EF4-FFF2-40B4-BE49-F238E27FC236}">
                <a16:creationId xmlns:a16="http://schemas.microsoft.com/office/drawing/2014/main" id="{CAB7C50D-A92E-F542-A579-D6ACCE3E0F84}"/>
              </a:ext>
            </a:extLst>
          </p:cNvPr>
          <p:cNvSpPr/>
          <p:nvPr userDrawn="1"/>
        </p:nvSpPr>
        <p:spPr>
          <a:xfrm>
            <a:off x="0" y="6037942"/>
            <a:ext cx="12192000" cy="820058"/>
          </a:xfrm>
          <a:prstGeom prst="rect">
            <a:avLst/>
          </a:prstGeom>
          <a:solidFill>
            <a:srgbClr val="3B7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lide Number Placeholder">
            <a:extLst>
              <a:ext uri="{FF2B5EF4-FFF2-40B4-BE49-F238E27FC236}">
                <a16:creationId xmlns:a16="http://schemas.microsoft.com/office/drawing/2014/main" id="{AB8A9106-B24D-064D-974C-C8C4B2C84B82}"/>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14" name="Footer Placeholder">
            <a:extLst>
              <a:ext uri="{FF2B5EF4-FFF2-40B4-BE49-F238E27FC236}">
                <a16:creationId xmlns:a16="http://schemas.microsoft.com/office/drawing/2014/main" id="{EC4B6832-9A04-854F-9075-DF58CE992FA7}"/>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10" name="Title">
            <a:extLst>
              <a:ext uri="{FF2B5EF4-FFF2-40B4-BE49-F238E27FC236}">
                <a16:creationId xmlns:a16="http://schemas.microsoft.com/office/drawing/2014/main" id="{FAECAAA6-7859-004F-A399-738175A6EBD0}"/>
              </a:ext>
            </a:extLst>
          </p:cNvPr>
          <p:cNvSpPr>
            <a:spLocks noGrp="1"/>
          </p:cNvSpPr>
          <p:nvPr>
            <p:ph type="title" hasCustomPrompt="1"/>
          </p:nvPr>
        </p:nvSpPr>
        <p:spPr>
          <a:xfrm>
            <a:off x="838200" y="642127"/>
            <a:ext cx="10515600" cy="526298"/>
          </a:xfrm>
          <a:prstGeom prst="rect">
            <a:avLst/>
          </a:prstGeom>
        </p:spPr>
        <p:txBody>
          <a:bodyPr wrap="square">
            <a:spAutoFit/>
          </a:bodyPr>
          <a:lstStyle>
            <a:lvl1pPr>
              <a:defRPr sz="3600" baseline="0">
                <a:solidFill>
                  <a:schemeClr val="tx1"/>
                </a:solidFill>
              </a:defRPr>
            </a:lvl1pPr>
          </a:lstStyle>
          <a:p>
            <a:r>
              <a:rPr lang="en-US" dirty="0"/>
              <a:t>Add your heading here</a:t>
            </a:r>
          </a:p>
        </p:txBody>
      </p:sp>
      <p:sp>
        <p:nvSpPr>
          <p:cNvPr id="11" name="Content Placeholder">
            <a:extLst>
              <a:ext uri="{FF2B5EF4-FFF2-40B4-BE49-F238E27FC236}">
                <a16:creationId xmlns:a16="http://schemas.microsoft.com/office/drawing/2014/main" id="{13F0751B-D35C-CC48-8DA0-9DFC3E5F6AB7}"/>
              </a:ext>
            </a:extLst>
          </p:cNvPr>
          <p:cNvSpPr>
            <a:spLocks noGrp="1"/>
          </p:cNvSpPr>
          <p:nvPr>
            <p:ph idx="1" hasCustomPrompt="1"/>
          </p:nvPr>
        </p:nvSpPr>
        <p:spPr>
          <a:xfrm>
            <a:off x="838200" y="1424324"/>
            <a:ext cx="10515600" cy="2298001"/>
          </a:xfrm>
          <a:prstGeom prst="rect">
            <a:avLst/>
          </a:prstGeom>
        </p:spPr>
        <p:txBody>
          <a:bodyPr wrap="square" lIns="0" tIns="0" rIns="0" bIns="0" anchor="t" anchorCtr="0">
            <a:spAutoFit/>
          </a:bodyPr>
          <a:lstStyle>
            <a:lvl1pPr>
              <a:lnSpc>
                <a:spcPct val="110000"/>
              </a:lnSpc>
              <a:spcAft>
                <a:spcPts val="500"/>
              </a:spcAft>
              <a:defRPr sz="3200">
                <a:solidFill>
                  <a:schemeClr val="tx1"/>
                </a:solidFill>
              </a:defRPr>
            </a:lvl1pPr>
            <a:lvl2pPr>
              <a:spcAft>
                <a:spcPts val="500"/>
              </a:spcAft>
              <a:defRPr sz="2800">
                <a:solidFill>
                  <a:schemeClr val="tx1"/>
                </a:solidFill>
              </a:defRPr>
            </a:lvl2pPr>
            <a:lvl3pPr>
              <a:spcAft>
                <a:spcPts val="500"/>
              </a:spcAft>
              <a:defRPr sz="2400">
                <a:solidFill>
                  <a:schemeClr val="tx1"/>
                </a:solidFill>
              </a:defRPr>
            </a:lvl3pPr>
            <a:lvl4pPr>
              <a:spcAft>
                <a:spcPts val="500"/>
              </a:spcAft>
              <a:defRPr sz="2000">
                <a:solidFill>
                  <a:schemeClr val="tx1"/>
                </a:solidFill>
              </a:defRPr>
            </a:lvl4pPr>
            <a:lvl5pPr>
              <a:spcAft>
                <a:spcPts val="500"/>
              </a:spcAft>
              <a:defRPr sz="1800">
                <a:solidFill>
                  <a:schemeClr val="tx1"/>
                </a:solidFill>
              </a:defRPr>
            </a:lvl5pPr>
          </a:lstStyle>
          <a:p>
            <a:pPr lvl="0"/>
            <a:r>
              <a:rPr lang="en-US" dirty="0"/>
              <a:t>Single column</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Logo">
            <a:extLst>
              <a:ext uri="{FF2B5EF4-FFF2-40B4-BE49-F238E27FC236}">
                <a16:creationId xmlns:a16="http://schemas.microsoft.com/office/drawing/2014/main" id="{C40D518B-4026-B84B-AA6D-1697F870D776}"/>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3135405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4_Single column title and content">
    <p:bg>
      <p:bgPr>
        <a:solidFill>
          <a:srgbClr val="27A0CC">
            <a:alpha val="9804"/>
          </a:srgbClr>
        </a:solidFill>
        <a:effectLst/>
      </p:bgPr>
    </p:bg>
    <p:spTree>
      <p:nvGrpSpPr>
        <p:cNvPr id="1" name=""/>
        <p:cNvGrpSpPr/>
        <p:nvPr/>
      </p:nvGrpSpPr>
      <p:grpSpPr>
        <a:xfrm>
          <a:off x="0" y="0"/>
          <a:ext cx="0" cy="0"/>
          <a:chOff x="0" y="0"/>
          <a:chExt cx="0" cy="0"/>
        </a:xfrm>
      </p:grpSpPr>
      <p:sp>
        <p:nvSpPr>
          <p:cNvPr id="8" name="Rectangle">
            <a:extLst>
              <a:ext uri="{FF2B5EF4-FFF2-40B4-BE49-F238E27FC236}">
                <a16:creationId xmlns:a16="http://schemas.microsoft.com/office/drawing/2014/main" id="{CAB7C50D-A92E-F542-A579-D6ACCE3E0F84}"/>
              </a:ext>
            </a:extLst>
          </p:cNvPr>
          <p:cNvSpPr/>
          <p:nvPr userDrawn="1"/>
        </p:nvSpPr>
        <p:spPr>
          <a:xfrm>
            <a:off x="0" y="6037942"/>
            <a:ext cx="12192000" cy="820058"/>
          </a:xfrm>
          <a:prstGeom prst="rect">
            <a:avLst/>
          </a:prstGeom>
          <a:solidFill>
            <a:srgbClr val="27A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lide Number Placeholder">
            <a:extLst>
              <a:ext uri="{FF2B5EF4-FFF2-40B4-BE49-F238E27FC236}">
                <a16:creationId xmlns:a16="http://schemas.microsoft.com/office/drawing/2014/main" id="{AB8A9106-B24D-064D-974C-C8C4B2C84B82}"/>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14" name="Footer Placeholder">
            <a:extLst>
              <a:ext uri="{FF2B5EF4-FFF2-40B4-BE49-F238E27FC236}">
                <a16:creationId xmlns:a16="http://schemas.microsoft.com/office/drawing/2014/main" id="{EC4B6832-9A04-854F-9075-DF58CE992FA7}"/>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10" name="Title">
            <a:extLst>
              <a:ext uri="{FF2B5EF4-FFF2-40B4-BE49-F238E27FC236}">
                <a16:creationId xmlns:a16="http://schemas.microsoft.com/office/drawing/2014/main" id="{F86CEC68-96A8-9942-B57F-300C064ECCC8}"/>
              </a:ext>
            </a:extLst>
          </p:cNvPr>
          <p:cNvSpPr>
            <a:spLocks noGrp="1"/>
          </p:cNvSpPr>
          <p:nvPr>
            <p:ph type="title" hasCustomPrompt="1"/>
          </p:nvPr>
        </p:nvSpPr>
        <p:spPr>
          <a:xfrm>
            <a:off x="838200" y="642127"/>
            <a:ext cx="10515600" cy="526298"/>
          </a:xfrm>
          <a:prstGeom prst="rect">
            <a:avLst/>
          </a:prstGeom>
        </p:spPr>
        <p:txBody>
          <a:bodyPr wrap="square">
            <a:spAutoFit/>
          </a:bodyPr>
          <a:lstStyle>
            <a:lvl1pPr>
              <a:defRPr sz="3600" baseline="0"/>
            </a:lvl1pPr>
          </a:lstStyle>
          <a:p>
            <a:r>
              <a:rPr lang="en-US" dirty="0"/>
              <a:t>Add your heading here</a:t>
            </a:r>
          </a:p>
        </p:txBody>
      </p:sp>
      <p:sp>
        <p:nvSpPr>
          <p:cNvPr id="11" name="Content Placeholder">
            <a:extLst>
              <a:ext uri="{FF2B5EF4-FFF2-40B4-BE49-F238E27FC236}">
                <a16:creationId xmlns:a16="http://schemas.microsoft.com/office/drawing/2014/main" id="{485AD947-1A1D-1741-9924-A4BD848EB59D}"/>
              </a:ext>
            </a:extLst>
          </p:cNvPr>
          <p:cNvSpPr>
            <a:spLocks noGrp="1"/>
          </p:cNvSpPr>
          <p:nvPr>
            <p:ph idx="1" hasCustomPrompt="1"/>
          </p:nvPr>
        </p:nvSpPr>
        <p:spPr>
          <a:xfrm>
            <a:off x="838200" y="1424324"/>
            <a:ext cx="10515600" cy="2298001"/>
          </a:xfrm>
          <a:prstGeom prst="rect">
            <a:avLst/>
          </a:prstGeom>
        </p:spPr>
        <p:txBody>
          <a:bodyPr wrap="square" lIns="0" tIns="0" rIns="0" bIns="0" anchor="t" anchorCtr="0">
            <a:spAutoFit/>
          </a:bodyPr>
          <a:lstStyle>
            <a:lvl1pPr>
              <a:lnSpc>
                <a:spcPct val="110000"/>
              </a:lnSpc>
              <a:spcAft>
                <a:spcPts val="500"/>
              </a:spcAft>
              <a:defRPr sz="3200">
                <a:solidFill>
                  <a:schemeClr val="tx1"/>
                </a:solidFill>
              </a:defRPr>
            </a:lvl1pPr>
            <a:lvl2pPr>
              <a:spcAft>
                <a:spcPts val="500"/>
              </a:spcAft>
              <a:defRPr sz="2800">
                <a:solidFill>
                  <a:schemeClr val="tx1"/>
                </a:solidFill>
              </a:defRPr>
            </a:lvl2pPr>
            <a:lvl3pPr>
              <a:spcAft>
                <a:spcPts val="500"/>
              </a:spcAft>
              <a:defRPr sz="2400">
                <a:solidFill>
                  <a:schemeClr val="tx1"/>
                </a:solidFill>
              </a:defRPr>
            </a:lvl3pPr>
            <a:lvl4pPr>
              <a:spcAft>
                <a:spcPts val="500"/>
              </a:spcAft>
              <a:defRPr sz="2000">
                <a:solidFill>
                  <a:schemeClr val="tx1"/>
                </a:solidFill>
              </a:defRPr>
            </a:lvl4pPr>
            <a:lvl5pPr>
              <a:spcAft>
                <a:spcPts val="500"/>
              </a:spcAft>
              <a:defRPr sz="1800">
                <a:solidFill>
                  <a:schemeClr val="tx1"/>
                </a:solidFill>
              </a:defRPr>
            </a:lvl5pPr>
          </a:lstStyle>
          <a:p>
            <a:pPr lvl="0"/>
            <a:r>
              <a:rPr lang="en-US" dirty="0"/>
              <a:t>Single column</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Logo">
            <a:extLst>
              <a:ext uri="{FF2B5EF4-FFF2-40B4-BE49-F238E27FC236}">
                <a16:creationId xmlns:a16="http://schemas.microsoft.com/office/drawing/2014/main" id="{8236D947-19CF-8540-A6C7-7A66A51E3161}"/>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36864944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5_Single column title and content">
    <p:bg>
      <p:bgPr>
        <a:solidFill>
          <a:srgbClr val="00A5A1">
            <a:alpha val="9804"/>
          </a:srgbClr>
        </a:solidFill>
        <a:effectLst/>
      </p:bgPr>
    </p:bg>
    <p:spTree>
      <p:nvGrpSpPr>
        <p:cNvPr id="1" name=""/>
        <p:cNvGrpSpPr/>
        <p:nvPr/>
      </p:nvGrpSpPr>
      <p:grpSpPr>
        <a:xfrm>
          <a:off x="0" y="0"/>
          <a:ext cx="0" cy="0"/>
          <a:chOff x="0" y="0"/>
          <a:chExt cx="0" cy="0"/>
        </a:xfrm>
      </p:grpSpPr>
      <p:sp>
        <p:nvSpPr>
          <p:cNvPr id="8" name="Rectangle">
            <a:extLst>
              <a:ext uri="{FF2B5EF4-FFF2-40B4-BE49-F238E27FC236}">
                <a16:creationId xmlns:a16="http://schemas.microsoft.com/office/drawing/2014/main" id="{CAB7C50D-A92E-F542-A579-D6ACCE3E0F84}"/>
              </a:ext>
            </a:extLst>
          </p:cNvPr>
          <p:cNvSpPr/>
          <p:nvPr userDrawn="1"/>
        </p:nvSpPr>
        <p:spPr>
          <a:xfrm>
            <a:off x="0" y="6037942"/>
            <a:ext cx="12192000" cy="820058"/>
          </a:xfrm>
          <a:prstGeom prst="rect">
            <a:avLst/>
          </a:prstGeom>
          <a:solidFill>
            <a:srgbClr val="00A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lide Number Placeholder">
            <a:extLst>
              <a:ext uri="{FF2B5EF4-FFF2-40B4-BE49-F238E27FC236}">
                <a16:creationId xmlns:a16="http://schemas.microsoft.com/office/drawing/2014/main" id="{AB8A9106-B24D-064D-974C-C8C4B2C84B82}"/>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14" name="Footer Placeholder">
            <a:extLst>
              <a:ext uri="{FF2B5EF4-FFF2-40B4-BE49-F238E27FC236}">
                <a16:creationId xmlns:a16="http://schemas.microsoft.com/office/drawing/2014/main" id="{EC4B6832-9A04-854F-9075-DF58CE992FA7}"/>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10" name="Title">
            <a:extLst>
              <a:ext uri="{FF2B5EF4-FFF2-40B4-BE49-F238E27FC236}">
                <a16:creationId xmlns:a16="http://schemas.microsoft.com/office/drawing/2014/main" id="{7A6A5411-4B32-A447-B310-C2C6DEF3EE65}"/>
              </a:ext>
            </a:extLst>
          </p:cNvPr>
          <p:cNvSpPr>
            <a:spLocks noGrp="1"/>
          </p:cNvSpPr>
          <p:nvPr>
            <p:ph type="title" hasCustomPrompt="1"/>
          </p:nvPr>
        </p:nvSpPr>
        <p:spPr>
          <a:xfrm>
            <a:off x="838200" y="642127"/>
            <a:ext cx="10515600" cy="526298"/>
          </a:xfrm>
          <a:prstGeom prst="rect">
            <a:avLst/>
          </a:prstGeom>
        </p:spPr>
        <p:txBody>
          <a:bodyPr wrap="square">
            <a:spAutoFit/>
          </a:bodyPr>
          <a:lstStyle>
            <a:lvl1pPr>
              <a:defRPr sz="3600" baseline="0"/>
            </a:lvl1pPr>
          </a:lstStyle>
          <a:p>
            <a:r>
              <a:rPr lang="en-US" dirty="0"/>
              <a:t>Add your heading here</a:t>
            </a:r>
          </a:p>
        </p:txBody>
      </p:sp>
      <p:sp>
        <p:nvSpPr>
          <p:cNvPr id="11" name="Content Placeholder">
            <a:extLst>
              <a:ext uri="{FF2B5EF4-FFF2-40B4-BE49-F238E27FC236}">
                <a16:creationId xmlns:a16="http://schemas.microsoft.com/office/drawing/2014/main" id="{88E8BBDB-1795-B444-8235-9D3393CF9EE8}"/>
              </a:ext>
            </a:extLst>
          </p:cNvPr>
          <p:cNvSpPr>
            <a:spLocks noGrp="1"/>
          </p:cNvSpPr>
          <p:nvPr>
            <p:ph idx="1" hasCustomPrompt="1"/>
          </p:nvPr>
        </p:nvSpPr>
        <p:spPr>
          <a:xfrm>
            <a:off x="838200" y="1424324"/>
            <a:ext cx="10515600" cy="2298001"/>
          </a:xfrm>
          <a:prstGeom prst="rect">
            <a:avLst/>
          </a:prstGeom>
        </p:spPr>
        <p:txBody>
          <a:bodyPr wrap="square" lIns="0" tIns="0" rIns="0" bIns="0" anchor="t" anchorCtr="0">
            <a:spAutoFit/>
          </a:bodyPr>
          <a:lstStyle>
            <a:lvl1pPr>
              <a:lnSpc>
                <a:spcPct val="110000"/>
              </a:lnSpc>
              <a:spcAft>
                <a:spcPts val="500"/>
              </a:spcAft>
              <a:defRPr sz="3200">
                <a:solidFill>
                  <a:schemeClr val="tx1"/>
                </a:solidFill>
              </a:defRPr>
            </a:lvl1pPr>
            <a:lvl2pPr>
              <a:spcAft>
                <a:spcPts val="500"/>
              </a:spcAft>
              <a:defRPr sz="2800">
                <a:solidFill>
                  <a:schemeClr val="tx1"/>
                </a:solidFill>
              </a:defRPr>
            </a:lvl2pPr>
            <a:lvl3pPr>
              <a:spcAft>
                <a:spcPts val="500"/>
              </a:spcAft>
              <a:defRPr sz="2400">
                <a:solidFill>
                  <a:schemeClr val="tx1"/>
                </a:solidFill>
              </a:defRPr>
            </a:lvl3pPr>
            <a:lvl4pPr>
              <a:spcAft>
                <a:spcPts val="500"/>
              </a:spcAft>
              <a:defRPr sz="2000">
                <a:solidFill>
                  <a:schemeClr val="tx1"/>
                </a:solidFill>
              </a:defRPr>
            </a:lvl4pPr>
            <a:lvl5pPr>
              <a:spcAft>
                <a:spcPts val="500"/>
              </a:spcAft>
              <a:defRPr sz="1800">
                <a:solidFill>
                  <a:schemeClr val="tx1"/>
                </a:solidFill>
              </a:defRPr>
            </a:lvl5pPr>
          </a:lstStyle>
          <a:p>
            <a:pPr lvl="0"/>
            <a:r>
              <a:rPr lang="en-US" dirty="0"/>
              <a:t>Single column</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Logo">
            <a:extLst>
              <a:ext uri="{FF2B5EF4-FFF2-40B4-BE49-F238E27FC236}">
                <a16:creationId xmlns:a16="http://schemas.microsoft.com/office/drawing/2014/main" id="{A9F85FF1-DAC1-9E46-A469-A4FB3108DEE3}"/>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23565376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6_Single column title and content">
    <p:bg>
      <p:bgPr>
        <a:solidFill>
          <a:srgbClr val="008080">
            <a:alpha val="9804"/>
          </a:srgbClr>
        </a:solidFill>
        <a:effectLst/>
      </p:bgPr>
    </p:bg>
    <p:spTree>
      <p:nvGrpSpPr>
        <p:cNvPr id="1" name=""/>
        <p:cNvGrpSpPr/>
        <p:nvPr/>
      </p:nvGrpSpPr>
      <p:grpSpPr>
        <a:xfrm>
          <a:off x="0" y="0"/>
          <a:ext cx="0" cy="0"/>
          <a:chOff x="0" y="0"/>
          <a:chExt cx="0" cy="0"/>
        </a:xfrm>
      </p:grpSpPr>
      <p:sp>
        <p:nvSpPr>
          <p:cNvPr id="8" name="Rectangle">
            <a:extLst>
              <a:ext uri="{FF2B5EF4-FFF2-40B4-BE49-F238E27FC236}">
                <a16:creationId xmlns:a16="http://schemas.microsoft.com/office/drawing/2014/main" id="{CAB7C50D-A92E-F542-A579-D6ACCE3E0F84}"/>
              </a:ext>
            </a:extLst>
          </p:cNvPr>
          <p:cNvSpPr/>
          <p:nvPr userDrawn="1"/>
        </p:nvSpPr>
        <p:spPr>
          <a:xfrm>
            <a:off x="0" y="6037942"/>
            <a:ext cx="12192000" cy="820058"/>
          </a:xfrm>
          <a:prstGeom prst="rect">
            <a:avLst/>
          </a:prstGeom>
          <a:solidFill>
            <a:srgbClr val="0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lide Number Placeholder">
            <a:extLst>
              <a:ext uri="{FF2B5EF4-FFF2-40B4-BE49-F238E27FC236}">
                <a16:creationId xmlns:a16="http://schemas.microsoft.com/office/drawing/2014/main" id="{AB8A9106-B24D-064D-974C-C8C4B2C84B82}"/>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14" name="Footer Placeholder">
            <a:extLst>
              <a:ext uri="{FF2B5EF4-FFF2-40B4-BE49-F238E27FC236}">
                <a16:creationId xmlns:a16="http://schemas.microsoft.com/office/drawing/2014/main" id="{EC4B6832-9A04-854F-9075-DF58CE992FA7}"/>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9" name="Title">
            <a:extLst>
              <a:ext uri="{FF2B5EF4-FFF2-40B4-BE49-F238E27FC236}">
                <a16:creationId xmlns:a16="http://schemas.microsoft.com/office/drawing/2014/main" id="{2ABAF583-29A6-2E47-8107-77BF62EAA799}"/>
              </a:ext>
            </a:extLst>
          </p:cNvPr>
          <p:cNvSpPr>
            <a:spLocks noGrp="1"/>
          </p:cNvSpPr>
          <p:nvPr>
            <p:ph type="title" hasCustomPrompt="1"/>
          </p:nvPr>
        </p:nvSpPr>
        <p:spPr>
          <a:xfrm>
            <a:off x="838200" y="642127"/>
            <a:ext cx="10515600" cy="526298"/>
          </a:xfrm>
          <a:prstGeom prst="rect">
            <a:avLst/>
          </a:prstGeom>
        </p:spPr>
        <p:txBody>
          <a:bodyPr wrap="square">
            <a:spAutoFit/>
          </a:bodyPr>
          <a:lstStyle>
            <a:lvl1pPr>
              <a:defRPr sz="3600" baseline="0"/>
            </a:lvl1pPr>
          </a:lstStyle>
          <a:p>
            <a:r>
              <a:rPr lang="en-US" dirty="0"/>
              <a:t>Add your heading here</a:t>
            </a:r>
          </a:p>
        </p:txBody>
      </p:sp>
      <p:sp>
        <p:nvSpPr>
          <p:cNvPr id="11" name="Content Placeholder">
            <a:extLst>
              <a:ext uri="{FF2B5EF4-FFF2-40B4-BE49-F238E27FC236}">
                <a16:creationId xmlns:a16="http://schemas.microsoft.com/office/drawing/2014/main" id="{84E6AC44-311B-3642-9476-91E530FC2417}"/>
              </a:ext>
            </a:extLst>
          </p:cNvPr>
          <p:cNvSpPr>
            <a:spLocks noGrp="1"/>
          </p:cNvSpPr>
          <p:nvPr>
            <p:ph idx="1" hasCustomPrompt="1"/>
          </p:nvPr>
        </p:nvSpPr>
        <p:spPr>
          <a:xfrm>
            <a:off x="838200" y="1424324"/>
            <a:ext cx="10515600" cy="2298001"/>
          </a:xfrm>
          <a:prstGeom prst="rect">
            <a:avLst/>
          </a:prstGeom>
        </p:spPr>
        <p:txBody>
          <a:bodyPr wrap="square" lIns="0" tIns="0" rIns="0" bIns="0" anchor="t" anchorCtr="0">
            <a:spAutoFit/>
          </a:bodyPr>
          <a:lstStyle>
            <a:lvl1pPr>
              <a:lnSpc>
                <a:spcPct val="110000"/>
              </a:lnSpc>
              <a:spcAft>
                <a:spcPts val="500"/>
              </a:spcAft>
              <a:defRPr sz="3200">
                <a:solidFill>
                  <a:schemeClr val="tx1"/>
                </a:solidFill>
              </a:defRPr>
            </a:lvl1pPr>
            <a:lvl2pPr>
              <a:spcAft>
                <a:spcPts val="500"/>
              </a:spcAft>
              <a:defRPr sz="2800">
                <a:solidFill>
                  <a:schemeClr val="tx2"/>
                </a:solidFill>
              </a:defRPr>
            </a:lvl2pPr>
            <a:lvl3pPr>
              <a:spcAft>
                <a:spcPts val="500"/>
              </a:spcAft>
              <a:defRPr sz="2400">
                <a:solidFill>
                  <a:schemeClr val="tx2"/>
                </a:solidFill>
              </a:defRPr>
            </a:lvl3pPr>
            <a:lvl4pPr>
              <a:spcAft>
                <a:spcPts val="500"/>
              </a:spcAft>
              <a:defRPr sz="2000">
                <a:solidFill>
                  <a:schemeClr val="tx2"/>
                </a:solidFill>
              </a:defRPr>
            </a:lvl4pPr>
            <a:lvl5pPr>
              <a:spcAft>
                <a:spcPts val="500"/>
              </a:spcAft>
              <a:defRPr sz="1800">
                <a:solidFill>
                  <a:schemeClr val="tx2"/>
                </a:solidFill>
              </a:defRPr>
            </a:lvl5pPr>
          </a:lstStyle>
          <a:p>
            <a:pPr lvl="0"/>
            <a:r>
              <a:rPr lang="en-US" dirty="0"/>
              <a:t>Single column</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Logo">
            <a:extLst>
              <a:ext uri="{FF2B5EF4-FFF2-40B4-BE49-F238E27FC236}">
                <a16:creationId xmlns:a16="http://schemas.microsoft.com/office/drawing/2014/main" id="{81051DAF-865D-C24C-A7D1-F9539C5AEDA7}"/>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23221624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7_Single column title and content">
    <p:bg>
      <p:bgPr>
        <a:solidFill>
          <a:srgbClr val="0F8243">
            <a:alpha val="9804"/>
          </a:srgbClr>
        </a:solidFill>
        <a:effectLst/>
      </p:bgPr>
    </p:bg>
    <p:spTree>
      <p:nvGrpSpPr>
        <p:cNvPr id="1" name=""/>
        <p:cNvGrpSpPr/>
        <p:nvPr/>
      </p:nvGrpSpPr>
      <p:grpSpPr>
        <a:xfrm>
          <a:off x="0" y="0"/>
          <a:ext cx="0" cy="0"/>
          <a:chOff x="0" y="0"/>
          <a:chExt cx="0" cy="0"/>
        </a:xfrm>
      </p:grpSpPr>
      <p:sp>
        <p:nvSpPr>
          <p:cNvPr id="8" name="Rectangle">
            <a:extLst>
              <a:ext uri="{FF2B5EF4-FFF2-40B4-BE49-F238E27FC236}">
                <a16:creationId xmlns:a16="http://schemas.microsoft.com/office/drawing/2014/main" id="{CAB7C50D-A92E-F542-A579-D6ACCE3E0F84}"/>
              </a:ext>
            </a:extLst>
          </p:cNvPr>
          <p:cNvSpPr/>
          <p:nvPr userDrawn="1"/>
        </p:nvSpPr>
        <p:spPr>
          <a:xfrm>
            <a:off x="0" y="6037942"/>
            <a:ext cx="12192000" cy="820058"/>
          </a:xfrm>
          <a:prstGeom prst="rect">
            <a:avLst/>
          </a:prstGeom>
          <a:solidFill>
            <a:srgbClr val="0F82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lide Number Placeholder">
            <a:extLst>
              <a:ext uri="{FF2B5EF4-FFF2-40B4-BE49-F238E27FC236}">
                <a16:creationId xmlns:a16="http://schemas.microsoft.com/office/drawing/2014/main" id="{AB8A9106-B24D-064D-974C-C8C4B2C84B82}"/>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14" name="Footer Placeholder">
            <a:extLst>
              <a:ext uri="{FF2B5EF4-FFF2-40B4-BE49-F238E27FC236}">
                <a16:creationId xmlns:a16="http://schemas.microsoft.com/office/drawing/2014/main" id="{EC4B6832-9A04-854F-9075-DF58CE992FA7}"/>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10" name="Title">
            <a:extLst>
              <a:ext uri="{FF2B5EF4-FFF2-40B4-BE49-F238E27FC236}">
                <a16:creationId xmlns:a16="http://schemas.microsoft.com/office/drawing/2014/main" id="{8D2D9665-1930-354D-807D-4411F3CF0D26}"/>
              </a:ext>
            </a:extLst>
          </p:cNvPr>
          <p:cNvSpPr>
            <a:spLocks noGrp="1"/>
          </p:cNvSpPr>
          <p:nvPr>
            <p:ph type="title" hasCustomPrompt="1"/>
          </p:nvPr>
        </p:nvSpPr>
        <p:spPr>
          <a:xfrm>
            <a:off x="838200" y="642127"/>
            <a:ext cx="10515600" cy="526298"/>
          </a:xfrm>
          <a:prstGeom prst="rect">
            <a:avLst/>
          </a:prstGeom>
        </p:spPr>
        <p:txBody>
          <a:bodyPr wrap="square">
            <a:spAutoFit/>
          </a:bodyPr>
          <a:lstStyle>
            <a:lvl1pPr>
              <a:defRPr sz="3600" baseline="0"/>
            </a:lvl1pPr>
          </a:lstStyle>
          <a:p>
            <a:r>
              <a:rPr lang="en-US" dirty="0"/>
              <a:t>Add your heading here</a:t>
            </a:r>
          </a:p>
        </p:txBody>
      </p:sp>
      <p:sp>
        <p:nvSpPr>
          <p:cNvPr id="11" name="Content Placeholder">
            <a:extLst>
              <a:ext uri="{FF2B5EF4-FFF2-40B4-BE49-F238E27FC236}">
                <a16:creationId xmlns:a16="http://schemas.microsoft.com/office/drawing/2014/main" id="{E3E75594-49FF-B84B-8C8B-F49C4E118CD9}"/>
              </a:ext>
            </a:extLst>
          </p:cNvPr>
          <p:cNvSpPr>
            <a:spLocks noGrp="1"/>
          </p:cNvSpPr>
          <p:nvPr>
            <p:ph idx="1" hasCustomPrompt="1"/>
          </p:nvPr>
        </p:nvSpPr>
        <p:spPr>
          <a:xfrm>
            <a:off x="838200" y="1424324"/>
            <a:ext cx="10515600" cy="2298001"/>
          </a:xfrm>
          <a:prstGeom prst="rect">
            <a:avLst/>
          </a:prstGeom>
        </p:spPr>
        <p:txBody>
          <a:bodyPr wrap="square" lIns="0" tIns="0" rIns="0" bIns="0" anchor="t" anchorCtr="0">
            <a:spAutoFit/>
          </a:bodyPr>
          <a:lstStyle>
            <a:lvl1pPr>
              <a:lnSpc>
                <a:spcPct val="110000"/>
              </a:lnSpc>
              <a:spcAft>
                <a:spcPts val="500"/>
              </a:spcAft>
              <a:defRPr sz="3200">
                <a:solidFill>
                  <a:schemeClr val="tx1"/>
                </a:solidFill>
              </a:defRPr>
            </a:lvl1pPr>
            <a:lvl2pPr>
              <a:spcAft>
                <a:spcPts val="500"/>
              </a:spcAft>
              <a:defRPr sz="2800">
                <a:solidFill>
                  <a:schemeClr val="tx1"/>
                </a:solidFill>
              </a:defRPr>
            </a:lvl2pPr>
            <a:lvl3pPr>
              <a:spcAft>
                <a:spcPts val="500"/>
              </a:spcAft>
              <a:defRPr sz="2400">
                <a:solidFill>
                  <a:schemeClr val="tx1"/>
                </a:solidFill>
              </a:defRPr>
            </a:lvl3pPr>
            <a:lvl4pPr>
              <a:spcAft>
                <a:spcPts val="500"/>
              </a:spcAft>
              <a:defRPr sz="2000">
                <a:solidFill>
                  <a:schemeClr val="tx1"/>
                </a:solidFill>
              </a:defRPr>
            </a:lvl4pPr>
            <a:lvl5pPr>
              <a:spcAft>
                <a:spcPts val="500"/>
              </a:spcAft>
              <a:defRPr sz="1800">
                <a:solidFill>
                  <a:schemeClr val="tx1"/>
                </a:solidFill>
              </a:defRPr>
            </a:lvl5pPr>
          </a:lstStyle>
          <a:p>
            <a:pPr lvl="0"/>
            <a:r>
              <a:rPr lang="en-US" dirty="0"/>
              <a:t>Single column</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Logo">
            <a:extLst>
              <a:ext uri="{FF2B5EF4-FFF2-40B4-BE49-F238E27FC236}">
                <a16:creationId xmlns:a16="http://schemas.microsoft.com/office/drawing/2014/main" id="{7923EDDD-EE2F-1549-A872-E6EA6BC9C05E}"/>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21453996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8_Single column title and content">
    <p:bg>
      <p:bgPr>
        <a:solidFill>
          <a:srgbClr val="B8860B">
            <a:alpha val="9804"/>
          </a:srgbClr>
        </a:solidFill>
        <a:effectLst/>
      </p:bgPr>
    </p:bg>
    <p:spTree>
      <p:nvGrpSpPr>
        <p:cNvPr id="1" name=""/>
        <p:cNvGrpSpPr/>
        <p:nvPr/>
      </p:nvGrpSpPr>
      <p:grpSpPr>
        <a:xfrm>
          <a:off x="0" y="0"/>
          <a:ext cx="0" cy="0"/>
          <a:chOff x="0" y="0"/>
          <a:chExt cx="0" cy="0"/>
        </a:xfrm>
      </p:grpSpPr>
      <p:sp>
        <p:nvSpPr>
          <p:cNvPr id="8" name="Rectangle">
            <a:extLst>
              <a:ext uri="{FF2B5EF4-FFF2-40B4-BE49-F238E27FC236}">
                <a16:creationId xmlns:a16="http://schemas.microsoft.com/office/drawing/2014/main" id="{CAB7C50D-A92E-F542-A579-D6ACCE3E0F84}"/>
              </a:ext>
            </a:extLst>
          </p:cNvPr>
          <p:cNvSpPr/>
          <p:nvPr userDrawn="1"/>
        </p:nvSpPr>
        <p:spPr>
          <a:xfrm>
            <a:off x="0" y="6037942"/>
            <a:ext cx="12192000" cy="820058"/>
          </a:xfrm>
          <a:prstGeom prst="rect">
            <a:avLst/>
          </a:prstGeom>
          <a:solidFill>
            <a:srgbClr val="B886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lide Number Placeholder">
            <a:extLst>
              <a:ext uri="{FF2B5EF4-FFF2-40B4-BE49-F238E27FC236}">
                <a16:creationId xmlns:a16="http://schemas.microsoft.com/office/drawing/2014/main" id="{AB8A9106-B24D-064D-974C-C8C4B2C84B82}"/>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14" name="Footer Placeholder">
            <a:extLst>
              <a:ext uri="{FF2B5EF4-FFF2-40B4-BE49-F238E27FC236}">
                <a16:creationId xmlns:a16="http://schemas.microsoft.com/office/drawing/2014/main" id="{EC4B6832-9A04-854F-9075-DF58CE992FA7}"/>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10" name="Title">
            <a:extLst>
              <a:ext uri="{FF2B5EF4-FFF2-40B4-BE49-F238E27FC236}">
                <a16:creationId xmlns:a16="http://schemas.microsoft.com/office/drawing/2014/main" id="{D41039E6-3AF9-BE4A-A89B-1CD27539900B}"/>
              </a:ext>
            </a:extLst>
          </p:cNvPr>
          <p:cNvSpPr>
            <a:spLocks noGrp="1"/>
          </p:cNvSpPr>
          <p:nvPr>
            <p:ph type="title" hasCustomPrompt="1"/>
          </p:nvPr>
        </p:nvSpPr>
        <p:spPr>
          <a:xfrm>
            <a:off x="838200" y="642127"/>
            <a:ext cx="10515600" cy="526298"/>
          </a:xfrm>
          <a:prstGeom prst="rect">
            <a:avLst/>
          </a:prstGeom>
        </p:spPr>
        <p:txBody>
          <a:bodyPr wrap="square">
            <a:spAutoFit/>
          </a:bodyPr>
          <a:lstStyle>
            <a:lvl1pPr>
              <a:defRPr sz="3600" baseline="0"/>
            </a:lvl1pPr>
          </a:lstStyle>
          <a:p>
            <a:r>
              <a:rPr lang="en-US" dirty="0"/>
              <a:t>Add your heading here</a:t>
            </a:r>
          </a:p>
        </p:txBody>
      </p:sp>
      <p:sp>
        <p:nvSpPr>
          <p:cNvPr id="11" name="Content Placeholder">
            <a:extLst>
              <a:ext uri="{FF2B5EF4-FFF2-40B4-BE49-F238E27FC236}">
                <a16:creationId xmlns:a16="http://schemas.microsoft.com/office/drawing/2014/main" id="{FA352F9E-6205-3C41-8AFD-A15A3ED46E19}"/>
              </a:ext>
            </a:extLst>
          </p:cNvPr>
          <p:cNvSpPr>
            <a:spLocks noGrp="1"/>
          </p:cNvSpPr>
          <p:nvPr>
            <p:ph idx="1" hasCustomPrompt="1"/>
          </p:nvPr>
        </p:nvSpPr>
        <p:spPr>
          <a:xfrm>
            <a:off x="838200" y="1424324"/>
            <a:ext cx="10515600" cy="2298001"/>
          </a:xfrm>
          <a:prstGeom prst="rect">
            <a:avLst/>
          </a:prstGeom>
        </p:spPr>
        <p:txBody>
          <a:bodyPr wrap="square" lIns="0" tIns="0" rIns="0" bIns="0" anchor="t" anchorCtr="0">
            <a:spAutoFit/>
          </a:bodyPr>
          <a:lstStyle>
            <a:lvl1pPr>
              <a:lnSpc>
                <a:spcPct val="110000"/>
              </a:lnSpc>
              <a:spcAft>
                <a:spcPts val="500"/>
              </a:spcAft>
              <a:defRPr sz="3200">
                <a:solidFill>
                  <a:schemeClr val="tx1"/>
                </a:solidFill>
              </a:defRPr>
            </a:lvl1pPr>
            <a:lvl2pPr>
              <a:spcAft>
                <a:spcPts val="500"/>
              </a:spcAft>
              <a:defRPr sz="2800">
                <a:solidFill>
                  <a:schemeClr val="tx1"/>
                </a:solidFill>
              </a:defRPr>
            </a:lvl2pPr>
            <a:lvl3pPr>
              <a:spcAft>
                <a:spcPts val="500"/>
              </a:spcAft>
              <a:defRPr sz="2400">
                <a:solidFill>
                  <a:schemeClr val="tx1"/>
                </a:solidFill>
              </a:defRPr>
            </a:lvl3pPr>
            <a:lvl4pPr>
              <a:spcAft>
                <a:spcPts val="500"/>
              </a:spcAft>
              <a:defRPr sz="2000">
                <a:solidFill>
                  <a:schemeClr val="tx1"/>
                </a:solidFill>
              </a:defRPr>
            </a:lvl4pPr>
            <a:lvl5pPr>
              <a:spcAft>
                <a:spcPts val="500"/>
              </a:spcAft>
              <a:defRPr sz="1800">
                <a:solidFill>
                  <a:schemeClr val="tx1"/>
                </a:solidFill>
              </a:defRPr>
            </a:lvl5pPr>
          </a:lstStyle>
          <a:p>
            <a:pPr lvl="0"/>
            <a:r>
              <a:rPr lang="en-US" dirty="0"/>
              <a:t>Single column</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Logo">
            <a:extLst>
              <a:ext uri="{FF2B5EF4-FFF2-40B4-BE49-F238E27FC236}">
                <a16:creationId xmlns:a16="http://schemas.microsoft.com/office/drawing/2014/main" id="{91EF0752-5CE0-D549-B18A-655250638192}"/>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42933362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9_Single column title and content">
    <p:bg>
      <p:bgPr>
        <a:solidFill>
          <a:srgbClr val="D32F2F">
            <a:alpha val="9804"/>
          </a:srgbClr>
        </a:solidFill>
        <a:effectLst/>
      </p:bgPr>
    </p:bg>
    <p:spTree>
      <p:nvGrpSpPr>
        <p:cNvPr id="1" name=""/>
        <p:cNvGrpSpPr/>
        <p:nvPr/>
      </p:nvGrpSpPr>
      <p:grpSpPr>
        <a:xfrm>
          <a:off x="0" y="0"/>
          <a:ext cx="0" cy="0"/>
          <a:chOff x="0" y="0"/>
          <a:chExt cx="0" cy="0"/>
        </a:xfrm>
      </p:grpSpPr>
      <p:sp>
        <p:nvSpPr>
          <p:cNvPr id="8" name="Rectangle">
            <a:extLst>
              <a:ext uri="{FF2B5EF4-FFF2-40B4-BE49-F238E27FC236}">
                <a16:creationId xmlns:a16="http://schemas.microsoft.com/office/drawing/2014/main" id="{CAB7C50D-A92E-F542-A579-D6ACCE3E0F84}"/>
              </a:ext>
            </a:extLst>
          </p:cNvPr>
          <p:cNvSpPr/>
          <p:nvPr userDrawn="1"/>
        </p:nvSpPr>
        <p:spPr>
          <a:xfrm>
            <a:off x="0" y="6037942"/>
            <a:ext cx="12192000" cy="820058"/>
          </a:xfrm>
          <a:prstGeom prst="rect">
            <a:avLst/>
          </a:prstGeom>
          <a:solidFill>
            <a:srgbClr val="D3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lide Number Placeholder">
            <a:extLst>
              <a:ext uri="{FF2B5EF4-FFF2-40B4-BE49-F238E27FC236}">
                <a16:creationId xmlns:a16="http://schemas.microsoft.com/office/drawing/2014/main" id="{AB8A9106-B24D-064D-974C-C8C4B2C84B82}"/>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14" name="Footer Placeholder">
            <a:extLst>
              <a:ext uri="{FF2B5EF4-FFF2-40B4-BE49-F238E27FC236}">
                <a16:creationId xmlns:a16="http://schemas.microsoft.com/office/drawing/2014/main" id="{EC4B6832-9A04-854F-9075-DF58CE992FA7}"/>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10" name="Title">
            <a:extLst>
              <a:ext uri="{FF2B5EF4-FFF2-40B4-BE49-F238E27FC236}">
                <a16:creationId xmlns:a16="http://schemas.microsoft.com/office/drawing/2014/main" id="{0444E5ED-F1A1-814E-ACFD-634EF419B0A5}"/>
              </a:ext>
            </a:extLst>
          </p:cNvPr>
          <p:cNvSpPr>
            <a:spLocks noGrp="1"/>
          </p:cNvSpPr>
          <p:nvPr>
            <p:ph type="title" hasCustomPrompt="1"/>
          </p:nvPr>
        </p:nvSpPr>
        <p:spPr>
          <a:xfrm>
            <a:off x="838200" y="642127"/>
            <a:ext cx="10515600" cy="526298"/>
          </a:xfrm>
          <a:prstGeom prst="rect">
            <a:avLst/>
          </a:prstGeom>
        </p:spPr>
        <p:txBody>
          <a:bodyPr wrap="square">
            <a:spAutoFit/>
          </a:bodyPr>
          <a:lstStyle>
            <a:lvl1pPr>
              <a:defRPr sz="3600" baseline="0"/>
            </a:lvl1pPr>
          </a:lstStyle>
          <a:p>
            <a:r>
              <a:rPr lang="en-US" dirty="0"/>
              <a:t>Add your heading here</a:t>
            </a:r>
          </a:p>
        </p:txBody>
      </p:sp>
      <p:sp>
        <p:nvSpPr>
          <p:cNvPr id="11" name="Content Placeholder">
            <a:extLst>
              <a:ext uri="{FF2B5EF4-FFF2-40B4-BE49-F238E27FC236}">
                <a16:creationId xmlns:a16="http://schemas.microsoft.com/office/drawing/2014/main" id="{67943E12-9848-8543-8144-6290A540B87B}"/>
              </a:ext>
            </a:extLst>
          </p:cNvPr>
          <p:cNvSpPr>
            <a:spLocks noGrp="1"/>
          </p:cNvSpPr>
          <p:nvPr>
            <p:ph idx="1" hasCustomPrompt="1"/>
          </p:nvPr>
        </p:nvSpPr>
        <p:spPr>
          <a:xfrm>
            <a:off x="838200" y="1424324"/>
            <a:ext cx="10515600" cy="2298001"/>
          </a:xfrm>
          <a:prstGeom prst="rect">
            <a:avLst/>
          </a:prstGeom>
        </p:spPr>
        <p:txBody>
          <a:bodyPr wrap="square" lIns="0" tIns="0" rIns="0" bIns="0" anchor="t" anchorCtr="0">
            <a:spAutoFit/>
          </a:bodyPr>
          <a:lstStyle>
            <a:lvl1pPr>
              <a:lnSpc>
                <a:spcPct val="110000"/>
              </a:lnSpc>
              <a:spcAft>
                <a:spcPts val="500"/>
              </a:spcAft>
              <a:defRPr sz="3200">
                <a:solidFill>
                  <a:schemeClr val="tx1"/>
                </a:solidFill>
              </a:defRPr>
            </a:lvl1pPr>
            <a:lvl2pPr>
              <a:spcAft>
                <a:spcPts val="500"/>
              </a:spcAft>
              <a:defRPr sz="2800">
                <a:solidFill>
                  <a:schemeClr val="tx1"/>
                </a:solidFill>
              </a:defRPr>
            </a:lvl2pPr>
            <a:lvl3pPr>
              <a:spcAft>
                <a:spcPts val="500"/>
              </a:spcAft>
              <a:defRPr sz="2400">
                <a:solidFill>
                  <a:schemeClr val="tx1"/>
                </a:solidFill>
              </a:defRPr>
            </a:lvl3pPr>
            <a:lvl4pPr>
              <a:spcAft>
                <a:spcPts val="500"/>
              </a:spcAft>
              <a:defRPr sz="2000">
                <a:solidFill>
                  <a:schemeClr val="tx1"/>
                </a:solidFill>
              </a:defRPr>
            </a:lvl4pPr>
            <a:lvl5pPr>
              <a:spcAft>
                <a:spcPts val="500"/>
              </a:spcAft>
              <a:defRPr sz="1800">
                <a:solidFill>
                  <a:schemeClr val="tx1"/>
                </a:solidFill>
              </a:defRPr>
            </a:lvl5pPr>
          </a:lstStyle>
          <a:p>
            <a:pPr lvl="0"/>
            <a:r>
              <a:rPr lang="en-US" dirty="0"/>
              <a:t>Single column</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Logo">
            <a:extLst>
              <a:ext uri="{FF2B5EF4-FFF2-40B4-BE49-F238E27FC236}">
                <a16:creationId xmlns:a16="http://schemas.microsoft.com/office/drawing/2014/main" id="{DB008299-B102-D240-AA5E-45D1C445B223}"/>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5625330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0_Single column title and content">
    <p:bg>
      <p:bgPr>
        <a:solidFill>
          <a:srgbClr val="D2376D">
            <a:alpha val="9804"/>
          </a:srgbClr>
        </a:solidFill>
        <a:effectLst/>
      </p:bgPr>
    </p:bg>
    <p:spTree>
      <p:nvGrpSpPr>
        <p:cNvPr id="1" name=""/>
        <p:cNvGrpSpPr/>
        <p:nvPr/>
      </p:nvGrpSpPr>
      <p:grpSpPr>
        <a:xfrm>
          <a:off x="0" y="0"/>
          <a:ext cx="0" cy="0"/>
          <a:chOff x="0" y="0"/>
          <a:chExt cx="0" cy="0"/>
        </a:xfrm>
      </p:grpSpPr>
      <p:sp>
        <p:nvSpPr>
          <p:cNvPr id="8" name="Rectangle">
            <a:extLst>
              <a:ext uri="{FF2B5EF4-FFF2-40B4-BE49-F238E27FC236}">
                <a16:creationId xmlns:a16="http://schemas.microsoft.com/office/drawing/2014/main" id="{CAB7C50D-A92E-F542-A579-D6ACCE3E0F84}"/>
              </a:ext>
            </a:extLst>
          </p:cNvPr>
          <p:cNvSpPr/>
          <p:nvPr userDrawn="1"/>
        </p:nvSpPr>
        <p:spPr>
          <a:xfrm>
            <a:off x="0" y="6037942"/>
            <a:ext cx="12192000" cy="820058"/>
          </a:xfrm>
          <a:prstGeom prst="rect">
            <a:avLst/>
          </a:prstGeom>
          <a:solidFill>
            <a:srgbClr val="D237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lide Number Placeholder">
            <a:extLst>
              <a:ext uri="{FF2B5EF4-FFF2-40B4-BE49-F238E27FC236}">
                <a16:creationId xmlns:a16="http://schemas.microsoft.com/office/drawing/2014/main" id="{AB8A9106-B24D-064D-974C-C8C4B2C84B82}"/>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14" name="Footer Placeholder">
            <a:extLst>
              <a:ext uri="{FF2B5EF4-FFF2-40B4-BE49-F238E27FC236}">
                <a16:creationId xmlns:a16="http://schemas.microsoft.com/office/drawing/2014/main" id="{EC4B6832-9A04-854F-9075-DF58CE992FA7}"/>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10" name="Title">
            <a:extLst>
              <a:ext uri="{FF2B5EF4-FFF2-40B4-BE49-F238E27FC236}">
                <a16:creationId xmlns:a16="http://schemas.microsoft.com/office/drawing/2014/main" id="{C2C1B397-A9E1-B746-BD94-CB8BA481FAC2}"/>
              </a:ext>
            </a:extLst>
          </p:cNvPr>
          <p:cNvSpPr>
            <a:spLocks noGrp="1"/>
          </p:cNvSpPr>
          <p:nvPr>
            <p:ph type="title" hasCustomPrompt="1"/>
          </p:nvPr>
        </p:nvSpPr>
        <p:spPr>
          <a:xfrm>
            <a:off x="838200" y="642127"/>
            <a:ext cx="10515600" cy="526298"/>
          </a:xfrm>
          <a:prstGeom prst="rect">
            <a:avLst/>
          </a:prstGeom>
        </p:spPr>
        <p:txBody>
          <a:bodyPr wrap="square">
            <a:spAutoFit/>
          </a:bodyPr>
          <a:lstStyle>
            <a:lvl1pPr>
              <a:defRPr sz="3600" baseline="0"/>
            </a:lvl1pPr>
          </a:lstStyle>
          <a:p>
            <a:r>
              <a:rPr lang="en-US" dirty="0"/>
              <a:t>Add your heading here</a:t>
            </a:r>
          </a:p>
        </p:txBody>
      </p:sp>
      <p:sp>
        <p:nvSpPr>
          <p:cNvPr id="11" name="Content Placeholder">
            <a:extLst>
              <a:ext uri="{FF2B5EF4-FFF2-40B4-BE49-F238E27FC236}">
                <a16:creationId xmlns:a16="http://schemas.microsoft.com/office/drawing/2014/main" id="{4495690A-C631-5648-8771-CE0B1ACF2A27}"/>
              </a:ext>
            </a:extLst>
          </p:cNvPr>
          <p:cNvSpPr>
            <a:spLocks noGrp="1"/>
          </p:cNvSpPr>
          <p:nvPr>
            <p:ph idx="1" hasCustomPrompt="1"/>
          </p:nvPr>
        </p:nvSpPr>
        <p:spPr>
          <a:xfrm>
            <a:off x="838200" y="1424324"/>
            <a:ext cx="10515600" cy="2298001"/>
          </a:xfrm>
          <a:prstGeom prst="rect">
            <a:avLst/>
          </a:prstGeom>
        </p:spPr>
        <p:txBody>
          <a:bodyPr wrap="square" lIns="0" tIns="0" rIns="0" bIns="0" anchor="t" anchorCtr="0">
            <a:spAutoFit/>
          </a:bodyPr>
          <a:lstStyle>
            <a:lvl1pPr>
              <a:lnSpc>
                <a:spcPct val="110000"/>
              </a:lnSpc>
              <a:spcAft>
                <a:spcPts val="500"/>
              </a:spcAft>
              <a:defRPr sz="3200">
                <a:solidFill>
                  <a:schemeClr val="tx1"/>
                </a:solidFill>
              </a:defRPr>
            </a:lvl1pPr>
            <a:lvl2pPr>
              <a:spcAft>
                <a:spcPts val="500"/>
              </a:spcAft>
              <a:defRPr sz="2800">
                <a:solidFill>
                  <a:schemeClr val="tx1"/>
                </a:solidFill>
              </a:defRPr>
            </a:lvl2pPr>
            <a:lvl3pPr>
              <a:spcAft>
                <a:spcPts val="500"/>
              </a:spcAft>
              <a:defRPr sz="2400">
                <a:solidFill>
                  <a:schemeClr val="tx1"/>
                </a:solidFill>
              </a:defRPr>
            </a:lvl3pPr>
            <a:lvl4pPr>
              <a:spcAft>
                <a:spcPts val="500"/>
              </a:spcAft>
              <a:defRPr sz="2000">
                <a:solidFill>
                  <a:schemeClr val="tx1"/>
                </a:solidFill>
              </a:defRPr>
            </a:lvl4pPr>
            <a:lvl5pPr>
              <a:spcAft>
                <a:spcPts val="500"/>
              </a:spcAft>
              <a:defRPr sz="1800">
                <a:solidFill>
                  <a:schemeClr val="tx1"/>
                </a:solidFill>
              </a:defRPr>
            </a:lvl5pPr>
          </a:lstStyle>
          <a:p>
            <a:pPr lvl="0"/>
            <a:r>
              <a:rPr lang="en-US" dirty="0"/>
              <a:t>Single column</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Logo">
            <a:extLst>
              <a:ext uri="{FF2B5EF4-FFF2-40B4-BE49-F238E27FC236}">
                <a16:creationId xmlns:a16="http://schemas.microsoft.com/office/drawing/2014/main" id="{FC4E1E33-863E-9247-8100-94434B10AC70}"/>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295190445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1_Single column title and content">
    <p:bg>
      <p:bgPr>
        <a:solidFill>
          <a:srgbClr val="6E2585">
            <a:alpha val="9804"/>
          </a:srgbClr>
        </a:solidFill>
        <a:effectLst/>
      </p:bgPr>
    </p:bg>
    <p:spTree>
      <p:nvGrpSpPr>
        <p:cNvPr id="1" name=""/>
        <p:cNvGrpSpPr/>
        <p:nvPr/>
      </p:nvGrpSpPr>
      <p:grpSpPr>
        <a:xfrm>
          <a:off x="0" y="0"/>
          <a:ext cx="0" cy="0"/>
          <a:chOff x="0" y="0"/>
          <a:chExt cx="0" cy="0"/>
        </a:xfrm>
      </p:grpSpPr>
      <p:sp>
        <p:nvSpPr>
          <p:cNvPr id="8" name="Rectangle">
            <a:extLst>
              <a:ext uri="{FF2B5EF4-FFF2-40B4-BE49-F238E27FC236}">
                <a16:creationId xmlns:a16="http://schemas.microsoft.com/office/drawing/2014/main" id="{CAB7C50D-A92E-F542-A579-D6ACCE3E0F84}"/>
              </a:ext>
            </a:extLst>
          </p:cNvPr>
          <p:cNvSpPr/>
          <p:nvPr userDrawn="1"/>
        </p:nvSpPr>
        <p:spPr>
          <a:xfrm>
            <a:off x="0" y="6037942"/>
            <a:ext cx="12192000" cy="820058"/>
          </a:xfrm>
          <a:prstGeom prst="rect">
            <a:avLst/>
          </a:prstGeom>
          <a:solidFill>
            <a:srgbClr val="6E25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lide Number Placeholder">
            <a:extLst>
              <a:ext uri="{FF2B5EF4-FFF2-40B4-BE49-F238E27FC236}">
                <a16:creationId xmlns:a16="http://schemas.microsoft.com/office/drawing/2014/main" id="{AB8A9106-B24D-064D-974C-C8C4B2C84B82}"/>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14" name="Footer Placeholder">
            <a:extLst>
              <a:ext uri="{FF2B5EF4-FFF2-40B4-BE49-F238E27FC236}">
                <a16:creationId xmlns:a16="http://schemas.microsoft.com/office/drawing/2014/main" id="{EC4B6832-9A04-854F-9075-DF58CE992FA7}"/>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10" name="Title">
            <a:extLst>
              <a:ext uri="{FF2B5EF4-FFF2-40B4-BE49-F238E27FC236}">
                <a16:creationId xmlns:a16="http://schemas.microsoft.com/office/drawing/2014/main" id="{368C9A3F-9D96-7744-B6CB-87D30682F4C4}"/>
              </a:ext>
            </a:extLst>
          </p:cNvPr>
          <p:cNvSpPr>
            <a:spLocks noGrp="1"/>
          </p:cNvSpPr>
          <p:nvPr>
            <p:ph type="title" hasCustomPrompt="1"/>
          </p:nvPr>
        </p:nvSpPr>
        <p:spPr>
          <a:xfrm>
            <a:off x="838200" y="642127"/>
            <a:ext cx="10515600" cy="526298"/>
          </a:xfrm>
          <a:prstGeom prst="rect">
            <a:avLst/>
          </a:prstGeom>
        </p:spPr>
        <p:txBody>
          <a:bodyPr wrap="square">
            <a:spAutoFit/>
          </a:bodyPr>
          <a:lstStyle>
            <a:lvl1pPr>
              <a:defRPr sz="3600" baseline="0"/>
            </a:lvl1pPr>
          </a:lstStyle>
          <a:p>
            <a:r>
              <a:rPr lang="en-US" dirty="0"/>
              <a:t>Add your heading here</a:t>
            </a:r>
          </a:p>
        </p:txBody>
      </p:sp>
      <p:sp>
        <p:nvSpPr>
          <p:cNvPr id="11" name="Content Placeholder">
            <a:extLst>
              <a:ext uri="{FF2B5EF4-FFF2-40B4-BE49-F238E27FC236}">
                <a16:creationId xmlns:a16="http://schemas.microsoft.com/office/drawing/2014/main" id="{13B7165C-0BA9-E541-A1E4-A25D1BA8426B}"/>
              </a:ext>
            </a:extLst>
          </p:cNvPr>
          <p:cNvSpPr>
            <a:spLocks noGrp="1"/>
          </p:cNvSpPr>
          <p:nvPr>
            <p:ph idx="1" hasCustomPrompt="1"/>
          </p:nvPr>
        </p:nvSpPr>
        <p:spPr>
          <a:xfrm>
            <a:off x="838200" y="1424324"/>
            <a:ext cx="10515600" cy="2298001"/>
          </a:xfrm>
          <a:prstGeom prst="rect">
            <a:avLst/>
          </a:prstGeom>
        </p:spPr>
        <p:txBody>
          <a:bodyPr wrap="square" lIns="0" tIns="0" rIns="0" bIns="0" anchor="t" anchorCtr="0">
            <a:spAutoFit/>
          </a:bodyPr>
          <a:lstStyle>
            <a:lvl1pPr>
              <a:lnSpc>
                <a:spcPct val="110000"/>
              </a:lnSpc>
              <a:spcAft>
                <a:spcPts val="500"/>
              </a:spcAft>
              <a:defRPr sz="3200">
                <a:solidFill>
                  <a:schemeClr val="tx1"/>
                </a:solidFill>
              </a:defRPr>
            </a:lvl1pPr>
            <a:lvl2pPr>
              <a:spcAft>
                <a:spcPts val="500"/>
              </a:spcAft>
              <a:defRPr sz="2800">
                <a:solidFill>
                  <a:schemeClr val="tx1"/>
                </a:solidFill>
              </a:defRPr>
            </a:lvl2pPr>
            <a:lvl3pPr>
              <a:spcAft>
                <a:spcPts val="500"/>
              </a:spcAft>
              <a:defRPr sz="2400">
                <a:solidFill>
                  <a:schemeClr val="tx1"/>
                </a:solidFill>
              </a:defRPr>
            </a:lvl3pPr>
            <a:lvl4pPr>
              <a:spcAft>
                <a:spcPts val="500"/>
              </a:spcAft>
              <a:defRPr sz="2000">
                <a:solidFill>
                  <a:schemeClr val="tx1"/>
                </a:solidFill>
              </a:defRPr>
            </a:lvl4pPr>
            <a:lvl5pPr>
              <a:spcAft>
                <a:spcPts val="500"/>
              </a:spcAft>
              <a:defRPr sz="1800">
                <a:solidFill>
                  <a:schemeClr val="tx1"/>
                </a:solidFill>
              </a:defRPr>
            </a:lvl5pPr>
          </a:lstStyle>
          <a:p>
            <a:pPr lvl="0"/>
            <a:r>
              <a:rPr lang="en-US" dirty="0"/>
              <a:t>Single column</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Logos">
            <a:extLst>
              <a:ext uri="{FF2B5EF4-FFF2-40B4-BE49-F238E27FC236}">
                <a16:creationId xmlns:a16="http://schemas.microsoft.com/office/drawing/2014/main" id="{53BE0666-C105-1D40-9766-07FDA3EAC805}"/>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12424930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imple two column text and content">
    <p:bg>
      <p:bgPr>
        <a:solidFill>
          <a:schemeClr val="bg1">
            <a:lumMod val="95000"/>
          </a:schemeClr>
        </a:solidFill>
        <a:effectLst/>
      </p:bgPr>
    </p:bg>
    <p:spTree>
      <p:nvGrpSpPr>
        <p:cNvPr id="1" name=""/>
        <p:cNvGrpSpPr/>
        <p:nvPr/>
      </p:nvGrpSpPr>
      <p:grpSpPr>
        <a:xfrm>
          <a:off x="0" y="0"/>
          <a:ext cx="0" cy="0"/>
          <a:chOff x="0" y="0"/>
          <a:chExt cx="0" cy="0"/>
        </a:xfrm>
      </p:grpSpPr>
      <p:sp>
        <p:nvSpPr>
          <p:cNvPr id="14" name="Slide Number Placeholder">
            <a:extLst>
              <a:ext uri="{FF2B5EF4-FFF2-40B4-BE49-F238E27FC236}">
                <a16:creationId xmlns:a16="http://schemas.microsoft.com/office/drawing/2014/main" id="{5D913410-9DC7-834A-B330-976E80A5685D}"/>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tx1"/>
                </a:solidFill>
              </a:defRPr>
            </a:lvl1pPr>
          </a:lstStyle>
          <a:p>
            <a:pPr algn="ctr"/>
            <a:fld id="{232417FB-2EF4-EC49-BC13-97513C37E9E5}" type="slidenum">
              <a:rPr lang="en-US" smtClean="0"/>
              <a:pPr algn="ctr"/>
              <a:t>‹#›</a:t>
            </a:fld>
            <a:endParaRPr lang="en-US" dirty="0"/>
          </a:p>
        </p:txBody>
      </p:sp>
      <p:sp>
        <p:nvSpPr>
          <p:cNvPr id="15" name="Footer Placeholder">
            <a:extLst>
              <a:ext uri="{FF2B5EF4-FFF2-40B4-BE49-F238E27FC236}">
                <a16:creationId xmlns:a16="http://schemas.microsoft.com/office/drawing/2014/main" id="{EA701F44-73AD-C64B-8322-8400CB324EF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tx1"/>
                </a:solidFill>
              </a:defRPr>
            </a:lvl1pPr>
          </a:lstStyle>
          <a:p>
            <a:endParaRPr lang="en-US" dirty="0"/>
          </a:p>
        </p:txBody>
      </p:sp>
      <p:sp>
        <p:nvSpPr>
          <p:cNvPr id="17" name="Title">
            <a:extLst>
              <a:ext uri="{FF2B5EF4-FFF2-40B4-BE49-F238E27FC236}">
                <a16:creationId xmlns:a16="http://schemas.microsoft.com/office/drawing/2014/main" id="{BF8E2729-03F2-4F77-BF33-CCC290F9D763}"/>
              </a:ext>
            </a:extLst>
          </p:cNvPr>
          <p:cNvSpPr>
            <a:spLocks noGrp="1"/>
          </p:cNvSpPr>
          <p:nvPr>
            <p:ph type="title" hasCustomPrompt="1"/>
          </p:nvPr>
        </p:nvSpPr>
        <p:spPr>
          <a:xfrm>
            <a:off x="838200" y="642126"/>
            <a:ext cx="10515600" cy="526298"/>
          </a:xfrm>
          <a:prstGeom prst="rect">
            <a:avLst/>
          </a:prstGeom>
        </p:spPr>
        <p:txBody>
          <a:bodyPr>
            <a:spAutoFit/>
          </a:bodyPr>
          <a:lstStyle>
            <a:lvl1pPr>
              <a:defRPr sz="3600"/>
            </a:lvl1pPr>
          </a:lstStyle>
          <a:p>
            <a:r>
              <a:rPr lang="en-US" dirty="0"/>
              <a:t>Add your heading here</a:t>
            </a:r>
          </a:p>
        </p:txBody>
      </p:sp>
      <p:sp>
        <p:nvSpPr>
          <p:cNvPr id="3" name="Content Placeholder 1"/>
          <p:cNvSpPr>
            <a:spLocks noGrp="1"/>
          </p:cNvSpPr>
          <p:nvPr>
            <p:ph sz="half" idx="1" hasCustomPrompt="1"/>
          </p:nvPr>
        </p:nvSpPr>
        <p:spPr>
          <a:xfrm>
            <a:off x="838200" y="1422595"/>
            <a:ext cx="4961351" cy="2375394"/>
          </a:xfrm>
          <a:prstGeom prst="rect">
            <a:avLst/>
          </a:prstGeom>
        </p:spPr>
        <p:txBody>
          <a:bodyPr wrap="square" tIns="0" bIns="0" anchor="t" anchorCtr="0"/>
          <a:lstStyle>
            <a:lvl1pPr>
              <a:spcAft>
                <a:spcPts val="500"/>
              </a:spcAft>
              <a:defRPr sz="3200">
                <a:solidFill>
                  <a:schemeClr val="tx1"/>
                </a:solidFill>
              </a:defRPr>
            </a:lvl1pPr>
            <a:lvl2pPr>
              <a:spcAft>
                <a:spcPts val="500"/>
              </a:spcAft>
              <a:defRPr sz="2800">
                <a:solidFill>
                  <a:schemeClr val="tx1"/>
                </a:solidFill>
              </a:defRPr>
            </a:lvl2pPr>
            <a:lvl3pPr>
              <a:spcAft>
                <a:spcPts val="500"/>
              </a:spcAft>
              <a:defRPr sz="2400">
                <a:solidFill>
                  <a:schemeClr val="tx1"/>
                </a:solidFill>
              </a:defRPr>
            </a:lvl3pPr>
            <a:lvl4pPr>
              <a:spcAft>
                <a:spcPts val="500"/>
              </a:spcAft>
              <a:defRPr sz="2000">
                <a:solidFill>
                  <a:schemeClr val="tx1"/>
                </a:solidFill>
              </a:defRPr>
            </a:lvl4pPr>
            <a:lvl5pPr>
              <a:spcAft>
                <a:spcPts val="500"/>
              </a:spcAft>
              <a:defRPr sz="2000">
                <a:solidFill>
                  <a:schemeClr val="tx1"/>
                </a:solidFill>
              </a:defRPr>
            </a:lvl5pPr>
          </a:lstStyle>
          <a:p>
            <a:pPr lvl="0"/>
            <a:r>
              <a:rPr lang="en-US" dirty="0"/>
              <a:t>Column on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sz="half" idx="2" hasCustomPrompt="1"/>
          </p:nvPr>
        </p:nvSpPr>
        <p:spPr>
          <a:xfrm>
            <a:off x="6172200" y="1422595"/>
            <a:ext cx="5199743" cy="2375394"/>
          </a:xfrm>
          <a:prstGeom prst="rect">
            <a:avLst/>
          </a:prstGeom>
        </p:spPr>
        <p:txBody>
          <a:bodyPr wrap="square" tIns="0" bIns="0" anchor="t" anchorCtr="0"/>
          <a:lstStyle>
            <a:lvl1pPr>
              <a:spcAft>
                <a:spcPts val="500"/>
              </a:spcAft>
              <a:defRPr sz="3200">
                <a:solidFill>
                  <a:schemeClr val="tx1"/>
                </a:solidFill>
              </a:defRPr>
            </a:lvl1pPr>
            <a:lvl2pPr>
              <a:spcAft>
                <a:spcPts val="500"/>
              </a:spcAft>
              <a:defRPr sz="2800">
                <a:solidFill>
                  <a:schemeClr val="tx1"/>
                </a:solidFill>
              </a:defRPr>
            </a:lvl2pPr>
            <a:lvl3pPr>
              <a:spcAft>
                <a:spcPts val="500"/>
              </a:spcAft>
              <a:defRPr sz="2400">
                <a:solidFill>
                  <a:schemeClr val="tx1"/>
                </a:solidFill>
              </a:defRPr>
            </a:lvl3pPr>
            <a:lvl4pPr>
              <a:spcAft>
                <a:spcPts val="500"/>
              </a:spcAft>
              <a:defRPr sz="2000">
                <a:solidFill>
                  <a:schemeClr val="tx1"/>
                </a:solidFill>
              </a:defRPr>
            </a:lvl4pPr>
            <a:lvl5pPr>
              <a:spcAft>
                <a:spcPts val="500"/>
              </a:spcAft>
              <a:defRPr sz="2000">
                <a:solidFill>
                  <a:schemeClr val="tx1"/>
                </a:solidFill>
              </a:defRPr>
            </a:lvl5pPr>
          </a:lstStyle>
          <a:p>
            <a:pPr lvl="0"/>
            <a:r>
              <a:rPr lang="en-US" dirty="0"/>
              <a:t>Column two</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Line">
            <a:extLst>
              <a:ext uri="{FF2B5EF4-FFF2-40B4-BE49-F238E27FC236}">
                <a16:creationId xmlns:a16="http://schemas.microsoft.com/office/drawing/2014/main" id="{7A09A1D8-0AE4-B646-8D6E-9B761AD35D7E}"/>
              </a:ext>
            </a:extLst>
          </p:cNvPr>
          <p:cNvCxnSpPr>
            <a:cxnSpLocks/>
          </p:cNvCxnSpPr>
          <p:nvPr userDrawn="1"/>
        </p:nvCxnSpPr>
        <p:spPr>
          <a:xfrm>
            <a:off x="822000" y="6055339"/>
            <a:ext cx="10548000" cy="0"/>
          </a:xfrm>
          <a:prstGeom prst="line">
            <a:avLst/>
          </a:prstGeom>
          <a:ln w="12700">
            <a:solidFill>
              <a:srgbClr val="003C57"/>
            </a:solidFill>
          </a:ln>
        </p:spPr>
        <p:style>
          <a:lnRef idx="1">
            <a:schemeClr val="accent1"/>
          </a:lnRef>
          <a:fillRef idx="0">
            <a:schemeClr val="accent1"/>
          </a:fillRef>
          <a:effectRef idx="0">
            <a:schemeClr val="accent1"/>
          </a:effectRef>
          <a:fontRef idx="minor">
            <a:schemeClr val="tx1"/>
          </a:fontRef>
        </p:style>
      </p:cxnSp>
      <p:pic>
        <p:nvPicPr>
          <p:cNvPr id="10" name="Logo" descr="Office for National Statistics Logo">
            <a:extLst>
              <a:ext uri="{FF2B5EF4-FFF2-40B4-BE49-F238E27FC236}">
                <a16:creationId xmlns:a16="http://schemas.microsoft.com/office/drawing/2014/main" id="{371BFF22-4B57-7C41-A92E-7C1C2D01675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8200" y="6286250"/>
            <a:ext cx="3331866" cy="288762"/>
          </a:xfrm>
          <a:prstGeom prst="rect">
            <a:avLst/>
          </a:prstGeom>
        </p:spPr>
      </p:pic>
    </p:spTree>
    <p:extLst>
      <p:ext uri="{BB962C8B-B14F-4D97-AF65-F5344CB8AC3E}">
        <p14:creationId xmlns:p14="http://schemas.microsoft.com/office/powerpoint/2010/main" val="75279585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2_Single column title and content">
    <p:bg>
      <p:bgPr>
        <a:solidFill>
          <a:srgbClr val="37288B">
            <a:alpha val="9804"/>
          </a:srgbClr>
        </a:solidFill>
        <a:effectLst/>
      </p:bgPr>
    </p:bg>
    <p:spTree>
      <p:nvGrpSpPr>
        <p:cNvPr id="1" name=""/>
        <p:cNvGrpSpPr/>
        <p:nvPr/>
      </p:nvGrpSpPr>
      <p:grpSpPr>
        <a:xfrm>
          <a:off x="0" y="0"/>
          <a:ext cx="0" cy="0"/>
          <a:chOff x="0" y="0"/>
          <a:chExt cx="0" cy="0"/>
        </a:xfrm>
      </p:grpSpPr>
      <p:sp>
        <p:nvSpPr>
          <p:cNvPr id="8" name="Rectangle">
            <a:extLst>
              <a:ext uri="{FF2B5EF4-FFF2-40B4-BE49-F238E27FC236}">
                <a16:creationId xmlns:a16="http://schemas.microsoft.com/office/drawing/2014/main" id="{CAB7C50D-A92E-F542-A579-D6ACCE3E0F84}"/>
              </a:ext>
            </a:extLst>
          </p:cNvPr>
          <p:cNvSpPr/>
          <p:nvPr userDrawn="1"/>
        </p:nvSpPr>
        <p:spPr>
          <a:xfrm>
            <a:off x="0" y="6037942"/>
            <a:ext cx="12192000" cy="820058"/>
          </a:xfrm>
          <a:prstGeom prst="rect">
            <a:avLst/>
          </a:prstGeom>
          <a:solidFill>
            <a:srgbClr val="3728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lide Number Placeholder">
            <a:extLst>
              <a:ext uri="{FF2B5EF4-FFF2-40B4-BE49-F238E27FC236}">
                <a16:creationId xmlns:a16="http://schemas.microsoft.com/office/drawing/2014/main" id="{AB8A9106-B24D-064D-974C-C8C4B2C84B82}"/>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14" name="Footer Placeholder">
            <a:extLst>
              <a:ext uri="{FF2B5EF4-FFF2-40B4-BE49-F238E27FC236}">
                <a16:creationId xmlns:a16="http://schemas.microsoft.com/office/drawing/2014/main" id="{EC4B6832-9A04-854F-9075-DF58CE992FA7}"/>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dirty="0"/>
          </a:p>
        </p:txBody>
      </p:sp>
      <p:sp>
        <p:nvSpPr>
          <p:cNvPr id="10" name="Title">
            <a:extLst>
              <a:ext uri="{FF2B5EF4-FFF2-40B4-BE49-F238E27FC236}">
                <a16:creationId xmlns:a16="http://schemas.microsoft.com/office/drawing/2014/main" id="{43A56145-2D0E-E94F-A399-32CA6DD184A0}"/>
              </a:ext>
            </a:extLst>
          </p:cNvPr>
          <p:cNvSpPr>
            <a:spLocks noGrp="1"/>
          </p:cNvSpPr>
          <p:nvPr>
            <p:ph type="title" hasCustomPrompt="1"/>
          </p:nvPr>
        </p:nvSpPr>
        <p:spPr>
          <a:xfrm>
            <a:off x="838200" y="642127"/>
            <a:ext cx="10515600" cy="526298"/>
          </a:xfrm>
          <a:prstGeom prst="rect">
            <a:avLst/>
          </a:prstGeom>
        </p:spPr>
        <p:txBody>
          <a:bodyPr wrap="square">
            <a:spAutoFit/>
          </a:bodyPr>
          <a:lstStyle>
            <a:lvl1pPr>
              <a:defRPr sz="3600" baseline="0"/>
            </a:lvl1pPr>
          </a:lstStyle>
          <a:p>
            <a:r>
              <a:rPr lang="en-US" dirty="0"/>
              <a:t>Add your heading here</a:t>
            </a:r>
          </a:p>
        </p:txBody>
      </p:sp>
      <p:sp>
        <p:nvSpPr>
          <p:cNvPr id="11" name="Content Placeholder">
            <a:extLst>
              <a:ext uri="{FF2B5EF4-FFF2-40B4-BE49-F238E27FC236}">
                <a16:creationId xmlns:a16="http://schemas.microsoft.com/office/drawing/2014/main" id="{20C025E5-7258-7042-B637-ACEBD0147F90}"/>
              </a:ext>
            </a:extLst>
          </p:cNvPr>
          <p:cNvSpPr>
            <a:spLocks noGrp="1"/>
          </p:cNvSpPr>
          <p:nvPr>
            <p:ph idx="1" hasCustomPrompt="1"/>
          </p:nvPr>
        </p:nvSpPr>
        <p:spPr>
          <a:xfrm>
            <a:off x="838200" y="1424324"/>
            <a:ext cx="10515600" cy="2298001"/>
          </a:xfrm>
          <a:prstGeom prst="rect">
            <a:avLst/>
          </a:prstGeom>
        </p:spPr>
        <p:txBody>
          <a:bodyPr wrap="square" lIns="0" tIns="0" rIns="0" bIns="0" anchor="t" anchorCtr="0">
            <a:spAutoFit/>
          </a:bodyPr>
          <a:lstStyle>
            <a:lvl1pPr>
              <a:lnSpc>
                <a:spcPct val="110000"/>
              </a:lnSpc>
              <a:spcAft>
                <a:spcPts val="500"/>
              </a:spcAft>
              <a:defRPr sz="3200">
                <a:solidFill>
                  <a:schemeClr val="tx2"/>
                </a:solidFill>
              </a:defRPr>
            </a:lvl1pPr>
            <a:lvl2pPr>
              <a:spcAft>
                <a:spcPts val="500"/>
              </a:spcAft>
              <a:defRPr sz="2800">
                <a:solidFill>
                  <a:schemeClr val="tx2"/>
                </a:solidFill>
              </a:defRPr>
            </a:lvl2pPr>
            <a:lvl3pPr>
              <a:spcAft>
                <a:spcPts val="500"/>
              </a:spcAft>
              <a:defRPr sz="2400">
                <a:solidFill>
                  <a:schemeClr val="tx2"/>
                </a:solidFill>
              </a:defRPr>
            </a:lvl3pPr>
            <a:lvl4pPr>
              <a:spcAft>
                <a:spcPts val="500"/>
              </a:spcAft>
              <a:defRPr sz="2000">
                <a:solidFill>
                  <a:schemeClr val="tx2"/>
                </a:solidFill>
              </a:defRPr>
            </a:lvl4pPr>
            <a:lvl5pPr>
              <a:spcAft>
                <a:spcPts val="500"/>
              </a:spcAft>
              <a:defRPr sz="1800">
                <a:solidFill>
                  <a:schemeClr val="tx2"/>
                </a:solidFill>
              </a:defRPr>
            </a:lvl5pPr>
          </a:lstStyle>
          <a:p>
            <a:pPr lvl="0"/>
            <a:r>
              <a:rPr lang="en-US" dirty="0"/>
              <a:t>Single column</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Logo">
            <a:extLst>
              <a:ext uri="{FF2B5EF4-FFF2-40B4-BE49-F238E27FC236}">
                <a16:creationId xmlns:a16="http://schemas.microsoft.com/office/drawing/2014/main" id="{1DE64692-2A7A-E341-AF5F-CB9D8872838F}"/>
              </a:ext>
            </a:extLst>
          </p:cNvPr>
          <p:cNvPicPr>
            <a:picLocks noChangeAspect="1"/>
          </p:cNvPicPr>
          <p:nvPr userDrawn="1"/>
        </p:nvPicPr>
        <p:blipFill>
          <a:blip r:embed="rId2"/>
          <a:stretch>
            <a:fillRect/>
          </a:stretch>
        </p:blipFill>
        <p:spPr>
          <a:xfrm>
            <a:off x="767166" y="6230570"/>
            <a:ext cx="3489869" cy="408624"/>
          </a:xfrm>
          <a:prstGeom prst="rect">
            <a:avLst/>
          </a:prstGeom>
        </p:spPr>
      </p:pic>
    </p:spTree>
    <p:extLst>
      <p:ext uri="{BB962C8B-B14F-4D97-AF65-F5344CB8AC3E}">
        <p14:creationId xmlns:p14="http://schemas.microsoft.com/office/powerpoint/2010/main" val="9863430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3_Single column title and content">
    <p:bg>
      <p:bgPr>
        <a:solidFill>
          <a:srgbClr val="FBC900">
            <a:alpha val="9804"/>
          </a:srgbClr>
        </a:solidFill>
        <a:effectLst/>
      </p:bgPr>
    </p:bg>
    <p:spTree>
      <p:nvGrpSpPr>
        <p:cNvPr id="1" name=""/>
        <p:cNvGrpSpPr/>
        <p:nvPr/>
      </p:nvGrpSpPr>
      <p:grpSpPr>
        <a:xfrm>
          <a:off x="0" y="0"/>
          <a:ext cx="0" cy="0"/>
          <a:chOff x="0" y="0"/>
          <a:chExt cx="0" cy="0"/>
        </a:xfrm>
      </p:grpSpPr>
      <p:sp>
        <p:nvSpPr>
          <p:cNvPr id="8" name="Rectangle">
            <a:extLst>
              <a:ext uri="{FF2B5EF4-FFF2-40B4-BE49-F238E27FC236}">
                <a16:creationId xmlns:a16="http://schemas.microsoft.com/office/drawing/2014/main" id="{CAB7C50D-A92E-F542-A579-D6ACCE3E0F84}"/>
              </a:ext>
            </a:extLst>
          </p:cNvPr>
          <p:cNvSpPr/>
          <p:nvPr userDrawn="1"/>
        </p:nvSpPr>
        <p:spPr>
          <a:xfrm>
            <a:off x="0" y="6037942"/>
            <a:ext cx="12192000" cy="820058"/>
          </a:xfrm>
          <a:prstGeom prst="rect">
            <a:avLst/>
          </a:prstGeom>
          <a:solidFill>
            <a:srgbClr val="FBC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Slide Number Placeholder">
            <a:extLst>
              <a:ext uri="{FF2B5EF4-FFF2-40B4-BE49-F238E27FC236}">
                <a16:creationId xmlns:a16="http://schemas.microsoft.com/office/drawing/2014/main" id="{F06FA8BB-10A5-D04C-98E8-7CF1835F3413}"/>
              </a:ext>
            </a:extLst>
          </p:cNvPr>
          <p:cNvSpPr>
            <a:spLocks noGrp="1"/>
          </p:cNvSpPr>
          <p:nvPr>
            <p:ph type="sldNum" sz="quarter" idx="4"/>
          </p:nvPr>
        </p:nvSpPr>
        <p:spPr>
          <a:xfrm>
            <a:off x="4662087" y="6250891"/>
            <a:ext cx="2867826" cy="365125"/>
          </a:xfrm>
          <a:prstGeom prst="rect">
            <a:avLst/>
          </a:prstGeom>
        </p:spPr>
        <p:txBody>
          <a:bodyPr/>
          <a:lstStyle>
            <a:lvl1pPr>
              <a:defRPr sz="2000">
                <a:solidFill>
                  <a:srgbClr val="003C57"/>
                </a:solidFill>
              </a:defRPr>
            </a:lvl1pPr>
          </a:lstStyle>
          <a:p>
            <a:pPr algn="ctr"/>
            <a:fld id="{232417FB-2EF4-EC49-BC13-97513C37E9E5}" type="slidenum">
              <a:rPr lang="en-US" smtClean="0"/>
              <a:pPr algn="ctr"/>
              <a:t>‹#›</a:t>
            </a:fld>
            <a:endParaRPr lang="en-US" dirty="0"/>
          </a:p>
        </p:txBody>
      </p:sp>
      <p:sp>
        <p:nvSpPr>
          <p:cNvPr id="16" name="Footer Placeholder">
            <a:extLst>
              <a:ext uri="{FF2B5EF4-FFF2-40B4-BE49-F238E27FC236}">
                <a16:creationId xmlns:a16="http://schemas.microsoft.com/office/drawing/2014/main" id="{4260E4F4-0AE2-534D-97B9-C9E641454FE3}"/>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rgbClr val="003C57"/>
                </a:solidFill>
              </a:defRPr>
            </a:lvl1pPr>
          </a:lstStyle>
          <a:p>
            <a:endParaRPr lang="en-US" dirty="0"/>
          </a:p>
        </p:txBody>
      </p:sp>
      <p:sp>
        <p:nvSpPr>
          <p:cNvPr id="10" name="Title">
            <a:extLst>
              <a:ext uri="{FF2B5EF4-FFF2-40B4-BE49-F238E27FC236}">
                <a16:creationId xmlns:a16="http://schemas.microsoft.com/office/drawing/2014/main" id="{43A56145-2D0E-E94F-A399-32CA6DD184A0}"/>
              </a:ext>
            </a:extLst>
          </p:cNvPr>
          <p:cNvSpPr>
            <a:spLocks noGrp="1"/>
          </p:cNvSpPr>
          <p:nvPr>
            <p:ph type="title" hasCustomPrompt="1"/>
          </p:nvPr>
        </p:nvSpPr>
        <p:spPr>
          <a:xfrm>
            <a:off x="838200" y="642127"/>
            <a:ext cx="10515600" cy="526298"/>
          </a:xfrm>
          <a:prstGeom prst="rect">
            <a:avLst/>
          </a:prstGeom>
        </p:spPr>
        <p:txBody>
          <a:bodyPr wrap="square">
            <a:spAutoFit/>
          </a:bodyPr>
          <a:lstStyle>
            <a:lvl1pPr>
              <a:defRPr sz="3600" baseline="0"/>
            </a:lvl1pPr>
          </a:lstStyle>
          <a:p>
            <a:r>
              <a:rPr lang="en-US" dirty="0"/>
              <a:t>Add your heading here</a:t>
            </a:r>
          </a:p>
        </p:txBody>
      </p:sp>
      <p:sp>
        <p:nvSpPr>
          <p:cNvPr id="11" name="Content Placeholder">
            <a:extLst>
              <a:ext uri="{FF2B5EF4-FFF2-40B4-BE49-F238E27FC236}">
                <a16:creationId xmlns:a16="http://schemas.microsoft.com/office/drawing/2014/main" id="{20C025E5-7258-7042-B637-ACEBD0147F90}"/>
              </a:ext>
            </a:extLst>
          </p:cNvPr>
          <p:cNvSpPr>
            <a:spLocks noGrp="1"/>
          </p:cNvSpPr>
          <p:nvPr>
            <p:ph idx="1" hasCustomPrompt="1"/>
          </p:nvPr>
        </p:nvSpPr>
        <p:spPr>
          <a:xfrm>
            <a:off x="838200" y="1424324"/>
            <a:ext cx="10515600" cy="2298001"/>
          </a:xfrm>
          <a:prstGeom prst="rect">
            <a:avLst/>
          </a:prstGeom>
        </p:spPr>
        <p:txBody>
          <a:bodyPr wrap="square" lIns="0" tIns="0" rIns="0" bIns="0" anchor="t" anchorCtr="0">
            <a:spAutoFit/>
          </a:bodyPr>
          <a:lstStyle>
            <a:lvl1pPr>
              <a:lnSpc>
                <a:spcPct val="110000"/>
              </a:lnSpc>
              <a:spcAft>
                <a:spcPts val="500"/>
              </a:spcAft>
              <a:defRPr sz="3200">
                <a:solidFill>
                  <a:schemeClr val="tx1"/>
                </a:solidFill>
              </a:defRPr>
            </a:lvl1pPr>
            <a:lvl2pPr>
              <a:spcAft>
                <a:spcPts val="500"/>
              </a:spcAft>
              <a:defRPr sz="2800">
                <a:solidFill>
                  <a:schemeClr val="tx2"/>
                </a:solidFill>
              </a:defRPr>
            </a:lvl2pPr>
            <a:lvl3pPr>
              <a:spcAft>
                <a:spcPts val="500"/>
              </a:spcAft>
              <a:defRPr sz="2400">
                <a:solidFill>
                  <a:schemeClr val="tx2"/>
                </a:solidFill>
              </a:defRPr>
            </a:lvl3pPr>
            <a:lvl4pPr>
              <a:spcAft>
                <a:spcPts val="500"/>
              </a:spcAft>
              <a:defRPr sz="2000">
                <a:solidFill>
                  <a:schemeClr val="tx2"/>
                </a:solidFill>
              </a:defRPr>
            </a:lvl4pPr>
            <a:lvl5pPr>
              <a:spcAft>
                <a:spcPts val="500"/>
              </a:spcAft>
              <a:defRPr sz="1800">
                <a:solidFill>
                  <a:schemeClr val="tx2"/>
                </a:solidFill>
              </a:defRPr>
            </a:lvl5pPr>
          </a:lstStyle>
          <a:p>
            <a:pPr lvl="0"/>
            <a:r>
              <a:rPr lang="en-US" dirty="0"/>
              <a:t>Single column</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Logo">
            <a:extLst>
              <a:ext uri="{FF2B5EF4-FFF2-40B4-BE49-F238E27FC236}">
                <a16:creationId xmlns:a16="http://schemas.microsoft.com/office/drawing/2014/main" id="{31B7D753-A604-3F4B-8399-159D61F62CD1}"/>
              </a:ext>
            </a:extLst>
          </p:cNvPr>
          <p:cNvPicPr>
            <a:picLocks noChangeAspect="1"/>
          </p:cNvPicPr>
          <p:nvPr userDrawn="1"/>
        </p:nvPicPr>
        <p:blipFill>
          <a:blip r:embed="rId2"/>
          <a:stretch>
            <a:fillRect/>
          </a:stretch>
        </p:blipFill>
        <p:spPr>
          <a:xfrm>
            <a:off x="767162" y="6230570"/>
            <a:ext cx="3489878" cy="408624"/>
          </a:xfrm>
          <a:prstGeom prst="rect">
            <a:avLst/>
          </a:prstGeom>
        </p:spPr>
      </p:pic>
    </p:spTree>
    <p:extLst>
      <p:ext uri="{BB962C8B-B14F-4D97-AF65-F5344CB8AC3E}">
        <p14:creationId xmlns:p14="http://schemas.microsoft.com/office/powerpoint/2010/main" val="7471606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4_Single column title and content">
    <p:bg>
      <p:bgPr>
        <a:solidFill>
          <a:srgbClr val="A8BD3A">
            <a:alpha val="9804"/>
          </a:srgbClr>
        </a:solidFill>
        <a:effectLst/>
      </p:bgPr>
    </p:bg>
    <p:spTree>
      <p:nvGrpSpPr>
        <p:cNvPr id="1" name=""/>
        <p:cNvGrpSpPr/>
        <p:nvPr/>
      </p:nvGrpSpPr>
      <p:grpSpPr>
        <a:xfrm>
          <a:off x="0" y="0"/>
          <a:ext cx="0" cy="0"/>
          <a:chOff x="0" y="0"/>
          <a:chExt cx="0" cy="0"/>
        </a:xfrm>
      </p:grpSpPr>
      <p:sp>
        <p:nvSpPr>
          <p:cNvPr id="8" name="Rectangle">
            <a:extLst>
              <a:ext uri="{FF2B5EF4-FFF2-40B4-BE49-F238E27FC236}">
                <a16:creationId xmlns:a16="http://schemas.microsoft.com/office/drawing/2014/main" id="{CAB7C50D-A92E-F542-A579-D6ACCE3E0F84}"/>
              </a:ext>
            </a:extLst>
          </p:cNvPr>
          <p:cNvSpPr/>
          <p:nvPr userDrawn="1"/>
        </p:nvSpPr>
        <p:spPr>
          <a:xfrm>
            <a:off x="0" y="6037942"/>
            <a:ext cx="12192000" cy="820058"/>
          </a:xfrm>
          <a:prstGeom prst="rect">
            <a:avLst/>
          </a:prstGeom>
          <a:solidFill>
            <a:srgbClr val="A8BD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Slide Number Placeholder">
            <a:extLst>
              <a:ext uri="{FF2B5EF4-FFF2-40B4-BE49-F238E27FC236}">
                <a16:creationId xmlns:a16="http://schemas.microsoft.com/office/drawing/2014/main" id="{F06FA8BB-10A5-D04C-98E8-7CF1835F3413}"/>
              </a:ext>
            </a:extLst>
          </p:cNvPr>
          <p:cNvSpPr>
            <a:spLocks noGrp="1"/>
          </p:cNvSpPr>
          <p:nvPr>
            <p:ph type="sldNum" sz="quarter" idx="4"/>
          </p:nvPr>
        </p:nvSpPr>
        <p:spPr>
          <a:xfrm>
            <a:off x="4662087" y="6250891"/>
            <a:ext cx="2867826" cy="365125"/>
          </a:xfrm>
          <a:prstGeom prst="rect">
            <a:avLst/>
          </a:prstGeom>
        </p:spPr>
        <p:txBody>
          <a:bodyPr/>
          <a:lstStyle>
            <a:lvl1pPr>
              <a:defRPr sz="2000">
                <a:solidFill>
                  <a:srgbClr val="003C57"/>
                </a:solidFill>
              </a:defRPr>
            </a:lvl1pPr>
          </a:lstStyle>
          <a:p>
            <a:pPr algn="ctr"/>
            <a:fld id="{232417FB-2EF4-EC49-BC13-97513C37E9E5}" type="slidenum">
              <a:rPr lang="en-US" smtClean="0"/>
              <a:pPr algn="ctr"/>
              <a:t>‹#›</a:t>
            </a:fld>
            <a:endParaRPr lang="en-US" dirty="0"/>
          </a:p>
        </p:txBody>
      </p:sp>
      <p:sp>
        <p:nvSpPr>
          <p:cNvPr id="16" name="Footer Placeholder">
            <a:extLst>
              <a:ext uri="{FF2B5EF4-FFF2-40B4-BE49-F238E27FC236}">
                <a16:creationId xmlns:a16="http://schemas.microsoft.com/office/drawing/2014/main" id="{4260E4F4-0AE2-534D-97B9-C9E641454FE3}"/>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rgbClr val="003C57"/>
                </a:solidFill>
              </a:defRPr>
            </a:lvl1pPr>
          </a:lstStyle>
          <a:p>
            <a:endParaRPr lang="en-US" dirty="0"/>
          </a:p>
        </p:txBody>
      </p:sp>
      <p:sp>
        <p:nvSpPr>
          <p:cNvPr id="10" name="Title">
            <a:extLst>
              <a:ext uri="{FF2B5EF4-FFF2-40B4-BE49-F238E27FC236}">
                <a16:creationId xmlns:a16="http://schemas.microsoft.com/office/drawing/2014/main" id="{43A56145-2D0E-E94F-A399-32CA6DD184A0}"/>
              </a:ext>
            </a:extLst>
          </p:cNvPr>
          <p:cNvSpPr>
            <a:spLocks noGrp="1"/>
          </p:cNvSpPr>
          <p:nvPr>
            <p:ph type="title" hasCustomPrompt="1"/>
          </p:nvPr>
        </p:nvSpPr>
        <p:spPr>
          <a:xfrm>
            <a:off x="838200" y="642127"/>
            <a:ext cx="10515600" cy="526298"/>
          </a:xfrm>
          <a:prstGeom prst="rect">
            <a:avLst/>
          </a:prstGeom>
        </p:spPr>
        <p:txBody>
          <a:bodyPr wrap="square">
            <a:spAutoFit/>
          </a:bodyPr>
          <a:lstStyle>
            <a:lvl1pPr>
              <a:defRPr sz="3600" baseline="0"/>
            </a:lvl1pPr>
          </a:lstStyle>
          <a:p>
            <a:r>
              <a:rPr lang="en-US" dirty="0"/>
              <a:t>Add your heading here</a:t>
            </a:r>
          </a:p>
        </p:txBody>
      </p:sp>
      <p:sp>
        <p:nvSpPr>
          <p:cNvPr id="11" name="Content Placeholder">
            <a:extLst>
              <a:ext uri="{FF2B5EF4-FFF2-40B4-BE49-F238E27FC236}">
                <a16:creationId xmlns:a16="http://schemas.microsoft.com/office/drawing/2014/main" id="{20C025E5-7258-7042-B637-ACEBD0147F90}"/>
              </a:ext>
            </a:extLst>
          </p:cNvPr>
          <p:cNvSpPr>
            <a:spLocks noGrp="1"/>
          </p:cNvSpPr>
          <p:nvPr>
            <p:ph idx="1" hasCustomPrompt="1"/>
          </p:nvPr>
        </p:nvSpPr>
        <p:spPr>
          <a:xfrm>
            <a:off x="838200" y="1424324"/>
            <a:ext cx="10515600" cy="2298001"/>
          </a:xfrm>
          <a:prstGeom prst="rect">
            <a:avLst/>
          </a:prstGeom>
        </p:spPr>
        <p:txBody>
          <a:bodyPr wrap="square" lIns="0" tIns="0" rIns="0" bIns="0" anchor="t" anchorCtr="0">
            <a:spAutoFit/>
          </a:bodyPr>
          <a:lstStyle>
            <a:lvl1pPr>
              <a:lnSpc>
                <a:spcPct val="110000"/>
              </a:lnSpc>
              <a:spcAft>
                <a:spcPts val="500"/>
              </a:spcAft>
              <a:defRPr sz="3200">
                <a:solidFill>
                  <a:schemeClr val="tx1"/>
                </a:solidFill>
              </a:defRPr>
            </a:lvl1pPr>
            <a:lvl2pPr>
              <a:spcAft>
                <a:spcPts val="500"/>
              </a:spcAft>
              <a:defRPr sz="2800">
                <a:solidFill>
                  <a:schemeClr val="tx1"/>
                </a:solidFill>
              </a:defRPr>
            </a:lvl2pPr>
            <a:lvl3pPr>
              <a:spcAft>
                <a:spcPts val="500"/>
              </a:spcAft>
              <a:defRPr sz="2400">
                <a:solidFill>
                  <a:schemeClr val="tx1"/>
                </a:solidFill>
              </a:defRPr>
            </a:lvl3pPr>
            <a:lvl4pPr>
              <a:spcAft>
                <a:spcPts val="500"/>
              </a:spcAft>
              <a:defRPr sz="2000">
                <a:solidFill>
                  <a:schemeClr val="tx1"/>
                </a:solidFill>
              </a:defRPr>
            </a:lvl4pPr>
            <a:lvl5pPr>
              <a:spcAft>
                <a:spcPts val="500"/>
              </a:spcAft>
              <a:defRPr sz="1800">
                <a:solidFill>
                  <a:schemeClr val="tx1"/>
                </a:solidFill>
              </a:defRPr>
            </a:lvl5pPr>
          </a:lstStyle>
          <a:p>
            <a:pPr lvl="0"/>
            <a:r>
              <a:rPr lang="en-US" dirty="0"/>
              <a:t>Single column</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Logo">
            <a:extLst>
              <a:ext uri="{FF2B5EF4-FFF2-40B4-BE49-F238E27FC236}">
                <a16:creationId xmlns:a16="http://schemas.microsoft.com/office/drawing/2014/main" id="{EBC0F11A-AD84-7842-A23A-0940CC6475C5}"/>
              </a:ext>
            </a:extLst>
          </p:cNvPr>
          <p:cNvPicPr>
            <a:picLocks noChangeAspect="1"/>
          </p:cNvPicPr>
          <p:nvPr userDrawn="1"/>
        </p:nvPicPr>
        <p:blipFill>
          <a:blip r:embed="rId2"/>
          <a:stretch>
            <a:fillRect/>
          </a:stretch>
        </p:blipFill>
        <p:spPr>
          <a:xfrm>
            <a:off x="767162" y="6230570"/>
            <a:ext cx="3489878" cy="408624"/>
          </a:xfrm>
          <a:prstGeom prst="rect">
            <a:avLst/>
          </a:prstGeom>
        </p:spPr>
      </p:pic>
    </p:spTree>
    <p:extLst>
      <p:ext uri="{BB962C8B-B14F-4D97-AF65-F5344CB8AC3E}">
        <p14:creationId xmlns:p14="http://schemas.microsoft.com/office/powerpoint/2010/main" val="33703964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GB"/>
              <a:t>Click to edit Master title style</a:t>
            </a:r>
            <a:endParaRPr lang="en-US"/>
          </a:p>
        </p:txBody>
      </p:sp>
      <p:sp>
        <p:nvSpPr>
          <p:cNvPr id="3" name="Slide Number Placeholder 5">
            <a:extLst>
              <a:ext uri="{FF2B5EF4-FFF2-40B4-BE49-F238E27FC236}">
                <a16:creationId xmlns:a16="http://schemas.microsoft.com/office/drawing/2014/main" id="{A89B5687-9875-4C24-BFF2-9E0954C49086}"/>
              </a:ext>
            </a:extLst>
          </p:cNvPr>
          <p:cNvSpPr>
            <a:spLocks noGrp="1"/>
          </p:cNvSpPr>
          <p:nvPr>
            <p:ph type="sldNum" sz="quarter" idx="10"/>
          </p:nvPr>
        </p:nvSpPr>
        <p:spPr/>
        <p:txBody>
          <a:bodyPr/>
          <a:lstStyle>
            <a:lvl1pPr>
              <a:defRPr/>
            </a:lvl1pPr>
          </a:lstStyle>
          <a:p>
            <a:pPr>
              <a:defRPr/>
            </a:pPr>
            <a:fld id="{11E64AB2-B8E5-4601-B258-353888554177}" type="slidenum">
              <a:rPr lang="en-US" altLang="en-US"/>
              <a:pPr>
                <a:defRPr/>
              </a:pPr>
              <a:t>‹#›</a:t>
            </a:fld>
            <a:endParaRPr lang="en-US" altLang="en-US" dirty="0"/>
          </a:p>
        </p:txBody>
      </p:sp>
    </p:spTree>
    <p:extLst>
      <p:ext uri="{BB962C8B-B14F-4D97-AF65-F5344CB8AC3E}">
        <p14:creationId xmlns:p14="http://schemas.microsoft.com/office/powerpoint/2010/main" val="166685173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4"/>
          <p:cNvSpPr>
            <a:spLocks noGrp="1"/>
          </p:cNvSpPr>
          <p:nvPr>
            <p:ph type="body" sz="quarter" idx="10" hasCustomPrompt="1"/>
          </p:nvPr>
        </p:nvSpPr>
        <p:spPr>
          <a:xfrm>
            <a:off x="914400" y="933450"/>
            <a:ext cx="10363200" cy="406400"/>
          </a:xfrm>
        </p:spPr>
        <p:txBody>
          <a:bodyPr>
            <a:normAutofit/>
          </a:bodyPr>
          <a:lstStyle>
            <a:lvl1pPr marL="0" indent="0" algn="ctr">
              <a:lnSpc>
                <a:spcPct val="86000"/>
              </a:lnSpc>
              <a:spcBef>
                <a:spcPts val="0"/>
              </a:spcBef>
              <a:buNone/>
              <a:defRPr sz="1800" baseline="0"/>
            </a:lvl1pPr>
          </a:lstStyle>
          <a:p>
            <a:pPr lvl="0"/>
            <a:r>
              <a:rPr lang="en-US" dirty="0"/>
              <a:t>Click here to edit subtitle</a:t>
            </a:r>
          </a:p>
        </p:txBody>
      </p:sp>
    </p:spTree>
    <p:extLst>
      <p:ext uri="{BB962C8B-B14F-4D97-AF65-F5344CB8AC3E}">
        <p14:creationId xmlns:p14="http://schemas.microsoft.com/office/powerpoint/2010/main" val="396129893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4" name="Picture 5" descr="W01.jpg">
            <a:extLst>
              <a:ext uri="{FF2B5EF4-FFF2-40B4-BE49-F238E27FC236}">
                <a16:creationId xmlns:a16="http://schemas.microsoft.com/office/drawing/2014/main" id="{CC0CA4DC-5489-4472-A8D5-CE29AC76879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163" r="11201" b="63364"/>
          <a:stretch/>
        </p:blipFill>
        <p:spPr bwMode="auto">
          <a:xfrm>
            <a:off x="8301151" y="6160770"/>
            <a:ext cx="3712464" cy="579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5">
            <a:extLst>
              <a:ext uri="{FF2B5EF4-FFF2-40B4-BE49-F238E27FC236}">
                <a16:creationId xmlns:a16="http://schemas.microsoft.com/office/drawing/2014/main" id="{53FFF3BE-1B8E-4421-B695-1DC15B964EFD}"/>
              </a:ext>
            </a:extLst>
          </p:cNvPr>
          <p:cNvSpPr txBox="1">
            <a:spLocks/>
          </p:cNvSpPr>
          <p:nvPr userDrawn="1"/>
        </p:nvSpPr>
        <p:spPr>
          <a:xfrm>
            <a:off x="11113" y="6092825"/>
            <a:ext cx="396875" cy="744538"/>
          </a:xfrm>
          <a:prstGeom prst="rect">
            <a:avLst/>
          </a:prstGeom>
        </p:spPr>
        <p:txBody>
          <a:bodyPr r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fld id="{F651DD9D-14C6-4A1A-A850-54BF3ECC291D}" type="slidenum">
              <a:rPr lang="en-US" altLang="en-US" sz="1000" smtClean="0">
                <a:solidFill>
                  <a:srgbClr val="BFBFBF"/>
                </a:solidFill>
                <a:latin typeface="Trebuchet MS" panose="020B0603020202020204" pitchFamily="34" charset="0"/>
              </a:rPr>
              <a:pPr algn="r" eaLnBrk="1" hangingPunct="1">
                <a:defRPr/>
              </a:pPr>
              <a:t>‹#›</a:t>
            </a:fld>
            <a:endParaRPr lang="en-US" altLang="en-US" sz="1000" dirty="0">
              <a:solidFill>
                <a:srgbClr val="BFBFBF"/>
              </a:solidFill>
              <a:latin typeface="Trebuchet MS" panose="020B0603020202020204" pitchFamily="34" charset="0"/>
            </a:endParaRPr>
          </a:p>
        </p:txBody>
      </p:sp>
    </p:spTree>
    <p:extLst>
      <p:ext uri="{BB962C8B-B14F-4D97-AF65-F5344CB8AC3E}">
        <p14:creationId xmlns:p14="http://schemas.microsoft.com/office/powerpoint/2010/main" val="273214303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4400" y="1452420"/>
            <a:ext cx="10363200" cy="4627563"/>
          </a:xfrm>
        </p:spPr>
        <p:txBody>
          <a:bodyPr/>
          <a:lstStyle>
            <a:lvl1pPr>
              <a:spcBef>
                <a:spcPts val="1200"/>
              </a:spcBef>
              <a:defRPr/>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0" hasCustomPrompt="1"/>
          </p:nvPr>
        </p:nvSpPr>
        <p:spPr>
          <a:xfrm>
            <a:off x="914400" y="933450"/>
            <a:ext cx="10363200" cy="406400"/>
          </a:xfrm>
        </p:spPr>
        <p:txBody>
          <a:bodyPr>
            <a:normAutofit/>
          </a:bodyPr>
          <a:lstStyle>
            <a:lvl1pPr marL="0" indent="0" algn="ctr">
              <a:lnSpc>
                <a:spcPct val="86000"/>
              </a:lnSpc>
              <a:spcBef>
                <a:spcPts val="0"/>
              </a:spcBef>
              <a:buNone/>
              <a:defRPr sz="1800" baseline="0"/>
            </a:lvl1pPr>
          </a:lstStyle>
          <a:p>
            <a:pPr lvl="0"/>
            <a:r>
              <a:rPr lang="en-US" dirty="0"/>
              <a:t>Click here to edit subtitle</a:t>
            </a:r>
          </a:p>
        </p:txBody>
      </p:sp>
    </p:spTree>
    <p:extLst>
      <p:ext uri="{BB962C8B-B14F-4D97-AF65-F5344CB8AC3E}">
        <p14:creationId xmlns:p14="http://schemas.microsoft.com/office/powerpoint/2010/main" val="358532251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452420"/>
            <a:ext cx="5080000" cy="4525963"/>
          </a:xfrm>
        </p:spPr>
        <p:txBody>
          <a:bodyPr>
            <a:normAutofit/>
          </a:bodyPr>
          <a:lstStyle>
            <a:lvl1pPr>
              <a:defRPr sz="20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452420"/>
            <a:ext cx="5080000" cy="4525963"/>
          </a:xfrm>
        </p:spPr>
        <p:txBody>
          <a:bodyPr>
            <a:normAutofit/>
          </a:bodyPr>
          <a:lstStyle>
            <a:lvl1pPr>
              <a:defRPr sz="20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p:cNvSpPr>
            <a:spLocks noGrp="1"/>
          </p:cNvSpPr>
          <p:nvPr>
            <p:ph type="body" sz="quarter" idx="10" hasCustomPrompt="1"/>
          </p:nvPr>
        </p:nvSpPr>
        <p:spPr>
          <a:xfrm>
            <a:off x="914400" y="933450"/>
            <a:ext cx="10363200" cy="406400"/>
          </a:xfrm>
        </p:spPr>
        <p:txBody>
          <a:bodyPr>
            <a:normAutofit/>
          </a:bodyPr>
          <a:lstStyle>
            <a:lvl1pPr marL="0" indent="0" algn="ctr">
              <a:lnSpc>
                <a:spcPct val="86000"/>
              </a:lnSpc>
              <a:spcBef>
                <a:spcPts val="0"/>
              </a:spcBef>
              <a:buNone/>
              <a:defRPr sz="1800" baseline="0"/>
            </a:lvl1pPr>
          </a:lstStyle>
          <a:p>
            <a:pPr lvl="0"/>
            <a:r>
              <a:rPr lang="en-US" dirty="0"/>
              <a:t>Click here to edit subtitle</a:t>
            </a:r>
          </a:p>
        </p:txBody>
      </p:sp>
    </p:spTree>
    <p:extLst>
      <p:ext uri="{BB962C8B-B14F-4D97-AF65-F5344CB8AC3E}">
        <p14:creationId xmlns:p14="http://schemas.microsoft.com/office/powerpoint/2010/main" val="3875219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normAutofit/>
          </a:bodyPr>
          <a:lstStyle>
            <a:lvl1pPr>
              <a:defRPr sz="3600"/>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2656690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2pPr>
              <a:defRPr/>
            </a:lvl2pPr>
            <a:lvl3pPr>
              <a:defRPr/>
            </a:lvl3pPr>
          </a:lstStyle>
          <a:p>
            <a:pPr lvl="0"/>
            <a:r>
              <a:rPr lang="en-CA" dirty="0"/>
              <a:t>First Level Text</a:t>
            </a:r>
          </a:p>
          <a:p>
            <a:pPr lvl="1"/>
            <a:r>
              <a:rPr lang="en-CA" dirty="0"/>
              <a:t>Second Level Text</a:t>
            </a:r>
          </a:p>
          <a:p>
            <a:pPr lvl="2"/>
            <a:r>
              <a:rPr lang="en-CA" dirty="0"/>
              <a:t>Third Level Text</a:t>
            </a:r>
          </a:p>
          <a:p>
            <a:pPr lvl="3"/>
            <a:r>
              <a:rPr lang="en-CA" dirty="0"/>
              <a:t>Fourth Level Text</a:t>
            </a:r>
          </a:p>
          <a:p>
            <a:pPr lvl="4"/>
            <a:r>
              <a:rPr lang="en-CA" dirty="0"/>
              <a:t>Fifth Level Text</a:t>
            </a:r>
          </a:p>
        </p:txBody>
      </p:sp>
      <p:cxnSp>
        <p:nvCxnSpPr>
          <p:cNvPr id="7" name="Straight Connector 6"/>
          <p:cNvCxnSpPr/>
          <p:nvPr userDrawn="1"/>
        </p:nvCxnSpPr>
        <p:spPr>
          <a:xfrm>
            <a:off x="610659" y="1162050"/>
            <a:ext cx="11581341"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hasCustomPrompt="1"/>
          </p:nvPr>
        </p:nvSpPr>
        <p:spPr/>
        <p:txBody>
          <a:bodyPr/>
          <a:lstStyle/>
          <a:p>
            <a:r>
              <a:rPr lang="en-US" dirty="0"/>
              <a:t>Master Title Slide Headline</a:t>
            </a:r>
            <a:endParaRPr lang="en-CA" dirty="0"/>
          </a:p>
        </p:txBody>
      </p:sp>
      <p:sp>
        <p:nvSpPr>
          <p:cNvPr id="8" name="TextBox 7"/>
          <p:cNvSpPr txBox="1"/>
          <p:nvPr userDrawn="1"/>
        </p:nvSpPr>
        <p:spPr>
          <a:xfrm>
            <a:off x="10859597" y="6562940"/>
            <a:ext cx="7152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p14="http://schemas.microsoft.com/office/powerpoint/2010/main" val="38156622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rt page - minimal footer">
    <p:spTree>
      <p:nvGrpSpPr>
        <p:cNvPr id="1" name=""/>
        <p:cNvGrpSpPr/>
        <p:nvPr/>
      </p:nvGrpSpPr>
      <p:grpSpPr>
        <a:xfrm>
          <a:off x="0" y="0"/>
          <a:ext cx="0" cy="0"/>
          <a:chOff x="0" y="0"/>
          <a:chExt cx="0" cy="0"/>
        </a:xfrm>
      </p:grpSpPr>
      <p:sp>
        <p:nvSpPr>
          <p:cNvPr id="14" name="Slide Number Placeholder">
            <a:extLst>
              <a:ext uri="{FF2B5EF4-FFF2-40B4-BE49-F238E27FC236}">
                <a16:creationId xmlns:a16="http://schemas.microsoft.com/office/drawing/2014/main" id="{5D913410-9DC7-834A-B330-976E80A5685D}"/>
              </a:ext>
            </a:extLst>
          </p:cNvPr>
          <p:cNvSpPr>
            <a:spLocks noGrp="1"/>
          </p:cNvSpPr>
          <p:nvPr>
            <p:ph type="sldNum" sz="quarter" idx="4"/>
          </p:nvPr>
        </p:nvSpPr>
        <p:spPr>
          <a:xfrm>
            <a:off x="4662087" y="6250891"/>
            <a:ext cx="2867826" cy="365125"/>
          </a:xfrm>
          <a:prstGeom prst="rect">
            <a:avLst/>
          </a:prstGeom>
        </p:spPr>
        <p:txBody>
          <a:bodyPr/>
          <a:lstStyle>
            <a:lvl1pPr>
              <a:defRPr sz="2000">
                <a:solidFill>
                  <a:srgbClr val="003C57"/>
                </a:solidFill>
              </a:defRPr>
            </a:lvl1pPr>
          </a:lstStyle>
          <a:p>
            <a:pPr algn="ctr"/>
            <a:fld id="{232417FB-2EF4-EC49-BC13-97513C37E9E5}" type="slidenum">
              <a:rPr lang="en-US" smtClean="0"/>
              <a:pPr algn="ctr"/>
              <a:t>‹#›</a:t>
            </a:fld>
            <a:endParaRPr lang="en-US" dirty="0"/>
          </a:p>
        </p:txBody>
      </p:sp>
      <p:sp>
        <p:nvSpPr>
          <p:cNvPr id="15" name="Footer Placeholder">
            <a:extLst>
              <a:ext uri="{FF2B5EF4-FFF2-40B4-BE49-F238E27FC236}">
                <a16:creationId xmlns:a16="http://schemas.microsoft.com/office/drawing/2014/main" id="{EA701F44-73AD-C64B-8322-8400CB324EF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rgbClr val="003C57"/>
                </a:solidFill>
              </a:defRPr>
            </a:lvl1pPr>
          </a:lstStyle>
          <a:p>
            <a:endParaRPr lang="en-US" dirty="0"/>
          </a:p>
        </p:txBody>
      </p:sp>
      <p:sp>
        <p:nvSpPr>
          <p:cNvPr id="7" name="Title">
            <a:extLst>
              <a:ext uri="{FF2B5EF4-FFF2-40B4-BE49-F238E27FC236}">
                <a16:creationId xmlns:a16="http://schemas.microsoft.com/office/drawing/2014/main" id="{F286A817-1631-D641-B3A5-B9C6B7F08D85}"/>
              </a:ext>
            </a:extLst>
          </p:cNvPr>
          <p:cNvSpPr>
            <a:spLocks noGrp="1"/>
          </p:cNvSpPr>
          <p:nvPr>
            <p:ph type="title" hasCustomPrompt="1"/>
          </p:nvPr>
        </p:nvSpPr>
        <p:spPr>
          <a:xfrm>
            <a:off x="838200" y="642126"/>
            <a:ext cx="10515600" cy="467820"/>
          </a:xfrm>
          <a:prstGeom prst="rect">
            <a:avLst/>
          </a:prstGeom>
        </p:spPr>
        <p:txBody>
          <a:bodyPr>
            <a:spAutoFit/>
          </a:bodyPr>
          <a:lstStyle>
            <a:lvl1pPr>
              <a:defRPr sz="3200"/>
            </a:lvl1pPr>
          </a:lstStyle>
          <a:p>
            <a:r>
              <a:rPr lang="en-US" dirty="0"/>
              <a:t>Add your heading here</a:t>
            </a:r>
          </a:p>
        </p:txBody>
      </p:sp>
      <p:sp>
        <p:nvSpPr>
          <p:cNvPr id="16" name="Content Placeholder">
            <a:extLst>
              <a:ext uri="{FF2B5EF4-FFF2-40B4-BE49-F238E27FC236}">
                <a16:creationId xmlns:a16="http://schemas.microsoft.com/office/drawing/2014/main" id="{8E4E2FF2-096C-C349-8B44-CFA5388E9515}"/>
              </a:ext>
            </a:extLst>
          </p:cNvPr>
          <p:cNvSpPr>
            <a:spLocks noGrp="1"/>
          </p:cNvSpPr>
          <p:nvPr>
            <p:ph idx="1" hasCustomPrompt="1"/>
          </p:nvPr>
        </p:nvSpPr>
        <p:spPr>
          <a:xfrm>
            <a:off x="838200" y="1245542"/>
            <a:ext cx="10515600" cy="4826645"/>
          </a:xfrm>
          <a:prstGeom prst="rect">
            <a:avLst/>
          </a:prstGeom>
        </p:spPr>
        <p:txBody>
          <a:bodyPr anchor="t" anchorCtr="0"/>
          <a:lstStyle>
            <a:lvl1pPr marL="0" indent="0">
              <a:buNone/>
              <a:defRPr sz="3200">
                <a:solidFill>
                  <a:schemeClr val="tx1"/>
                </a:solidFill>
              </a:defRPr>
            </a:lvl1pPr>
            <a:lvl2pPr>
              <a:defRPr sz="2800"/>
            </a:lvl2pPr>
            <a:lvl3pPr>
              <a:defRPr sz="2400"/>
            </a:lvl3pPr>
            <a:lvl4pPr>
              <a:defRPr sz="2000"/>
            </a:lvl4pPr>
            <a:lvl5pPr>
              <a:defRPr sz="2000"/>
            </a:lvl5pPr>
          </a:lstStyle>
          <a:p>
            <a:pPr lvl="0"/>
            <a:r>
              <a:rPr lang="en-US" dirty="0"/>
              <a:t>Add your chart here</a:t>
            </a:r>
          </a:p>
        </p:txBody>
      </p:sp>
      <p:pic>
        <p:nvPicPr>
          <p:cNvPr id="5" name="Logo" descr="Office for National Statistics Logo">
            <a:extLst>
              <a:ext uri="{FF2B5EF4-FFF2-40B4-BE49-F238E27FC236}">
                <a16:creationId xmlns:a16="http://schemas.microsoft.com/office/drawing/2014/main" id="{EB69BF73-290C-6047-BFA6-A01EFEA976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8200" y="6286250"/>
            <a:ext cx="3331866" cy="288762"/>
          </a:xfrm>
          <a:prstGeom prst="rect">
            <a:avLst/>
          </a:prstGeom>
        </p:spPr>
      </p:pic>
    </p:spTree>
    <p:extLst>
      <p:ext uri="{BB962C8B-B14F-4D97-AF65-F5344CB8AC3E}">
        <p14:creationId xmlns:p14="http://schemas.microsoft.com/office/powerpoint/2010/main" val="10444476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a:t>Click to edit Master title style</a:t>
            </a:r>
            <a:endParaRPr lang="en-US"/>
          </a:p>
        </p:txBody>
      </p:sp>
      <p:sp>
        <p:nvSpPr>
          <p:cNvPr id="3" name="Text Placeholder 2"/>
          <p:cNvSpPr>
            <a:spLocks noGrp="1"/>
          </p:cNvSpPr>
          <p:nvPr>
            <p:ph type="body" idx="1"/>
          </p:nvPr>
        </p:nvSpPr>
        <p:spPr>
          <a:xfrm>
            <a:off x="395817" y="1535113"/>
            <a:ext cx="478738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4" name="Content Placeholder 3"/>
          <p:cNvSpPr>
            <a:spLocks noGrp="1"/>
          </p:cNvSpPr>
          <p:nvPr>
            <p:ph sz="half" idx="2"/>
          </p:nvPr>
        </p:nvSpPr>
        <p:spPr>
          <a:xfrm>
            <a:off x="395816" y="2174876"/>
            <a:ext cx="4787384" cy="30829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ext Placeholder 4"/>
          <p:cNvSpPr>
            <a:spLocks noGrp="1"/>
          </p:cNvSpPr>
          <p:nvPr>
            <p:ph type="body" sz="quarter" idx="3"/>
          </p:nvPr>
        </p:nvSpPr>
        <p:spPr>
          <a:xfrm>
            <a:off x="5488001" y="1535113"/>
            <a:ext cx="630395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6" name="Content Placeholder 5"/>
          <p:cNvSpPr>
            <a:spLocks noGrp="1"/>
          </p:cNvSpPr>
          <p:nvPr>
            <p:ph sz="quarter" idx="4"/>
          </p:nvPr>
        </p:nvSpPr>
        <p:spPr>
          <a:xfrm>
            <a:off x="5488001" y="2174876"/>
            <a:ext cx="6303951" cy="30829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Slide Number Placeholder 5">
            <a:extLst>
              <a:ext uri="{FF2B5EF4-FFF2-40B4-BE49-F238E27FC236}">
                <a16:creationId xmlns:a16="http://schemas.microsoft.com/office/drawing/2014/main" id="{C7C3CF8D-DBA1-4179-BAD2-DE3E1F3CD7A5}"/>
              </a:ext>
            </a:extLst>
          </p:cNvPr>
          <p:cNvSpPr>
            <a:spLocks noGrp="1"/>
          </p:cNvSpPr>
          <p:nvPr>
            <p:ph type="sldNum" sz="quarter" idx="10"/>
          </p:nvPr>
        </p:nvSpPr>
        <p:spPr>
          <a:xfrm>
            <a:off x="11620541" y="6113466"/>
            <a:ext cx="395817" cy="744537"/>
          </a:xfrm>
          <a:prstGeom prst="rect">
            <a:avLst/>
          </a:prstGeom>
        </p:spPr>
        <p:txBody>
          <a:bodyPr vert="horz" wrap="square" lIns="91440" tIns="45720" rIns="0" bIns="45720" numCol="1" anchor="b" anchorCtr="0" compatLnSpc="1">
            <a:prstTxWarp prst="textNoShape">
              <a:avLst/>
            </a:prstTxWarp>
          </a:bodyPr>
          <a:lstStyle>
            <a:lvl1pPr algn="r">
              <a:defRPr sz="1100">
                <a:solidFill>
                  <a:schemeClr val="tx1"/>
                </a:solidFill>
                <a:latin typeface="Trebuchet MS" panose="020B0603020202020204" pitchFamily="34" charset="0"/>
              </a:defRPr>
            </a:lvl1pPr>
          </a:lstStyle>
          <a:p>
            <a:fld id="{95980047-3758-4602-87DE-EAFBF309680F}" type="slidenum">
              <a:rPr lang="en-GB" smtClean="0"/>
              <a:t>‹#›</a:t>
            </a:fld>
            <a:endParaRPr lang="en-GB" dirty="0"/>
          </a:p>
        </p:txBody>
      </p:sp>
    </p:spTree>
    <p:extLst>
      <p:ext uri="{BB962C8B-B14F-4D97-AF65-F5344CB8AC3E}">
        <p14:creationId xmlns:p14="http://schemas.microsoft.com/office/powerpoint/2010/main" val="94310024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3 text boxes - colour">
    <p:spTree>
      <p:nvGrpSpPr>
        <p:cNvPr id="1" name=""/>
        <p:cNvGrpSpPr/>
        <p:nvPr/>
      </p:nvGrpSpPr>
      <p:grpSpPr>
        <a:xfrm>
          <a:off x="0" y="0"/>
          <a:ext cx="0" cy="0"/>
          <a:chOff x="0" y="0"/>
          <a:chExt cx="0" cy="0"/>
        </a:xfrm>
      </p:grpSpPr>
      <p:graphicFrame>
        <p:nvGraphicFramePr>
          <p:cNvPr id="11" name="Object 5" hidden="1">
            <a:extLst>
              <a:ext uri="{FF2B5EF4-FFF2-40B4-BE49-F238E27FC236}">
                <a16:creationId xmlns:a16="http://schemas.microsoft.com/office/drawing/2014/main" id="{352380BC-F61E-4720-AE68-BCDA2667F538}"/>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2097" name="think-cell Slide" r:id="rId5" imgW="360" imgH="360" progId="">
                  <p:embed/>
                </p:oleObj>
              </mc:Choice>
              <mc:Fallback>
                <p:oleObj name="think-cell Slide" r:id="rId5" imgW="360" imgH="360" progId="">
                  <p:embed/>
                  <p:pic>
                    <p:nvPicPr>
                      <p:cNvPr id="11" name="Object 5" hidden="1">
                        <a:extLst>
                          <a:ext uri="{FF2B5EF4-FFF2-40B4-BE49-F238E27FC236}">
                            <a16:creationId xmlns:a16="http://schemas.microsoft.com/office/drawing/2014/main" id="{352380BC-F61E-4720-AE68-BCDA2667F53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Rectangle 11" hidden="1">
            <a:extLst>
              <a:ext uri="{FF2B5EF4-FFF2-40B4-BE49-F238E27FC236}">
                <a16:creationId xmlns:a16="http://schemas.microsoft.com/office/drawing/2014/main" id="{C52F3C24-04F1-441F-8D22-88D61110971A}"/>
              </a:ext>
            </a:extLst>
          </p:cNvPr>
          <p:cNvSpPr/>
          <p:nvPr userDrawn="1">
            <p:custDataLst>
              <p:tags r:id="rId3"/>
            </p:custDataLst>
          </p:nvPr>
        </p:nvSpPr>
        <p:spPr bwMode="auto">
          <a:xfrm>
            <a:off x="0" y="0"/>
            <a:ext cx="211138"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endParaRPr lang="en-GB" sz="1400" dirty="0">
              <a:solidFill>
                <a:srgbClr val="FFFFFF"/>
              </a:solidFill>
              <a:sym typeface="Calibri"/>
            </a:endParaRPr>
          </a:p>
        </p:txBody>
      </p:sp>
      <p:cxnSp>
        <p:nvCxnSpPr>
          <p:cNvPr id="14" name="Straight Connector 13">
            <a:extLst>
              <a:ext uri="{FF2B5EF4-FFF2-40B4-BE49-F238E27FC236}">
                <a16:creationId xmlns:a16="http://schemas.microsoft.com/office/drawing/2014/main" id="{47C49C82-E0C8-478E-953D-1DB40F92C37E}"/>
              </a:ext>
            </a:extLst>
          </p:cNvPr>
          <p:cNvCxnSpPr>
            <a:cxnSpLocks noChangeShapeType="1"/>
          </p:cNvCxnSpPr>
          <p:nvPr userDrawn="1"/>
        </p:nvCxnSpPr>
        <p:spPr bwMode="auto">
          <a:xfrm>
            <a:off x="334963" y="1023938"/>
            <a:ext cx="11520487" cy="0"/>
          </a:xfrm>
          <a:prstGeom prst="line">
            <a:avLst/>
          </a:prstGeom>
          <a:noFill/>
          <a:ln w="25400">
            <a:solidFill>
              <a:srgbClr val="15387B"/>
            </a:solidFill>
            <a:round/>
            <a:headEnd type="none" w="med" len="med"/>
            <a:tailEnd type="none" w="med" len="med"/>
          </a:ln>
          <a:effectLst>
            <a:outerShdw blurRad="63500" dist="20000" dir="5400000" rotWithShape="0">
              <a:srgbClr val="000000">
                <a:alpha val="37999"/>
              </a:srgbClr>
            </a:outerShdw>
          </a:effectLst>
        </p:spPr>
      </p:cxnSp>
      <p:sp>
        <p:nvSpPr>
          <p:cNvPr id="15" name="Slide Number Placeholder 5">
            <a:extLst>
              <a:ext uri="{FF2B5EF4-FFF2-40B4-BE49-F238E27FC236}">
                <a16:creationId xmlns:a16="http://schemas.microsoft.com/office/drawing/2014/main" id="{D63C45F7-A521-48BB-9D5C-333DED40ECD6}"/>
              </a:ext>
            </a:extLst>
          </p:cNvPr>
          <p:cNvSpPr txBox="1">
            <a:spLocks/>
          </p:cNvSpPr>
          <p:nvPr userDrawn="1"/>
        </p:nvSpPr>
        <p:spPr>
          <a:xfrm>
            <a:off x="11558588" y="6359525"/>
            <a:ext cx="633412" cy="498475"/>
          </a:xfrm>
          <a:prstGeom prst="rect">
            <a:avLst/>
          </a:prstGeom>
        </p:spPr>
        <p:txBody>
          <a:bodyPr rIns="0" anchor="ctr"/>
          <a:lstStyle>
            <a:lvl1pPr algn="r">
              <a:defRPr sz="1100">
                <a:solidFill>
                  <a:schemeClr val="tx2"/>
                </a:solidFill>
                <a:latin typeface="+mj-lt"/>
              </a:defRPr>
            </a:lvl1pPr>
          </a:lstStyle>
          <a:p>
            <a:pPr algn="ctr" eaLnBrk="1" hangingPunct="1">
              <a:defRPr/>
            </a:pPr>
            <a:fld id="{6F1F4798-7000-4C09-BA8B-D4B970021D33}" type="slidenum">
              <a:rPr lang="en-US" smtClean="0">
                <a:solidFill>
                  <a:srgbClr val="133477"/>
                </a:solidFill>
              </a:rPr>
              <a:pPr algn="ctr" eaLnBrk="1" hangingPunct="1">
                <a:defRPr/>
              </a:pPr>
              <a:t>‹#›</a:t>
            </a:fld>
            <a:endParaRPr lang="en-US" dirty="0">
              <a:solidFill>
                <a:srgbClr val="133477"/>
              </a:solidFill>
            </a:endParaRPr>
          </a:p>
        </p:txBody>
      </p:sp>
      <p:sp>
        <p:nvSpPr>
          <p:cNvPr id="17" name="Title 1"/>
          <p:cNvSpPr>
            <a:spLocks noGrp="1"/>
          </p:cNvSpPr>
          <p:nvPr>
            <p:ph type="title"/>
          </p:nvPr>
        </p:nvSpPr>
        <p:spPr>
          <a:xfrm>
            <a:off x="334433" y="296880"/>
            <a:ext cx="11520000" cy="727075"/>
          </a:xfrm>
        </p:spPr>
        <p:txBody>
          <a:bodyPr anchor="b">
            <a:normAutofit/>
          </a:bodyPr>
          <a:lstStyle>
            <a:lvl1pPr algn="l">
              <a:defRPr sz="2000" b="1">
                <a:solidFill>
                  <a:schemeClr val="tx1"/>
                </a:solidFill>
                <a:latin typeface="+mj-lt"/>
              </a:defRPr>
            </a:lvl1pPr>
          </a:lstStyle>
          <a:p>
            <a:r>
              <a:rPr lang="en-US" dirty="0"/>
              <a:t>Click to edit Master title style</a:t>
            </a:r>
            <a:endParaRPr lang="en-GB" dirty="0"/>
          </a:p>
        </p:txBody>
      </p:sp>
      <p:sp>
        <p:nvSpPr>
          <p:cNvPr id="10" name="Text Placeholder 17"/>
          <p:cNvSpPr>
            <a:spLocks noGrp="1"/>
          </p:cNvSpPr>
          <p:nvPr>
            <p:ph type="body" sz="quarter" idx="14"/>
          </p:nvPr>
        </p:nvSpPr>
        <p:spPr>
          <a:xfrm>
            <a:off x="334446" y="2170101"/>
            <a:ext cx="3666052" cy="3727462"/>
          </a:xfrm>
          <a:prstGeom prst="rect">
            <a:avLst/>
          </a:prstGeom>
          <a:solidFill>
            <a:schemeClr val="accent3">
              <a:lumMod val="20000"/>
              <a:lumOff val="80000"/>
            </a:schemeClr>
          </a:solidFill>
        </p:spPr>
        <p:txBody>
          <a:bodyPr/>
          <a:lstStyle>
            <a:lvl1pPr marL="268288" indent="-177800">
              <a:buClr>
                <a:schemeClr val="tx1"/>
              </a:buClr>
              <a:defRPr sz="1200">
                <a:solidFill>
                  <a:schemeClr val="tx1"/>
                </a:solidFill>
                <a:latin typeface="+mn-lt"/>
              </a:defRPr>
            </a:lvl1pPr>
            <a:lvl2pPr marL="447675" indent="-177800">
              <a:buClr>
                <a:schemeClr val="tx1"/>
              </a:buClr>
              <a:buFont typeface="Courier New" pitchFamily="49" charset="0"/>
              <a:buChar char="o"/>
              <a:defRPr sz="1100">
                <a:solidFill>
                  <a:schemeClr val="tx1"/>
                </a:solidFill>
                <a:latin typeface="+mn-lt"/>
              </a:defRPr>
            </a:lvl2pPr>
            <a:lvl3pPr marL="625475" indent="-177800">
              <a:buClr>
                <a:schemeClr val="tx1"/>
              </a:buClr>
              <a:buFont typeface="Calibri" pitchFamily="34" charset="0"/>
              <a:buChar char="—"/>
              <a:defRPr sz="1050">
                <a:solidFill>
                  <a:schemeClr val="tx1"/>
                </a:solidFill>
                <a:latin typeface="+mn-lt"/>
              </a:defRPr>
            </a:lvl3pPr>
            <a:lvl4pPr marL="806450" indent="-190500">
              <a:buClr>
                <a:schemeClr val="tx1"/>
              </a:buClr>
              <a:buFont typeface="Wingdings" pitchFamily="2" charset="2"/>
              <a:buChar char="§"/>
              <a:defRPr sz="1000">
                <a:solidFill>
                  <a:schemeClr val="tx1"/>
                </a:solidFill>
                <a:latin typeface="+mn-lt"/>
              </a:defRPr>
            </a:lvl4pPr>
            <a:lvl5pPr marL="982663" indent="-177800">
              <a:buClr>
                <a:schemeClr val="tx1"/>
              </a:buClr>
              <a:buFont typeface="Calibri" pitchFamily="34" charset="0"/>
              <a:buChar char="□"/>
              <a:defRPr sz="9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5"/>
          </p:nvPr>
        </p:nvSpPr>
        <p:spPr>
          <a:xfrm>
            <a:off x="334446" y="1809738"/>
            <a:ext cx="3666052" cy="360362"/>
          </a:xfrm>
          <a:prstGeom prst="rect">
            <a:avLst/>
          </a:prstGeom>
          <a:solidFill>
            <a:schemeClr val="accent3">
              <a:lumMod val="50000"/>
            </a:schemeClr>
          </a:solidFill>
        </p:spPr>
        <p:txBody>
          <a:bodyPr/>
          <a:lstStyle>
            <a:lvl1pPr algn="ctr">
              <a:buNone/>
              <a:defRPr sz="1600" b="1">
                <a:solidFill>
                  <a:schemeClr val="bg1"/>
                </a:solidFill>
              </a:defRPr>
            </a:lvl1pPr>
          </a:lstStyle>
          <a:p>
            <a:pPr lvl="0"/>
            <a:r>
              <a:rPr lang="en-US"/>
              <a:t>Click to edit Master text styles</a:t>
            </a:r>
          </a:p>
        </p:txBody>
      </p:sp>
      <p:sp>
        <p:nvSpPr>
          <p:cNvPr id="19" name="Text Placeholder 12"/>
          <p:cNvSpPr>
            <a:spLocks noGrp="1"/>
          </p:cNvSpPr>
          <p:nvPr>
            <p:ph type="body" sz="quarter" idx="17"/>
          </p:nvPr>
        </p:nvSpPr>
        <p:spPr>
          <a:xfrm>
            <a:off x="4261421" y="1809738"/>
            <a:ext cx="3666052" cy="360362"/>
          </a:xfrm>
          <a:prstGeom prst="rect">
            <a:avLst/>
          </a:prstGeom>
          <a:solidFill>
            <a:schemeClr val="accent3">
              <a:lumMod val="50000"/>
            </a:schemeClr>
          </a:solidFill>
        </p:spPr>
        <p:txBody>
          <a:bodyPr/>
          <a:lstStyle>
            <a:lvl1pPr algn="ctr">
              <a:buNone/>
              <a:defRPr sz="1600" b="1">
                <a:solidFill>
                  <a:schemeClr val="bg1"/>
                </a:solidFill>
              </a:defRPr>
            </a:lvl1pPr>
          </a:lstStyle>
          <a:p>
            <a:pPr lvl="0"/>
            <a:r>
              <a:rPr lang="en-US"/>
              <a:t>Click to edit Master text styles</a:t>
            </a:r>
          </a:p>
        </p:txBody>
      </p:sp>
      <p:sp>
        <p:nvSpPr>
          <p:cNvPr id="21" name="Text Placeholder 12"/>
          <p:cNvSpPr>
            <a:spLocks noGrp="1"/>
          </p:cNvSpPr>
          <p:nvPr>
            <p:ph type="body" sz="quarter" idx="19"/>
          </p:nvPr>
        </p:nvSpPr>
        <p:spPr>
          <a:xfrm>
            <a:off x="8188394" y="1809738"/>
            <a:ext cx="3666052" cy="360362"/>
          </a:xfrm>
          <a:prstGeom prst="rect">
            <a:avLst/>
          </a:prstGeom>
          <a:solidFill>
            <a:schemeClr val="accent3">
              <a:lumMod val="50000"/>
            </a:schemeClr>
          </a:solidFill>
        </p:spPr>
        <p:txBody>
          <a:bodyPr/>
          <a:lstStyle>
            <a:lvl1pPr algn="ctr">
              <a:buNone/>
              <a:defRPr sz="1600" b="1">
                <a:solidFill>
                  <a:schemeClr val="bg1"/>
                </a:solidFill>
              </a:defRPr>
            </a:lvl1pPr>
          </a:lstStyle>
          <a:p>
            <a:pPr lvl="0"/>
            <a:r>
              <a:rPr lang="en-US"/>
              <a:t>Click to edit Master text styles</a:t>
            </a:r>
          </a:p>
        </p:txBody>
      </p:sp>
      <p:sp>
        <p:nvSpPr>
          <p:cNvPr id="27" name="Text Placeholder 36"/>
          <p:cNvSpPr>
            <a:spLocks noGrp="1"/>
          </p:cNvSpPr>
          <p:nvPr>
            <p:ph type="body" sz="quarter" idx="18"/>
          </p:nvPr>
        </p:nvSpPr>
        <p:spPr>
          <a:xfrm>
            <a:off x="328090" y="1268412"/>
            <a:ext cx="11526351" cy="360362"/>
          </a:xfrm>
          <a:prstGeom prst="rect">
            <a:avLst/>
          </a:prstGeom>
        </p:spPr>
        <p:txBody>
          <a:bodyPr/>
          <a:lstStyle>
            <a:lvl1pPr marL="0" algn="l">
              <a:spcBef>
                <a:spcPts val="0"/>
              </a:spcBef>
              <a:buNone/>
              <a:defRPr sz="1600" b="1">
                <a:solidFill>
                  <a:schemeClr val="tx1"/>
                </a:solidFill>
              </a:defRPr>
            </a:lvl1pPr>
          </a:lstStyle>
          <a:p>
            <a:pPr lvl="0"/>
            <a:r>
              <a:rPr lang="en-US"/>
              <a:t>Click to edit Master text styles</a:t>
            </a:r>
          </a:p>
        </p:txBody>
      </p:sp>
      <p:sp>
        <p:nvSpPr>
          <p:cNvPr id="29" name="Text Placeholder 17"/>
          <p:cNvSpPr>
            <a:spLocks noGrp="1"/>
          </p:cNvSpPr>
          <p:nvPr>
            <p:ph type="body" sz="quarter" idx="21"/>
          </p:nvPr>
        </p:nvSpPr>
        <p:spPr>
          <a:xfrm>
            <a:off x="4261421" y="2170101"/>
            <a:ext cx="3666052" cy="3727462"/>
          </a:xfrm>
          <a:prstGeom prst="rect">
            <a:avLst/>
          </a:prstGeom>
          <a:solidFill>
            <a:schemeClr val="accent3">
              <a:lumMod val="20000"/>
              <a:lumOff val="80000"/>
            </a:schemeClr>
          </a:solidFill>
        </p:spPr>
        <p:txBody>
          <a:bodyPr/>
          <a:lstStyle>
            <a:lvl1pPr marL="268288" indent="-177800">
              <a:buClr>
                <a:schemeClr val="tx1"/>
              </a:buClr>
              <a:defRPr sz="1200">
                <a:solidFill>
                  <a:schemeClr val="tx1"/>
                </a:solidFill>
                <a:latin typeface="+mn-lt"/>
              </a:defRPr>
            </a:lvl1pPr>
            <a:lvl2pPr marL="447675" indent="-177800">
              <a:buClr>
                <a:schemeClr val="tx1"/>
              </a:buClr>
              <a:buFont typeface="Courier New" pitchFamily="49" charset="0"/>
              <a:buChar char="o"/>
              <a:defRPr sz="1100">
                <a:solidFill>
                  <a:schemeClr val="tx1"/>
                </a:solidFill>
                <a:latin typeface="+mn-lt"/>
              </a:defRPr>
            </a:lvl2pPr>
            <a:lvl3pPr marL="625475" indent="-177800">
              <a:buClr>
                <a:schemeClr val="tx1"/>
              </a:buClr>
              <a:buFont typeface="Calibri" pitchFamily="34" charset="0"/>
              <a:buChar char="—"/>
              <a:defRPr sz="1050">
                <a:solidFill>
                  <a:schemeClr val="tx1"/>
                </a:solidFill>
                <a:latin typeface="+mn-lt"/>
              </a:defRPr>
            </a:lvl3pPr>
            <a:lvl4pPr marL="806450" indent="-190500">
              <a:buClr>
                <a:schemeClr val="tx1"/>
              </a:buClr>
              <a:buFont typeface="Wingdings" pitchFamily="2" charset="2"/>
              <a:buChar char="§"/>
              <a:defRPr sz="1000">
                <a:solidFill>
                  <a:schemeClr val="tx1"/>
                </a:solidFill>
                <a:latin typeface="+mn-lt"/>
              </a:defRPr>
            </a:lvl4pPr>
            <a:lvl5pPr marL="982663" indent="-177800">
              <a:buClr>
                <a:schemeClr val="tx1"/>
              </a:buClr>
              <a:buFont typeface="Calibri" pitchFamily="34" charset="0"/>
              <a:buChar char="□"/>
              <a:defRPr sz="9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Text Placeholder 17"/>
          <p:cNvSpPr>
            <a:spLocks noGrp="1"/>
          </p:cNvSpPr>
          <p:nvPr>
            <p:ph type="body" sz="quarter" idx="22"/>
          </p:nvPr>
        </p:nvSpPr>
        <p:spPr>
          <a:xfrm>
            <a:off x="8191527" y="2170101"/>
            <a:ext cx="3666052" cy="3727462"/>
          </a:xfrm>
          <a:prstGeom prst="rect">
            <a:avLst/>
          </a:prstGeom>
          <a:solidFill>
            <a:schemeClr val="accent3">
              <a:lumMod val="20000"/>
              <a:lumOff val="80000"/>
            </a:schemeClr>
          </a:solidFill>
        </p:spPr>
        <p:txBody>
          <a:bodyPr/>
          <a:lstStyle>
            <a:lvl1pPr marL="268288" indent="-177800">
              <a:buClr>
                <a:schemeClr val="tx1"/>
              </a:buClr>
              <a:defRPr sz="1200">
                <a:solidFill>
                  <a:schemeClr val="tx1"/>
                </a:solidFill>
                <a:latin typeface="+mn-lt"/>
              </a:defRPr>
            </a:lvl1pPr>
            <a:lvl2pPr marL="447675" indent="-177800">
              <a:buClr>
                <a:schemeClr val="tx1"/>
              </a:buClr>
              <a:buFont typeface="Courier New" pitchFamily="49" charset="0"/>
              <a:buChar char="o"/>
              <a:defRPr sz="1100">
                <a:solidFill>
                  <a:schemeClr val="tx1"/>
                </a:solidFill>
                <a:latin typeface="+mn-lt"/>
              </a:defRPr>
            </a:lvl2pPr>
            <a:lvl3pPr marL="625475" indent="-177800">
              <a:buClr>
                <a:schemeClr val="tx1"/>
              </a:buClr>
              <a:buFont typeface="Calibri" pitchFamily="34" charset="0"/>
              <a:buChar char="—"/>
              <a:defRPr sz="1050">
                <a:solidFill>
                  <a:schemeClr val="tx1"/>
                </a:solidFill>
                <a:latin typeface="+mn-lt"/>
              </a:defRPr>
            </a:lvl3pPr>
            <a:lvl4pPr marL="806450" indent="-190500">
              <a:buClr>
                <a:schemeClr val="tx1"/>
              </a:buClr>
              <a:buFont typeface="Wingdings" pitchFamily="2" charset="2"/>
              <a:buChar char="§"/>
              <a:defRPr sz="1000">
                <a:solidFill>
                  <a:schemeClr val="tx1"/>
                </a:solidFill>
                <a:latin typeface="+mn-lt"/>
              </a:defRPr>
            </a:lvl4pPr>
            <a:lvl5pPr marL="982663" indent="-177800">
              <a:buClr>
                <a:schemeClr val="tx1"/>
              </a:buClr>
              <a:buFont typeface="Calibri" pitchFamily="34" charset="0"/>
              <a:buChar char="□"/>
              <a:defRPr sz="9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5" name="Text Placeholder 20"/>
          <p:cNvSpPr>
            <a:spLocks noGrp="1"/>
          </p:cNvSpPr>
          <p:nvPr>
            <p:ph type="body" sz="quarter" idx="12"/>
          </p:nvPr>
        </p:nvSpPr>
        <p:spPr>
          <a:xfrm>
            <a:off x="334433" y="6567975"/>
            <a:ext cx="9744000" cy="221263"/>
          </a:xfrm>
          <a:prstGeom prst="rect">
            <a:avLst/>
          </a:prstGeom>
        </p:spPr>
        <p:txBody>
          <a:bodyPr anchor="b"/>
          <a:lstStyle>
            <a:lvl1pPr marL="444500" indent="-444500">
              <a:buNone/>
              <a:defRPr sz="800" baseline="0">
                <a:solidFill>
                  <a:schemeClr val="tx1"/>
                </a:solidFill>
              </a:defRPr>
            </a:lvl1pPr>
          </a:lstStyle>
          <a:p>
            <a:pPr lvl="0"/>
            <a:r>
              <a:rPr lang="en-US"/>
              <a:t>Click to edit Master text styles</a:t>
            </a:r>
          </a:p>
        </p:txBody>
      </p:sp>
      <p:sp>
        <p:nvSpPr>
          <p:cNvPr id="16" name="Slide Number Placeholder 5">
            <a:extLst>
              <a:ext uri="{FF2B5EF4-FFF2-40B4-BE49-F238E27FC236}">
                <a16:creationId xmlns:a16="http://schemas.microsoft.com/office/drawing/2014/main" id="{C4908792-537A-4369-9758-0DD3D561817E}"/>
              </a:ext>
            </a:extLst>
          </p:cNvPr>
          <p:cNvSpPr txBox="1">
            <a:spLocks/>
          </p:cNvSpPr>
          <p:nvPr userDrawn="1"/>
        </p:nvSpPr>
        <p:spPr>
          <a:xfrm>
            <a:off x="8651875" y="458300"/>
            <a:ext cx="3203575" cy="252412"/>
          </a:xfrm>
          <a:prstGeom prst="rect">
            <a:avLst/>
          </a:prstGeom>
        </p:spPr>
        <p:txBody>
          <a:bodyPr rIns="0" anchor="b"/>
          <a:lstStyle>
            <a:defPPr>
              <a:defRPr lang="en-US"/>
            </a:defPPr>
            <a:lvl1pPr algn="r" defTabSz="457200" rtl="0" eaLnBrk="1" fontAlgn="base" hangingPunct="1">
              <a:spcBef>
                <a:spcPct val="0"/>
              </a:spcBef>
              <a:spcAft>
                <a:spcPct val="0"/>
              </a:spcAft>
              <a:defRPr sz="1400" b="1" kern="1200" smtClean="0">
                <a:solidFill>
                  <a:srgbClr val="C00000"/>
                </a:solidFill>
                <a:latin typeface="+mn-lt"/>
                <a:ea typeface="MS PGothic" panose="020B0600070205080204" pitchFamily="34" charset="-128"/>
                <a:cs typeface="+mn-cs"/>
              </a:defRPr>
            </a:lvl1pPr>
            <a:lvl2pPr marL="457200" algn="l" defTabSz="457200"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9pPr>
          </a:lstStyle>
          <a:p>
            <a:pPr>
              <a:defRPr/>
            </a:pPr>
            <a:r>
              <a:rPr lang="en-US" altLang="en-US" dirty="0"/>
              <a:t>Strictly Private &amp; Confidential</a:t>
            </a:r>
          </a:p>
          <a:p>
            <a:pPr>
              <a:defRPr/>
            </a:pPr>
            <a:r>
              <a:rPr lang="en-US" altLang="en-US" dirty="0"/>
              <a:t>NOT FOR ONWARD COMMUNICATION</a:t>
            </a:r>
          </a:p>
        </p:txBody>
      </p:sp>
    </p:spTree>
    <p:extLst>
      <p:ext uri="{BB962C8B-B14F-4D97-AF65-F5344CB8AC3E}">
        <p14:creationId xmlns:p14="http://schemas.microsoft.com/office/powerpoint/2010/main" val="407998737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2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16A62FB-516A-4116-9DE2-2AF95D9D9269}"/>
              </a:ext>
            </a:extLst>
          </p:cNvPr>
          <p:cNvSpPr/>
          <p:nvPr/>
        </p:nvSpPr>
        <p:spPr>
          <a:xfrm>
            <a:off x="0" y="0"/>
            <a:ext cx="9144000" cy="6858000"/>
          </a:xfrm>
          <a:prstGeom prst="rect">
            <a:avLst/>
          </a:prstGeom>
          <a:solidFill>
            <a:srgbClr val="FB002D"/>
          </a:solidFill>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sz="1800" dirty="0"/>
          </a:p>
        </p:txBody>
      </p:sp>
      <p:sp>
        <p:nvSpPr>
          <p:cNvPr id="10" name="Subtitle 2"/>
          <p:cNvSpPr>
            <a:spLocks noGrp="1"/>
          </p:cNvSpPr>
          <p:nvPr>
            <p:ph type="subTitle" idx="1"/>
          </p:nvPr>
        </p:nvSpPr>
        <p:spPr>
          <a:xfrm>
            <a:off x="9516534" y="1427164"/>
            <a:ext cx="2275417" cy="2078037"/>
          </a:xfrm>
        </p:spPr>
        <p:txBody>
          <a:bodyPr tIns="0" bIns="0"/>
          <a:lstStyle>
            <a:lvl1pPr marL="0" indent="0" algn="l">
              <a:buNone/>
              <a:defRPr sz="2400">
                <a:solidFill>
                  <a:srgbClr val="00469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endParaRPr lang="en-US" dirty="0"/>
          </a:p>
        </p:txBody>
      </p:sp>
      <p:sp>
        <p:nvSpPr>
          <p:cNvPr id="12" name="Title 9"/>
          <p:cNvSpPr>
            <a:spLocks noGrp="1"/>
          </p:cNvSpPr>
          <p:nvPr>
            <p:ph type="title"/>
          </p:nvPr>
        </p:nvSpPr>
        <p:spPr>
          <a:xfrm>
            <a:off x="395818" y="1427164"/>
            <a:ext cx="8366479" cy="960437"/>
          </a:xfrm>
        </p:spPr>
        <p:txBody>
          <a:bodyPr tIns="0" rIns="0" bIns="0"/>
          <a:lstStyle>
            <a:lvl1pPr algn="r">
              <a:defRPr sz="2400">
                <a:solidFill>
                  <a:srgbClr val="FFFFFF"/>
                </a:solidFill>
              </a:defRPr>
            </a:lvl1pPr>
          </a:lstStyle>
          <a:p>
            <a:r>
              <a:rPr lang="en-GB" dirty="0"/>
              <a:t>Click to edit Master title style</a:t>
            </a:r>
            <a:endParaRPr lang="en-US" dirty="0"/>
          </a:p>
        </p:txBody>
      </p:sp>
      <p:sp>
        <p:nvSpPr>
          <p:cNvPr id="13" name="Picture Placeholder 2"/>
          <p:cNvSpPr>
            <a:spLocks noGrp="1" noChangeAspect="1"/>
          </p:cNvSpPr>
          <p:nvPr>
            <p:ph type="pic" idx="14"/>
          </p:nvPr>
        </p:nvSpPr>
        <p:spPr>
          <a:xfrm>
            <a:off x="6299200" y="4266141"/>
            <a:ext cx="2463096" cy="1847322"/>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dirty="0"/>
              <a:t>Click icon to add picture</a:t>
            </a:r>
            <a:endParaRPr lang="en-US" noProof="0" dirty="0"/>
          </a:p>
        </p:txBody>
      </p:sp>
      <p:sp>
        <p:nvSpPr>
          <p:cNvPr id="14" name="Picture Placeholder 2"/>
          <p:cNvSpPr>
            <a:spLocks noGrp="1" noChangeAspect="1"/>
          </p:cNvSpPr>
          <p:nvPr>
            <p:ph type="pic" idx="15"/>
          </p:nvPr>
        </p:nvSpPr>
        <p:spPr>
          <a:xfrm>
            <a:off x="3347509" y="4266141"/>
            <a:ext cx="2463096" cy="1847322"/>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dirty="0"/>
              <a:t>Click icon to add picture</a:t>
            </a:r>
            <a:endParaRPr lang="en-US" noProof="0" dirty="0"/>
          </a:p>
        </p:txBody>
      </p:sp>
      <p:sp>
        <p:nvSpPr>
          <p:cNvPr id="15" name="Picture Placeholder 2"/>
          <p:cNvSpPr>
            <a:spLocks noGrp="1" noChangeAspect="1"/>
          </p:cNvSpPr>
          <p:nvPr>
            <p:ph type="pic" idx="16"/>
          </p:nvPr>
        </p:nvSpPr>
        <p:spPr>
          <a:xfrm>
            <a:off x="395817" y="4266141"/>
            <a:ext cx="2463096" cy="1847322"/>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dirty="0"/>
              <a:t>Click icon to add picture</a:t>
            </a:r>
            <a:endParaRPr lang="en-US" noProof="0" dirty="0"/>
          </a:p>
        </p:txBody>
      </p:sp>
      <p:sp>
        <p:nvSpPr>
          <p:cNvPr id="11" name="Slide Number Placeholder 5">
            <a:extLst>
              <a:ext uri="{FF2B5EF4-FFF2-40B4-BE49-F238E27FC236}">
                <a16:creationId xmlns:a16="http://schemas.microsoft.com/office/drawing/2014/main" id="{F64D1F82-82CC-4777-B0E4-664345ECB4EE}"/>
              </a:ext>
            </a:extLst>
          </p:cNvPr>
          <p:cNvSpPr>
            <a:spLocks noGrp="1"/>
          </p:cNvSpPr>
          <p:nvPr>
            <p:ph type="sldNum" sz="quarter" idx="4"/>
          </p:nvPr>
        </p:nvSpPr>
        <p:spPr>
          <a:xfrm>
            <a:off x="11620541" y="6113466"/>
            <a:ext cx="395817" cy="744537"/>
          </a:xfrm>
          <a:prstGeom prst="rect">
            <a:avLst/>
          </a:prstGeom>
        </p:spPr>
        <p:txBody>
          <a:bodyPr vert="horz" wrap="square" lIns="91440" tIns="45720" rIns="0" bIns="45720" numCol="1" anchor="b" anchorCtr="0" compatLnSpc="1">
            <a:prstTxWarp prst="textNoShape">
              <a:avLst/>
            </a:prstTxWarp>
          </a:bodyPr>
          <a:lstStyle>
            <a:lvl1pPr algn="r">
              <a:defRPr sz="1100">
                <a:solidFill>
                  <a:schemeClr val="tx1"/>
                </a:solidFill>
                <a:latin typeface="Trebuchet MS" panose="020B0603020202020204" pitchFamily="34" charset="0"/>
              </a:defRPr>
            </a:lvl1pPr>
          </a:lstStyle>
          <a:p>
            <a:fld id="{95980047-3758-4602-87DE-EAFBF309680F}" type="slidenum">
              <a:rPr lang="en-GB" smtClean="0"/>
              <a:t>‹#›</a:t>
            </a:fld>
            <a:endParaRPr lang="en-GB" dirty="0"/>
          </a:p>
        </p:txBody>
      </p:sp>
    </p:spTree>
    <p:extLst>
      <p:ext uri="{BB962C8B-B14F-4D97-AF65-F5344CB8AC3E}">
        <p14:creationId xmlns:p14="http://schemas.microsoft.com/office/powerpoint/2010/main" val="285564778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imple quote slide">
    <p:bg>
      <p:bgPr>
        <a:solidFill>
          <a:schemeClr val="bg1">
            <a:lumMod val="95000"/>
          </a:schemeClr>
        </a:solidFill>
        <a:effectLst/>
      </p:bgPr>
    </p:bg>
    <p:spTree>
      <p:nvGrpSpPr>
        <p:cNvPr id="1" name=""/>
        <p:cNvGrpSpPr/>
        <p:nvPr/>
      </p:nvGrpSpPr>
      <p:grpSpPr>
        <a:xfrm>
          <a:off x="0" y="0"/>
          <a:ext cx="0" cy="0"/>
          <a:chOff x="0" y="0"/>
          <a:chExt cx="0" cy="0"/>
        </a:xfrm>
      </p:grpSpPr>
      <p:sp>
        <p:nvSpPr>
          <p:cNvPr id="14" name="Slide Number Placeholder">
            <a:extLst>
              <a:ext uri="{FF2B5EF4-FFF2-40B4-BE49-F238E27FC236}">
                <a16:creationId xmlns:a16="http://schemas.microsoft.com/office/drawing/2014/main" id="{5D913410-9DC7-834A-B330-976E80A5685D}"/>
              </a:ext>
            </a:extLst>
          </p:cNvPr>
          <p:cNvSpPr>
            <a:spLocks noGrp="1"/>
          </p:cNvSpPr>
          <p:nvPr>
            <p:ph type="sldNum" sz="quarter" idx="4"/>
          </p:nvPr>
        </p:nvSpPr>
        <p:spPr>
          <a:xfrm>
            <a:off x="4662087" y="6250891"/>
            <a:ext cx="2867826" cy="365125"/>
          </a:xfrm>
          <a:prstGeom prst="rect">
            <a:avLst/>
          </a:prstGeom>
        </p:spPr>
        <p:txBody>
          <a:bodyPr/>
          <a:lstStyle>
            <a:lvl1pPr>
              <a:defRPr sz="2000">
                <a:solidFill>
                  <a:srgbClr val="003C57"/>
                </a:solidFill>
              </a:defRPr>
            </a:lvl1pPr>
          </a:lstStyle>
          <a:p>
            <a:pPr algn="ctr"/>
            <a:fld id="{232417FB-2EF4-EC49-BC13-97513C37E9E5}" type="slidenum">
              <a:rPr lang="en-US" smtClean="0"/>
              <a:pPr algn="ctr"/>
              <a:t>‹#›</a:t>
            </a:fld>
            <a:endParaRPr lang="en-US" dirty="0"/>
          </a:p>
        </p:txBody>
      </p:sp>
      <p:sp>
        <p:nvSpPr>
          <p:cNvPr id="15" name="Footer Placeholder">
            <a:extLst>
              <a:ext uri="{FF2B5EF4-FFF2-40B4-BE49-F238E27FC236}">
                <a16:creationId xmlns:a16="http://schemas.microsoft.com/office/drawing/2014/main" id="{EA701F44-73AD-C64B-8322-8400CB324EFB}"/>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rgbClr val="003C57"/>
                </a:solidFill>
              </a:defRPr>
            </a:lvl1pPr>
          </a:lstStyle>
          <a:p>
            <a:endParaRPr lang="en-US" dirty="0"/>
          </a:p>
        </p:txBody>
      </p:sp>
      <p:sp>
        <p:nvSpPr>
          <p:cNvPr id="8" name="Title">
            <a:extLst>
              <a:ext uri="{FF2B5EF4-FFF2-40B4-BE49-F238E27FC236}">
                <a16:creationId xmlns:a16="http://schemas.microsoft.com/office/drawing/2014/main" id="{4823432E-3586-604D-92FD-6766ABAEBE02}"/>
              </a:ext>
            </a:extLst>
          </p:cNvPr>
          <p:cNvSpPr>
            <a:spLocks noGrp="1"/>
          </p:cNvSpPr>
          <p:nvPr>
            <p:ph type="title" hasCustomPrompt="1"/>
          </p:nvPr>
        </p:nvSpPr>
        <p:spPr>
          <a:xfrm>
            <a:off x="838200" y="2944961"/>
            <a:ext cx="10515600" cy="877163"/>
          </a:xfrm>
          <a:prstGeom prst="rect">
            <a:avLst/>
          </a:prstGeom>
        </p:spPr>
        <p:txBody>
          <a:bodyPr tIns="0" rIns="0" bIns="0" anchor="t" anchorCtr="0">
            <a:spAutoFit/>
          </a:bodyPr>
          <a:lstStyle>
            <a:lvl1pPr algn="l">
              <a:defRPr sz="6000" b="0">
                <a:solidFill>
                  <a:srgbClr val="003C57"/>
                </a:solidFill>
              </a:defRPr>
            </a:lvl1pPr>
          </a:lstStyle>
          <a:p>
            <a:r>
              <a:rPr lang="en-US" dirty="0"/>
              <a:t>“Simple quote.”</a:t>
            </a:r>
          </a:p>
        </p:txBody>
      </p:sp>
      <p:sp>
        <p:nvSpPr>
          <p:cNvPr id="7" name="Author">
            <a:extLst>
              <a:ext uri="{FF2B5EF4-FFF2-40B4-BE49-F238E27FC236}">
                <a16:creationId xmlns:a16="http://schemas.microsoft.com/office/drawing/2014/main" id="{5098D52F-C970-2B40-8239-2E25388E3E8D}"/>
              </a:ext>
            </a:extLst>
          </p:cNvPr>
          <p:cNvSpPr>
            <a:spLocks noGrp="1"/>
          </p:cNvSpPr>
          <p:nvPr>
            <p:ph type="subTitle" idx="1" hasCustomPrompt="1"/>
          </p:nvPr>
        </p:nvSpPr>
        <p:spPr>
          <a:xfrm>
            <a:off x="838200" y="3916872"/>
            <a:ext cx="10515600" cy="1655762"/>
          </a:xfrm>
          <a:prstGeom prst="rect">
            <a:avLst/>
          </a:prstGeom>
        </p:spPr>
        <p:txBody>
          <a:bodyPr tIns="72000" bIns="0" anchor="t" anchorCtr="0">
            <a:normAutofit/>
          </a:bodyPr>
          <a:lstStyle>
            <a:lvl1pPr marL="0" indent="0" algn="l">
              <a:lnSpc>
                <a:spcPts val="3800"/>
              </a:lnSpc>
              <a:spcBef>
                <a:spcPts val="0"/>
              </a:spcBef>
              <a:spcAft>
                <a:spcPts val="1000"/>
              </a:spcAft>
              <a:buNone/>
              <a:defRPr sz="3200">
                <a:solidFill>
                  <a:srgbClr val="003C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a:t>
            </a:r>
          </a:p>
        </p:txBody>
      </p:sp>
      <p:pic>
        <p:nvPicPr>
          <p:cNvPr id="10" name="Logo" descr="Office for National Statistics Logo">
            <a:extLst>
              <a:ext uri="{FF2B5EF4-FFF2-40B4-BE49-F238E27FC236}">
                <a16:creationId xmlns:a16="http://schemas.microsoft.com/office/drawing/2014/main" id="{99919A97-416F-9E4A-94EF-4E9EE0165D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8200" y="6286250"/>
            <a:ext cx="3331866" cy="288762"/>
          </a:xfrm>
          <a:prstGeom prst="rect">
            <a:avLst/>
          </a:prstGeom>
        </p:spPr>
      </p:pic>
    </p:spTree>
    <p:extLst>
      <p:ext uri="{BB962C8B-B14F-4D97-AF65-F5344CB8AC3E}">
        <p14:creationId xmlns:p14="http://schemas.microsoft.com/office/powerpoint/2010/main" val="27090653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ext left, one image right">
    <p:bg>
      <p:bgPr>
        <a:solidFill>
          <a:schemeClr val="bg1">
            <a:lumMod val="95000"/>
          </a:schemeClr>
        </a:solidFill>
        <a:effectLst/>
      </p:bgPr>
    </p:bg>
    <p:spTree>
      <p:nvGrpSpPr>
        <p:cNvPr id="1" name=""/>
        <p:cNvGrpSpPr/>
        <p:nvPr/>
      </p:nvGrpSpPr>
      <p:grpSpPr>
        <a:xfrm>
          <a:off x="0" y="0"/>
          <a:ext cx="0" cy="0"/>
          <a:chOff x="0" y="0"/>
          <a:chExt cx="0" cy="0"/>
        </a:xfrm>
      </p:grpSpPr>
      <p:sp>
        <p:nvSpPr>
          <p:cNvPr id="4" name="Slide Number Placeholder">
            <a:extLst>
              <a:ext uri="{FF2B5EF4-FFF2-40B4-BE49-F238E27FC236}">
                <a16:creationId xmlns:a16="http://schemas.microsoft.com/office/drawing/2014/main" id="{82EEFC85-1348-1B4D-BA3F-948A6B6A2C11}"/>
              </a:ext>
            </a:extLst>
          </p:cNvPr>
          <p:cNvSpPr>
            <a:spLocks noGrp="1"/>
          </p:cNvSpPr>
          <p:nvPr>
            <p:ph type="sldNum" sz="quarter" idx="4"/>
          </p:nvPr>
        </p:nvSpPr>
        <p:spPr>
          <a:xfrm>
            <a:off x="4662087" y="6250891"/>
            <a:ext cx="2867826" cy="365125"/>
          </a:xfrm>
          <a:prstGeom prst="rect">
            <a:avLst/>
          </a:prstGeom>
        </p:spPr>
        <p:txBody>
          <a:bodyPr/>
          <a:lstStyle>
            <a:lvl1pPr>
              <a:defRPr sz="2000">
                <a:solidFill>
                  <a:srgbClr val="003C57"/>
                </a:solidFill>
              </a:defRPr>
            </a:lvl1pPr>
          </a:lstStyle>
          <a:p>
            <a:pPr algn="ctr"/>
            <a:fld id="{232417FB-2EF4-EC49-BC13-97513C37E9E5}" type="slidenum">
              <a:rPr lang="en-US" smtClean="0"/>
              <a:pPr algn="ctr"/>
              <a:t>‹#›</a:t>
            </a:fld>
            <a:endParaRPr lang="en-US" dirty="0"/>
          </a:p>
        </p:txBody>
      </p:sp>
      <p:sp>
        <p:nvSpPr>
          <p:cNvPr id="5" name="Footer Placeholder">
            <a:extLst>
              <a:ext uri="{FF2B5EF4-FFF2-40B4-BE49-F238E27FC236}">
                <a16:creationId xmlns:a16="http://schemas.microsoft.com/office/drawing/2014/main" id="{3C90513C-0A03-D04D-8CDF-DC791864E4FF}"/>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rgbClr val="003C57"/>
                </a:solidFill>
              </a:defRPr>
            </a:lvl1pPr>
          </a:lstStyle>
          <a:p>
            <a:endParaRPr lang="en-US" dirty="0"/>
          </a:p>
        </p:txBody>
      </p:sp>
      <p:sp>
        <p:nvSpPr>
          <p:cNvPr id="2" name="Title">
            <a:extLst>
              <a:ext uri="{FF2B5EF4-FFF2-40B4-BE49-F238E27FC236}">
                <a16:creationId xmlns:a16="http://schemas.microsoft.com/office/drawing/2014/main" id="{476494BA-54FA-6240-A5E0-73528C13DB5B}"/>
              </a:ext>
            </a:extLst>
          </p:cNvPr>
          <p:cNvSpPr>
            <a:spLocks noGrp="1"/>
          </p:cNvSpPr>
          <p:nvPr>
            <p:ph type="title" hasCustomPrompt="1"/>
          </p:nvPr>
        </p:nvSpPr>
        <p:spPr>
          <a:xfrm>
            <a:off x="838201" y="657094"/>
            <a:ext cx="2819400" cy="814519"/>
          </a:xfrm>
          <a:prstGeom prst="rect">
            <a:avLst/>
          </a:prstGeom>
        </p:spPr>
        <p:txBody>
          <a:bodyPr>
            <a:noAutofit/>
          </a:bodyPr>
          <a:lstStyle>
            <a:lvl1pPr>
              <a:defRPr sz="3200"/>
            </a:lvl1pPr>
          </a:lstStyle>
          <a:p>
            <a:pPr lvl="0"/>
            <a:r>
              <a:rPr lang="en-US" dirty="0"/>
              <a:t>Text left, one image right</a:t>
            </a:r>
          </a:p>
        </p:txBody>
      </p:sp>
      <p:sp>
        <p:nvSpPr>
          <p:cNvPr id="10" name="Content Placeholder">
            <a:extLst>
              <a:ext uri="{FF2B5EF4-FFF2-40B4-BE49-F238E27FC236}">
                <a16:creationId xmlns:a16="http://schemas.microsoft.com/office/drawing/2014/main" id="{5A53190F-4F68-9B4A-91AB-F520FB436C9F}"/>
              </a:ext>
            </a:extLst>
          </p:cNvPr>
          <p:cNvSpPr>
            <a:spLocks noGrp="1"/>
          </p:cNvSpPr>
          <p:nvPr>
            <p:ph sz="half" idx="10" hasCustomPrompt="1"/>
          </p:nvPr>
        </p:nvSpPr>
        <p:spPr>
          <a:xfrm>
            <a:off x="838200" y="1681675"/>
            <a:ext cx="2819401" cy="2329227"/>
          </a:xfrm>
          <a:prstGeom prst="rect">
            <a:avLst/>
          </a:prstGeom>
        </p:spPr>
        <p:txBody>
          <a:bodyPr wrap="square" tIns="0" bIns="0" anchor="t" anchorCtr="0"/>
          <a:lstStyle>
            <a:lvl1pPr>
              <a:spcAft>
                <a:spcPts val="500"/>
              </a:spcAft>
              <a:defRPr sz="3200">
                <a:solidFill>
                  <a:schemeClr val="tx1"/>
                </a:solidFill>
              </a:defRPr>
            </a:lvl1pPr>
            <a:lvl2pPr>
              <a:spcAft>
                <a:spcPts val="500"/>
              </a:spcAft>
              <a:defRPr sz="2800">
                <a:solidFill>
                  <a:schemeClr val="tx1"/>
                </a:solidFill>
              </a:defRPr>
            </a:lvl2pPr>
            <a:lvl3pPr>
              <a:spcAft>
                <a:spcPts val="500"/>
              </a:spcAft>
              <a:defRPr sz="2400">
                <a:solidFill>
                  <a:schemeClr val="tx1"/>
                </a:solidFill>
              </a:defRPr>
            </a:lvl3pPr>
            <a:lvl4pPr>
              <a:spcAft>
                <a:spcPts val="500"/>
              </a:spcAft>
              <a:defRPr sz="2000">
                <a:solidFill>
                  <a:schemeClr val="tx1"/>
                </a:solidFill>
              </a:defRPr>
            </a:lvl4pPr>
            <a:lvl5pPr>
              <a:spcAft>
                <a:spcPts val="500"/>
              </a:spcAft>
              <a:defRPr sz="2000">
                <a:solidFill>
                  <a:schemeClr val="tx1"/>
                </a:solidFill>
              </a:defRPr>
            </a:lvl5pPr>
          </a:lstStyle>
          <a:p>
            <a:pPr lvl="0"/>
            <a:r>
              <a:rPr lang="en-US" dirty="0"/>
              <a:t>Single colum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a:extLst>
              <a:ext uri="{FF2B5EF4-FFF2-40B4-BE49-F238E27FC236}">
                <a16:creationId xmlns:a16="http://schemas.microsoft.com/office/drawing/2014/main" id="{3AEE310C-A9B2-BC47-9C43-3532231F7D72}"/>
              </a:ext>
            </a:extLst>
          </p:cNvPr>
          <p:cNvSpPr>
            <a:spLocks noGrp="1"/>
          </p:cNvSpPr>
          <p:nvPr>
            <p:ph idx="1" hasCustomPrompt="1"/>
          </p:nvPr>
        </p:nvSpPr>
        <p:spPr>
          <a:xfrm>
            <a:off x="3966959" y="657094"/>
            <a:ext cx="7386841" cy="5553206"/>
          </a:xfrm>
          <a:prstGeom prst="rect">
            <a:avLst/>
          </a:prstGeom>
          <a:solidFill>
            <a:schemeClr val="bg2"/>
          </a:solidFill>
        </p:spPr>
        <p:txBody>
          <a:bodyPr wrap="square" lIns="720000" tIns="720000" rIns="720000" bIns="720000" anchor="ctr" anchorCtr="0"/>
          <a:lstStyle>
            <a:lvl1pPr marL="0" indent="0">
              <a:buNone/>
              <a:defRPr sz="3200">
                <a:solidFill>
                  <a:schemeClr val="tx2"/>
                </a:solidFill>
              </a:defRPr>
            </a:lvl1pPr>
            <a:lvl2pPr>
              <a:defRPr sz="2800"/>
            </a:lvl2pPr>
            <a:lvl3pPr>
              <a:defRPr sz="2400"/>
            </a:lvl3pPr>
            <a:lvl4pPr>
              <a:defRPr sz="2000"/>
            </a:lvl4pPr>
            <a:lvl5pPr>
              <a:defRPr sz="2000"/>
            </a:lvl5pPr>
          </a:lstStyle>
          <a:p>
            <a:pPr lvl="0"/>
            <a:r>
              <a:rPr lang="en-US" dirty="0"/>
              <a:t>Add your image here</a:t>
            </a:r>
            <a:br>
              <a:rPr lang="en-US" dirty="0"/>
            </a:br>
            <a:r>
              <a:rPr lang="en-US" dirty="0"/>
              <a:t>(aspect ratio 4:3)</a:t>
            </a:r>
          </a:p>
        </p:txBody>
      </p:sp>
      <p:pic>
        <p:nvPicPr>
          <p:cNvPr id="6" name="Logo" descr="Office for National Statistics Logo">
            <a:extLst>
              <a:ext uri="{FF2B5EF4-FFF2-40B4-BE49-F238E27FC236}">
                <a16:creationId xmlns:a16="http://schemas.microsoft.com/office/drawing/2014/main" id="{89C3BF26-5A0A-2F4A-8A8D-6072F11EC8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8200" y="6286250"/>
            <a:ext cx="3331866" cy="288762"/>
          </a:xfrm>
          <a:prstGeom prst="rect">
            <a:avLst/>
          </a:prstGeom>
        </p:spPr>
      </p:pic>
    </p:spTree>
    <p:extLst>
      <p:ext uri="{BB962C8B-B14F-4D97-AF65-F5344CB8AC3E}">
        <p14:creationId xmlns:p14="http://schemas.microsoft.com/office/powerpoint/2010/main" val="9872635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xt left, two images right">
    <p:bg>
      <p:bgPr>
        <a:solidFill>
          <a:schemeClr val="bg1">
            <a:lumMod val="95000"/>
          </a:schemeClr>
        </a:solidFill>
        <a:effectLst/>
      </p:bgPr>
    </p:bg>
    <p:spTree>
      <p:nvGrpSpPr>
        <p:cNvPr id="1" name=""/>
        <p:cNvGrpSpPr/>
        <p:nvPr/>
      </p:nvGrpSpPr>
      <p:grpSpPr>
        <a:xfrm>
          <a:off x="0" y="0"/>
          <a:ext cx="0" cy="0"/>
          <a:chOff x="0" y="0"/>
          <a:chExt cx="0" cy="0"/>
        </a:xfrm>
      </p:grpSpPr>
      <p:sp>
        <p:nvSpPr>
          <p:cNvPr id="5" name="Slide Number Placeholder">
            <a:extLst>
              <a:ext uri="{FF2B5EF4-FFF2-40B4-BE49-F238E27FC236}">
                <a16:creationId xmlns:a16="http://schemas.microsoft.com/office/drawing/2014/main" id="{ADE7D3AB-96D3-4643-83A3-E505E78A73E6}"/>
              </a:ext>
            </a:extLst>
          </p:cNvPr>
          <p:cNvSpPr>
            <a:spLocks noGrp="1"/>
          </p:cNvSpPr>
          <p:nvPr>
            <p:ph type="sldNum" sz="quarter" idx="4"/>
          </p:nvPr>
        </p:nvSpPr>
        <p:spPr>
          <a:xfrm>
            <a:off x="4662087" y="6250891"/>
            <a:ext cx="2867826" cy="365125"/>
          </a:xfrm>
          <a:prstGeom prst="rect">
            <a:avLst/>
          </a:prstGeom>
        </p:spPr>
        <p:txBody>
          <a:bodyPr/>
          <a:lstStyle>
            <a:lvl1pPr>
              <a:defRPr sz="2000">
                <a:solidFill>
                  <a:srgbClr val="003C57"/>
                </a:solidFill>
              </a:defRPr>
            </a:lvl1pPr>
          </a:lstStyle>
          <a:p>
            <a:pPr algn="ctr"/>
            <a:fld id="{232417FB-2EF4-EC49-BC13-97513C37E9E5}" type="slidenum">
              <a:rPr lang="en-US" smtClean="0"/>
              <a:pPr algn="ctr"/>
              <a:t>‹#›</a:t>
            </a:fld>
            <a:endParaRPr lang="en-US" dirty="0"/>
          </a:p>
        </p:txBody>
      </p:sp>
      <p:sp>
        <p:nvSpPr>
          <p:cNvPr id="6" name="Footer Placeholder">
            <a:extLst>
              <a:ext uri="{FF2B5EF4-FFF2-40B4-BE49-F238E27FC236}">
                <a16:creationId xmlns:a16="http://schemas.microsoft.com/office/drawing/2014/main" id="{9F2D74FC-DE0D-9142-9052-7DC552A8C99E}"/>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rgbClr val="003C57"/>
                </a:solidFill>
              </a:defRPr>
            </a:lvl1pPr>
          </a:lstStyle>
          <a:p>
            <a:endParaRPr lang="en-US" dirty="0"/>
          </a:p>
        </p:txBody>
      </p:sp>
      <p:sp>
        <p:nvSpPr>
          <p:cNvPr id="10" name="Title">
            <a:extLst>
              <a:ext uri="{FF2B5EF4-FFF2-40B4-BE49-F238E27FC236}">
                <a16:creationId xmlns:a16="http://schemas.microsoft.com/office/drawing/2014/main" id="{D40591F7-C8D0-A945-B2CF-C2F5BEF4709A}"/>
              </a:ext>
            </a:extLst>
          </p:cNvPr>
          <p:cNvSpPr>
            <a:spLocks noGrp="1"/>
          </p:cNvSpPr>
          <p:nvPr>
            <p:ph type="title" hasCustomPrompt="1"/>
          </p:nvPr>
        </p:nvSpPr>
        <p:spPr>
          <a:xfrm>
            <a:off x="838200" y="657094"/>
            <a:ext cx="5395915" cy="765501"/>
          </a:xfrm>
          <a:prstGeom prst="rect">
            <a:avLst/>
          </a:prstGeom>
        </p:spPr>
        <p:txBody>
          <a:bodyPr>
            <a:noAutofit/>
          </a:bodyPr>
          <a:lstStyle>
            <a:lvl1pPr>
              <a:defRPr sz="3200"/>
            </a:lvl1pPr>
          </a:lstStyle>
          <a:p>
            <a:pPr lvl="0"/>
            <a:r>
              <a:rPr lang="en-US" dirty="0"/>
              <a:t>Text left, two images right</a:t>
            </a:r>
          </a:p>
        </p:txBody>
      </p:sp>
      <p:sp>
        <p:nvSpPr>
          <p:cNvPr id="8" name="Content Placeholder 1">
            <a:extLst>
              <a:ext uri="{FF2B5EF4-FFF2-40B4-BE49-F238E27FC236}">
                <a16:creationId xmlns:a16="http://schemas.microsoft.com/office/drawing/2014/main" id="{7341D0D4-8A9F-254A-A838-BE23CB339FA3}"/>
              </a:ext>
            </a:extLst>
          </p:cNvPr>
          <p:cNvSpPr>
            <a:spLocks noGrp="1"/>
          </p:cNvSpPr>
          <p:nvPr>
            <p:ph sz="half" idx="13" hasCustomPrompt="1"/>
          </p:nvPr>
        </p:nvSpPr>
        <p:spPr>
          <a:xfrm>
            <a:off x="838200" y="1422595"/>
            <a:ext cx="5395915" cy="2375394"/>
          </a:xfrm>
          <a:prstGeom prst="rect">
            <a:avLst/>
          </a:prstGeom>
        </p:spPr>
        <p:txBody>
          <a:bodyPr wrap="square" tIns="0" bIns="0" anchor="t" anchorCtr="0"/>
          <a:lstStyle>
            <a:lvl1pPr>
              <a:spcAft>
                <a:spcPts val="500"/>
              </a:spcAft>
              <a:defRPr sz="3200">
                <a:solidFill>
                  <a:schemeClr val="tx1"/>
                </a:solidFill>
              </a:defRPr>
            </a:lvl1pPr>
            <a:lvl2pPr>
              <a:spcAft>
                <a:spcPts val="500"/>
              </a:spcAft>
              <a:defRPr sz="2800">
                <a:solidFill>
                  <a:schemeClr val="tx1"/>
                </a:solidFill>
              </a:defRPr>
            </a:lvl2pPr>
            <a:lvl3pPr>
              <a:spcAft>
                <a:spcPts val="500"/>
              </a:spcAft>
              <a:defRPr sz="2400">
                <a:solidFill>
                  <a:schemeClr val="tx1"/>
                </a:solidFill>
              </a:defRPr>
            </a:lvl3pPr>
            <a:lvl4pPr>
              <a:spcAft>
                <a:spcPts val="500"/>
              </a:spcAft>
              <a:defRPr sz="2000">
                <a:solidFill>
                  <a:schemeClr val="tx1"/>
                </a:solidFill>
              </a:defRPr>
            </a:lvl4pPr>
            <a:lvl5pPr>
              <a:spcAft>
                <a:spcPts val="500"/>
              </a:spcAft>
              <a:defRPr sz="2000">
                <a:solidFill>
                  <a:schemeClr val="tx1"/>
                </a:solidFill>
              </a:defRPr>
            </a:lvl5pPr>
          </a:lstStyle>
          <a:p>
            <a:pPr lvl="0"/>
            <a:r>
              <a:rPr lang="en-US" dirty="0"/>
              <a:t>Single colum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a:extLst>
              <a:ext uri="{FF2B5EF4-FFF2-40B4-BE49-F238E27FC236}">
                <a16:creationId xmlns:a16="http://schemas.microsoft.com/office/drawing/2014/main" id="{6ED01163-A081-394B-A56F-2E745CD47FAF}"/>
              </a:ext>
            </a:extLst>
          </p:cNvPr>
          <p:cNvSpPr>
            <a:spLocks noGrp="1"/>
          </p:cNvSpPr>
          <p:nvPr>
            <p:ph idx="1" hasCustomPrompt="1"/>
          </p:nvPr>
        </p:nvSpPr>
        <p:spPr>
          <a:xfrm>
            <a:off x="6477000" y="681679"/>
            <a:ext cx="4876799" cy="2719432"/>
          </a:xfrm>
          <a:prstGeom prst="rect">
            <a:avLst/>
          </a:prstGeom>
          <a:solidFill>
            <a:schemeClr val="bg2"/>
          </a:solidFill>
          <a:ln>
            <a:solidFill>
              <a:schemeClr val="bg1"/>
            </a:solidFill>
          </a:ln>
        </p:spPr>
        <p:txBody>
          <a:bodyPr wrap="square" lIns="720000" tIns="720000" rIns="720000" bIns="720000" anchor="ctr" anchorCtr="0"/>
          <a:lstStyle>
            <a:lvl1pPr marL="0" indent="0">
              <a:buNone/>
              <a:defRPr sz="3200">
                <a:solidFill>
                  <a:schemeClr val="tx2"/>
                </a:solidFill>
              </a:defRPr>
            </a:lvl1pPr>
            <a:lvl2pPr>
              <a:defRPr sz="2800"/>
            </a:lvl2pPr>
            <a:lvl3pPr>
              <a:defRPr sz="2400"/>
            </a:lvl3pPr>
            <a:lvl4pPr>
              <a:defRPr sz="2000"/>
            </a:lvl4pPr>
            <a:lvl5pPr>
              <a:defRPr sz="2000"/>
            </a:lvl5pPr>
          </a:lstStyle>
          <a:p>
            <a:pPr lvl="0"/>
            <a:r>
              <a:rPr lang="en-US" dirty="0"/>
              <a:t>Add your image here (aspect ratio 16:9)</a:t>
            </a:r>
          </a:p>
        </p:txBody>
      </p:sp>
      <p:sp>
        <p:nvSpPr>
          <p:cNvPr id="16" name="Content Placeholder 3">
            <a:extLst>
              <a:ext uri="{FF2B5EF4-FFF2-40B4-BE49-F238E27FC236}">
                <a16:creationId xmlns:a16="http://schemas.microsoft.com/office/drawing/2014/main" id="{6F0C757D-809E-2D4A-9E4D-DFA6D9C02CE5}"/>
              </a:ext>
            </a:extLst>
          </p:cNvPr>
          <p:cNvSpPr>
            <a:spLocks noGrp="1"/>
          </p:cNvSpPr>
          <p:nvPr>
            <p:ph idx="12" hasCustomPrompt="1"/>
          </p:nvPr>
        </p:nvSpPr>
        <p:spPr>
          <a:xfrm>
            <a:off x="6477000" y="3401113"/>
            <a:ext cx="4876800" cy="2849776"/>
          </a:xfrm>
          <a:prstGeom prst="rect">
            <a:avLst/>
          </a:prstGeom>
          <a:solidFill>
            <a:schemeClr val="bg2"/>
          </a:solidFill>
          <a:ln>
            <a:solidFill>
              <a:schemeClr val="bg1"/>
            </a:solidFill>
          </a:ln>
        </p:spPr>
        <p:txBody>
          <a:bodyPr wrap="square" lIns="720000" tIns="720000" rIns="720000" bIns="720000" anchor="ctr" anchorCtr="0"/>
          <a:lstStyle>
            <a:lvl1pPr marL="0" indent="0">
              <a:buNone/>
              <a:defRPr sz="3200">
                <a:solidFill>
                  <a:schemeClr val="tx2"/>
                </a:solidFill>
              </a:defRPr>
            </a:lvl1pPr>
            <a:lvl2pPr>
              <a:defRPr sz="2800"/>
            </a:lvl2pPr>
            <a:lvl3pPr>
              <a:defRPr sz="2400"/>
            </a:lvl3pPr>
            <a:lvl4pPr>
              <a:defRPr sz="2000"/>
            </a:lvl4pPr>
            <a:lvl5pPr>
              <a:defRPr sz="2000"/>
            </a:lvl5pPr>
          </a:lstStyle>
          <a:p>
            <a:pPr lvl="0"/>
            <a:r>
              <a:rPr lang="en-US" dirty="0"/>
              <a:t>Add your image here (aspect ratio 16:9)</a:t>
            </a:r>
          </a:p>
        </p:txBody>
      </p:sp>
      <p:pic>
        <p:nvPicPr>
          <p:cNvPr id="7" name="Logo" descr="Office for National Statistics Logo">
            <a:extLst>
              <a:ext uri="{FF2B5EF4-FFF2-40B4-BE49-F238E27FC236}">
                <a16:creationId xmlns:a16="http://schemas.microsoft.com/office/drawing/2014/main" id="{A53CB928-464E-0442-B8A8-844F0B513A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8200" y="6286250"/>
            <a:ext cx="3331866" cy="288762"/>
          </a:xfrm>
          <a:prstGeom prst="rect">
            <a:avLst/>
          </a:prstGeom>
        </p:spPr>
      </p:pic>
    </p:spTree>
    <p:extLst>
      <p:ext uri="{BB962C8B-B14F-4D97-AF65-F5344CB8AC3E}">
        <p14:creationId xmlns:p14="http://schemas.microsoft.com/office/powerpoint/2010/main" val="1295363898"/>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2" name="Slide Number Placeholder">
            <a:extLst>
              <a:ext uri="{FF2B5EF4-FFF2-40B4-BE49-F238E27FC236}">
                <a16:creationId xmlns:a16="http://schemas.microsoft.com/office/drawing/2014/main" id="{948F094D-06E7-4D4C-A30E-6245801E4D2F}"/>
              </a:ext>
            </a:extLst>
          </p:cNvPr>
          <p:cNvSpPr>
            <a:spLocks noGrp="1"/>
          </p:cNvSpPr>
          <p:nvPr>
            <p:ph type="sldNum" sz="quarter" idx="4"/>
          </p:nvPr>
        </p:nvSpPr>
        <p:spPr>
          <a:xfrm>
            <a:off x="4662087" y="6250891"/>
            <a:ext cx="2867826" cy="365125"/>
          </a:xfrm>
          <a:prstGeom prst="rect">
            <a:avLst/>
          </a:prstGeom>
        </p:spPr>
        <p:txBody>
          <a:bodyPr/>
          <a:lstStyle>
            <a:lvl1pPr>
              <a:defRPr sz="2000">
                <a:solidFill>
                  <a:srgbClr val="003C57"/>
                </a:solidFill>
              </a:defRPr>
            </a:lvl1pPr>
          </a:lstStyle>
          <a:p>
            <a:pPr algn="ctr"/>
            <a:fld id="{232417FB-2EF4-EC49-BC13-97513C37E9E5}" type="slidenum">
              <a:rPr lang="en-US" smtClean="0"/>
              <a:pPr algn="ctr"/>
              <a:t>‹#›</a:t>
            </a:fld>
            <a:endParaRPr lang="en-US" dirty="0"/>
          </a:p>
        </p:txBody>
      </p:sp>
      <p:sp>
        <p:nvSpPr>
          <p:cNvPr id="14" name="Footer Placeholder">
            <a:extLst>
              <a:ext uri="{FF2B5EF4-FFF2-40B4-BE49-F238E27FC236}">
                <a16:creationId xmlns:a16="http://schemas.microsoft.com/office/drawing/2014/main" id="{2947E464-F91B-FD47-B97A-E5129B454413}"/>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ctr"/>
          <a:lstStyle>
            <a:lvl1pPr algn="r">
              <a:defRPr sz="2000" b="1">
                <a:solidFill>
                  <a:srgbClr val="003C57"/>
                </a:solidFill>
              </a:defRPr>
            </a:lvl1pPr>
          </a:lstStyle>
          <a:p>
            <a:endParaRPr lang="en-US" dirty="0"/>
          </a:p>
        </p:txBody>
      </p:sp>
      <p:pic>
        <p:nvPicPr>
          <p:cNvPr id="18" name="ONS Logo" title="Office for National Statistics Logo">
            <a:extLst>
              <a:ext uri="{FF2B5EF4-FFF2-40B4-BE49-F238E27FC236}">
                <a16:creationId xmlns:a16="http://schemas.microsoft.com/office/drawing/2014/main" id="{C75F6892-DCBE-6A46-9D84-E4C8B081EFF8}"/>
              </a:ext>
            </a:extLst>
          </p:cNvPr>
          <p:cNvPicPr>
            <a:picLocks noChangeAspect="1"/>
          </p:cNvPicPr>
          <p:nvPr userDrawn="1"/>
        </p:nvPicPr>
        <p:blipFill>
          <a:blip r:embed="rId64">
            <a:extLst>
              <a:ext uri="{96DAC541-7B7A-43D3-8B79-37D633B846F1}">
                <asvg:svgBlip xmlns:asvg="http://schemas.microsoft.com/office/drawing/2016/SVG/main" r:embed="rId65"/>
              </a:ext>
            </a:extLst>
          </a:blip>
          <a:stretch>
            <a:fillRect/>
          </a:stretch>
        </p:blipFill>
        <p:spPr>
          <a:xfrm>
            <a:off x="8344421" y="758764"/>
            <a:ext cx="3108157" cy="742657"/>
          </a:xfrm>
          <a:prstGeom prst="rect">
            <a:avLst/>
          </a:prstGeom>
        </p:spPr>
      </p:pic>
      <p:sp>
        <p:nvSpPr>
          <p:cNvPr id="5" name="Title Placeholder">
            <a:extLst>
              <a:ext uri="{FF2B5EF4-FFF2-40B4-BE49-F238E27FC236}">
                <a16:creationId xmlns:a16="http://schemas.microsoft.com/office/drawing/2014/main" id="{6DBF0174-0E48-4922-B59E-9E207247D338}"/>
              </a:ext>
            </a:extLst>
          </p:cNvPr>
          <p:cNvSpPr>
            <a:spLocks noGrp="1"/>
          </p:cNvSpPr>
          <p:nvPr>
            <p:ph type="title"/>
          </p:nvPr>
        </p:nvSpPr>
        <p:spPr>
          <a:xfrm>
            <a:off x="838200" y="826982"/>
            <a:ext cx="7379711" cy="2149034"/>
          </a:xfrm>
          <a:prstGeom prst="rect">
            <a:avLst/>
          </a:prstGeom>
        </p:spPr>
        <p:txBody>
          <a:bodyPr vert="horz" lIns="0" tIns="0" rIns="0" bIns="0" rtlCol="0" anchor="t" anchorCtr="0">
            <a:normAutofit/>
          </a:bodyPr>
          <a:lstStyle/>
          <a:p>
            <a:r>
              <a:rPr lang="en-US" dirty="0"/>
              <a:t>Write your title here </a:t>
            </a:r>
            <a:br>
              <a:rPr lang="en-US" dirty="0"/>
            </a:br>
            <a:r>
              <a:rPr lang="en-US" dirty="0"/>
              <a:t>(in sentence case)</a:t>
            </a:r>
            <a:endParaRPr lang="en-GB" dirty="0"/>
          </a:p>
        </p:txBody>
      </p:sp>
      <p:sp>
        <p:nvSpPr>
          <p:cNvPr id="3" name="Text Placeholder">
            <a:extLst>
              <a:ext uri="{FF2B5EF4-FFF2-40B4-BE49-F238E27FC236}">
                <a16:creationId xmlns:a16="http://schemas.microsoft.com/office/drawing/2014/main" id="{CBE85E22-5EF0-604F-9D81-8D55219770BA}"/>
              </a:ext>
            </a:extLst>
          </p:cNvPr>
          <p:cNvSpPr>
            <a:spLocks noGrp="1"/>
          </p:cNvSpPr>
          <p:nvPr>
            <p:ph type="body" idx="1"/>
          </p:nvPr>
        </p:nvSpPr>
        <p:spPr>
          <a:xfrm>
            <a:off x="838200" y="3081404"/>
            <a:ext cx="10515600" cy="2391425"/>
          </a:xfrm>
          <a:prstGeom prst="rect">
            <a:avLst/>
          </a:prstGeom>
        </p:spPr>
        <p:txBody>
          <a:bodyPr vert="horz" lIns="0" tIns="46800" rIns="0" bIns="4572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 (minimum recommended text size 18pt)</a:t>
            </a:r>
          </a:p>
        </p:txBody>
      </p:sp>
      <p:sp>
        <p:nvSpPr>
          <p:cNvPr id="16" name="Date Placeholder">
            <a:extLst>
              <a:ext uri="{FF2B5EF4-FFF2-40B4-BE49-F238E27FC236}">
                <a16:creationId xmlns:a16="http://schemas.microsoft.com/office/drawing/2014/main" id="{C57F1779-22FA-E74D-A68A-DE59AC0306AC}"/>
              </a:ext>
            </a:extLst>
          </p:cNvPr>
          <p:cNvSpPr>
            <a:spLocks noGrp="1"/>
          </p:cNvSpPr>
          <p:nvPr>
            <p:ph type="dt" sz="half" idx="2"/>
          </p:nvPr>
        </p:nvSpPr>
        <p:spPr>
          <a:xfrm>
            <a:off x="838200" y="6250892"/>
            <a:ext cx="2743200" cy="365125"/>
          </a:xfrm>
          <a:prstGeom prst="rect">
            <a:avLst/>
          </a:prstGeom>
        </p:spPr>
        <p:txBody>
          <a:bodyPr vert="horz" lIns="0" tIns="45720" rIns="91440" bIns="45720" rtlCol="0" anchor="ctr"/>
          <a:lstStyle>
            <a:lvl1pPr algn="l">
              <a:defRPr sz="2000" b="1">
                <a:solidFill>
                  <a:srgbClr val="003C57"/>
                </a:solidFill>
              </a:defRPr>
            </a:lvl1pPr>
          </a:lstStyle>
          <a:p>
            <a:fld id="{695CE8D2-2A51-934B-BEE8-FEA5F81FAF91}" type="datetime4">
              <a:rPr lang="en-GB" smtClean="0"/>
              <a:t>18 May 2021</a:t>
            </a:fld>
            <a:endParaRPr lang="en-US" dirty="0"/>
          </a:p>
        </p:txBody>
      </p:sp>
      <p:cxnSp>
        <p:nvCxnSpPr>
          <p:cNvPr id="15" name="Line">
            <a:extLst>
              <a:ext uri="{FF2B5EF4-FFF2-40B4-BE49-F238E27FC236}">
                <a16:creationId xmlns:a16="http://schemas.microsoft.com/office/drawing/2014/main" id="{6E5DCB11-47E3-BC4E-87BE-ED66A7AC92CD}"/>
              </a:ext>
            </a:extLst>
          </p:cNvPr>
          <p:cNvCxnSpPr>
            <a:cxnSpLocks/>
          </p:cNvCxnSpPr>
          <p:nvPr userDrawn="1"/>
        </p:nvCxnSpPr>
        <p:spPr>
          <a:xfrm>
            <a:off x="822000" y="6055339"/>
            <a:ext cx="10548000" cy="0"/>
          </a:xfrm>
          <a:prstGeom prst="line">
            <a:avLst/>
          </a:prstGeom>
          <a:ln w="12700">
            <a:solidFill>
              <a:srgbClr val="003C5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7910473"/>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73" r:id="rId3"/>
    <p:sldLayoutId id="2147483725" r:id="rId4"/>
    <p:sldLayoutId id="2147483726" r:id="rId5"/>
    <p:sldLayoutId id="2147483708" r:id="rId6"/>
    <p:sldLayoutId id="2147483724" r:id="rId7"/>
    <p:sldLayoutId id="2147483704" r:id="rId8"/>
    <p:sldLayoutId id="2147483705" r:id="rId9"/>
    <p:sldLayoutId id="2147483706" r:id="rId10"/>
    <p:sldLayoutId id="2147483729" r:id="rId11"/>
    <p:sldLayoutId id="2147483730" r:id="rId12"/>
    <p:sldLayoutId id="2147483671" r:id="rId13"/>
    <p:sldLayoutId id="2147483728" r:id="rId14"/>
    <p:sldLayoutId id="2147483684" r:id="rId15"/>
    <p:sldLayoutId id="2147483674" r:id="rId16"/>
    <p:sldLayoutId id="2147483711" r:id="rId17"/>
    <p:sldLayoutId id="2147483689" r:id="rId18"/>
    <p:sldLayoutId id="2147483688" r:id="rId19"/>
    <p:sldLayoutId id="2147483675" r:id="rId20"/>
    <p:sldLayoutId id="2147483676" r:id="rId21"/>
    <p:sldLayoutId id="2147483677" r:id="rId22"/>
    <p:sldLayoutId id="2147483678" r:id="rId23"/>
    <p:sldLayoutId id="2147483679" r:id="rId24"/>
    <p:sldLayoutId id="2147483680" r:id="rId25"/>
    <p:sldLayoutId id="2147483681" r:id="rId26"/>
    <p:sldLayoutId id="2147483682" r:id="rId27"/>
    <p:sldLayoutId id="2147483683" r:id="rId28"/>
    <p:sldLayoutId id="2147483732" r:id="rId29"/>
    <p:sldLayoutId id="2147483735" r:id="rId30"/>
    <p:sldLayoutId id="2147483687" r:id="rId31"/>
    <p:sldLayoutId id="2147483695" r:id="rId32"/>
    <p:sldLayoutId id="2147483694" r:id="rId33"/>
    <p:sldLayoutId id="2147483697" r:id="rId34"/>
    <p:sldLayoutId id="2147483700" r:id="rId35"/>
    <p:sldLayoutId id="2147483709" r:id="rId36"/>
    <p:sldLayoutId id="2147483710" r:id="rId37"/>
    <p:sldLayoutId id="2147483731" r:id="rId38"/>
    <p:sldLayoutId id="2147483712" r:id="rId39"/>
    <p:sldLayoutId id="2147483713" r:id="rId40"/>
    <p:sldLayoutId id="2147483714" r:id="rId41"/>
    <p:sldLayoutId id="2147483715" r:id="rId42"/>
    <p:sldLayoutId id="2147483716" r:id="rId43"/>
    <p:sldLayoutId id="2147483717" r:id="rId44"/>
    <p:sldLayoutId id="2147483718" r:id="rId45"/>
    <p:sldLayoutId id="2147483719" r:id="rId46"/>
    <p:sldLayoutId id="2147483720" r:id="rId47"/>
    <p:sldLayoutId id="2147483721" r:id="rId48"/>
    <p:sldLayoutId id="2147483722" r:id="rId49"/>
    <p:sldLayoutId id="2147483723" r:id="rId50"/>
    <p:sldLayoutId id="2147483733" r:id="rId51"/>
    <p:sldLayoutId id="2147483734" r:id="rId52"/>
    <p:sldLayoutId id="2147483737" r:id="rId53"/>
    <p:sldLayoutId id="2147483740" r:id="rId54"/>
    <p:sldLayoutId id="2147483751" r:id="rId55"/>
    <p:sldLayoutId id="2147483763" r:id="rId56"/>
    <p:sldLayoutId id="2147483764" r:id="rId57"/>
    <p:sldLayoutId id="2147483765" r:id="rId58"/>
    <p:sldLayoutId id="2147483767" r:id="rId59"/>
    <p:sldLayoutId id="2147483768" r:id="rId60"/>
    <p:sldLayoutId id="2147483769" r:id="rId61"/>
    <p:sldLayoutId id="2147483770" r:id="rId62"/>
  </p:sldLayoutIdLst>
  <p:hf sldNum="0" hdr="0"/>
  <p:txStyles>
    <p:titleStyle>
      <a:lvl1pPr algn="l" defTabSz="914400" rtl="0" eaLnBrk="1" latinLnBrk="0" hangingPunct="1">
        <a:lnSpc>
          <a:spcPct val="95000"/>
        </a:lnSpc>
        <a:spcBef>
          <a:spcPct val="0"/>
        </a:spcBef>
        <a:spcAft>
          <a:spcPts val="1000"/>
        </a:spcAft>
        <a:buNone/>
        <a:defRPr sz="4800" b="1" kern="1200" baseline="0">
          <a:solidFill>
            <a:srgbClr val="003C57"/>
          </a:solidFill>
          <a:latin typeface="+mj-lt"/>
          <a:ea typeface="+mj-ea"/>
          <a:cs typeface="+mj-cs"/>
        </a:defRPr>
      </a:lvl1pPr>
    </p:titleStyle>
    <p:bodyStyle>
      <a:lvl1pPr marL="252000" indent="-252000" algn="l" defTabSz="914400" rtl="0" eaLnBrk="1" latinLnBrk="0" hangingPunct="1">
        <a:lnSpc>
          <a:spcPct val="110000"/>
        </a:lnSpc>
        <a:spcBef>
          <a:spcPts val="0"/>
        </a:spcBef>
        <a:spcAft>
          <a:spcPts val="500"/>
        </a:spcAft>
        <a:buFont typeface="Arial" panose="020B0604020202020204" pitchFamily="34" charset="0"/>
        <a:buChar char="•"/>
        <a:defRPr sz="3200" kern="1200">
          <a:solidFill>
            <a:srgbClr val="003C57"/>
          </a:solidFill>
          <a:latin typeface="+mn-lt"/>
          <a:ea typeface="+mn-ea"/>
          <a:cs typeface="+mn-cs"/>
        </a:defRPr>
      </a:lvl1pPr>
      <a:lvl2pPr marL="468000" indent="-216000" algn="l" defTabSz="914400" rtl="0" eaLnBrk="1" latinLnBrk="0" hangingPunct="1">
        <a:lnSpc>
          <a:spcPct val="110000"/>
        </a:lnSpc>
        <a:spcBef>
          <a:spcPts val="0"/>
        </a:spcBef>
        <a:spcAft>
          <a:spcPts val="500"/>
        </a:spcAft>
        <a:buFont typeface="Arial" panose="020B0604020202020204" pitchFamily="34" charset="0"/>
        <a:buChar char="•"/>
        <a:defRPr sz="2800" kern="1200">
          <a:solidFill>
            <a:srgbClr val="003C57"/>
          </a:solidFill>
          <a:latin typeface="+mn-lt"/>
          <a:ea typeface="+mn-ea"/>
          <a:cs typeface="+mn-cs"/>
        </a:defRPr>
      </a:lvl2pPr>
      <a:lvl3pPr marL="648000" indent="-180000" algn="l" defTabSz="914400" rtl="0" eaLnBrk="1" latinLnBrk="0" hangingPunct="1">
        <a:lnSpc>
          <a:spcPct val="110000"/>
        </a:lnSpc>
        <a:spcBef>
          <a:spcPts val="0"/>
        </a:spcBef>
        <a:spcAft>
          <a:spcPts val="500"/>
        </a:spcAft>
        <a:buFont typeface="Arial" panose="020B0604020202020204" pitchFamily="34" charset="0"/>
        <a:buChar char="•"/>
        <a:defRPr sz="2400" kern="1200">
          <a:solidFill>
            <a:srgbClr val="003C57"/>
          </a:solidFill>
          <a:latin typeface="+mn-lt"/>
          <a:ea typeface="+mn-ea"/>
          <a:cs typeface="+mn-cs"/>
        </a:defRPr>
      </a:lvl3pPr>
      <a:lvl4pPr marL="828000" indent="-180000" algn="l" defTabSz="914400" rtl="0" eaLnBrk="1" latinLnBrk="0" hangingPunct="1">
        <a:lnSpc>
          <a:spcPct val="110000"/>
        </a:lnSpc>
        <a:spcBef>
          <a:spcPts val="0"/>
        </a:spcBef>
        <a:spcAft>
          <a:spcPts val="500"/>
        </a:spcAft>
        <a:buFont typeface="Arial" panose="020B0604020202020204" pitchFamily="34" charset="0"/>
        <a:buChar char="•"/>
        <a:defRPr sz="2000" kern="1200">
          <a:solidFill>
            <a:srgbClr val="003C57"/>
          </a:solidFill>
          <a:latin typeface="+mn-lt"/>
          <a:ea typeface="+mn-ea"/>
          <a:cs typeface="+mn-cs"/>
        </a:defRPr>
      </a:lvl4pPr>
      <a:lvl5pPr marL="1008000" indent="-180000" algn="l" defTabSz="914400" rtl="0" eaLnBrk="1" latinLnBrk="0" hangingPunct="1">
        <a:lnSpc>
          <a:spcPct val="110000"/>
        </a:lnSpc>
        <a:spcBef>
          <a:spcPts val="0"/>
        </a:spcBef>
        <a:spcAft>
          <a:spcPts val="500"/>
        </a:spcAft>
        <a:buFont typeface="Arial" panose="020B0604020202020204" pitchFamily="34" charset="0"/>
        <a:buChar char="•"/>
        <a:defRPr sz="1800" kern="1200">
          <a:solidFill>
            <a:srgbClr val="003C57"/>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audio" Target="../media/media1.m4a"/><Relationship Id="rId1" Type="http://schemas.microsoft.com/office/2007/relationships/media" Target="../media/media1.m4a"/><Relationship Id="rId4" Type="http://schemas.openxmlformats.org/officeDocument/2006/relationships/image" Target="../media/image17.png"/></Relationships>
</file>

<file path=ppt/slides/_rels/slide19.xml.rels><?xml version="1.0" encoding="UTF-8" standalone="yes"?>
<Relationships xmlns="http://schemas.openxmlformats.org/package/2006/relationships"><Relationship Id="rId3" Type="http://schemas.openxmlformats.org/officeDocument/2006/relationships/audio" Target="../media/media2.m4a"/><Relationship Id="rId2" Type="http://schemas.microsoft.com/office/2007/relationships/media" Target="../media/media2.m4a"/><Relationship Id="rId1" Type="http://schemas.openxmlformats.org/officeDocument/2006/relationships/tags" Target="../tags/tag3.xml"/><Relationship Id="rId6" Type="http://schemas.openxmlformats.org/officeDocument/2006/relationships/image" Target="../media/image17.png"/><Relationship Id="rId5" Type="http://schemas.openxmlformats.org/officeDocument/2006/relationships/notesSlide" Target="../notesSlides/notesSlide11.xml"/><Relationship Id="rId4" Type="http://schemas.openxmlformats.org/officeDocument/2006/relationships/slideLayout" Target="../slideLayouts/slideLayout5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17.png"/><Relationship Id="rId5" Type="http://schemas.openxmlformats.org/officeDocument/2006/relationships/image" Target="../media/image18.png"/><Relationship Id="rId4" Type="http://schemas.openxmlformats.org/officeDocument/2006/relationships/notesSlide" Target="../notesSlides/notesSlide12.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17.png"/><Relationship Id="rId5" Type="http://schemas.openxmlformats.org/officeDocument/2006/relationships/image" Target="../media/image19.png"/><Relationship Id="rId4" Type="http://schemas.openxmlformats.org/officeDocument/2006/relationships/notesSlide" Target="../notesSlides/notesSlide1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audio" Target="../media/media5.m4a"/><Relationship Id="rId1" Type="http://schemas.microsoft.com/office/2007/relationships/media" Target="../media/media5.m4a"/><Relationship Id="rId6" Type="http://schemas.openxmlformats.org/officeDocument/2006/relationships/image" Target="../media/image17.png"/><Relationship Id="rId5" Type="http://schemas.openxmlformats.org/officeDocument/2006/relationships/image" Target="../media/image20.png"/><Relationship Id="rId4" Type="http://schemas.openxmlformats.org/officeDocument/2006/relationships/notesSlide" Target="../notesSlides/notesSlide14.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17.png"/><Relationship Id="rId5" Type="http://schemas.openxmlformats.org/officeDocument/2006/relationships/image" Target="../media/image21.png"/><Relationship Id="rId4" Type="http://schemas.openxmlformats.org/officeDocument/2006/relationships/notesSlide" Target="../notesSlides/notesSlide15.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image" Target="../media/image17.png"/><Relationship Id="rId5" Type="http://schemas.openxmlformats.org/officeDocument/2006/relationships/image" Target="../media/image22.png"/><Relationship Id="rId4" Type="http://schemas.openxmlformats.org/officeDocument/2006/relationships/notesSlide" Target="../notesSlides/notesSlide16.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audio" Target="../media/media8.m4a"/><Relationship Id="rId1" Type="http://schemas.microsoft.com/office/2007/relationships/media" Target="../media/media8.m4a"/><Relationship Id="rId6" Type="http://schemas.openxmlformats.org/officeDocument/2006/relationships/image" Target="../media/image17.png"/><Relationship Id="rId5" Type="http://schemas.openxmlformats.org/officeDocument/2006/relationships/image" Target="../media/image23.png"/><Relationship Id="rId4" Type="http://schemas.openxmlformats.org/officeDocument/2006/relationships/notesSlide" Target="../notesSlides/notesSlide1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audio" Target="../media/media9.m4a"/><Relationship Id="rId1" Type="http://schemas.microsoft.com/office/2007/relationships/media" Target="../media/media9.m4a"/><Relationship Id="rId5" Type="http://schemas.openxmlformats.org/officeDocument/2006/relationships/image" Target="../media/image17.png"/><Relationship Id="rId4" Type="http://schemas.openxmlformats.org/officeDocument/2006/relationships/image" Target="../media/image24.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image" Target="../media/image17.png"/><Relationship Id="rId5" Type="http://schemas.openxmlformats.org/officeDocument/2006/relationships/image" Target="../media/image25.png"/><Relationship Id="rId4" Type="http://schemas.openxmlformats.org/officeDocument/2006/relationships/notesSlide" Target="../notesSlides/notesSlide18.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audio" Target="../media/media11.m4a"/><Relationship Id="rId1" Type="http://schemas.microsoft.com/office/2007/relationships/media" Target="../media/media11.m4a"/><Relationship Id="rId5" Type="http://schemas.openxmlformats.org/officeDocument/2006/relationships/image" Target="../media/image17.png"/><Relationship Id="rId4" Type="http://schemas.openxmlformats.org/officeDocument/2006/relationships/notesSlide" Target="../notesSlides/notesSlide19.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audio" Target="../media/media12.m4a"/><Relationship Id="rId1" Type="http://schemas.microsoft.com/office/2007/relationships/media" Target="../media/media12.m4a"/><Relationship Id="rId5" Type="http://schemas.openxmlformats.org/officeDocument/2006/relationships/image" Target="../media/image17.png"/><Relationship Id="rId4" Type="http://schemas.openxmlformats.org/officeDocument/2006/relationships/notesSlide" Target="../notesSlides/notesSlide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hyperlink" Target="https://www.ons.gov.uk/employmentandlabourmarket/peopleinwork/employmentandemployeetypes/articles/coronavirusandtheimpactonpayrollemployment/experimentalanalysis"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www.ons.gov.uk/employmentandlabourmarket/peopleinwork/employmentandemployeetypes/methodologies/labourmarketsurveycharacteristicsreport" TargetMode="External"/><Relationship Id="rId2" Type="http://schemas.openxmlformats.org/officeDocument/2006/relationships/hyperlink" Target="https://www.ons.gov.uk/employmentandlabourmarket/peopleinwork/employmentandemployeetypes/methodologies/labourmarketsurveytechnicalreport" TargetMode="External"/><Relationship Id="rId1" Type="http://schemas.openxmlformats.org/officeDocument/2006/relationships/slideLayout" Target="../slideLayouts/slideLayout2.xml"/><Relationship Id="rId4" Type="http://schemas.openxmlformats.org/officeDocument/2006/relationships/hyperlink" Target="https://www.ons.gov.uk/employmentandlabourmarket/peopleinwork/employmentandemployeetypes/methodologies/labourmarketsurveycomparativeestimatesreport" TargetMode="Externa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F2B7606F-25F1-44A9-85D1-9970728AB33E}"/>
              </a:ext>
            </a:extLst>
          </p:cNvPr>
          <p:cNvSpPr>
            <a:spLocks noGrp="1"/>
          </p:cNvSpPr>
          <p:nvPr>
            <p:ph type="title"/>
          </p:nvPr>
        </p:nvSpPr>
        <p:spPr>
          <a:xfrm>
            <a:off x="838200" y="848994"/>
            <a:ext cx="6920345" cy="3423977"/>
          </a:xfrm>
        </p:spPr>
        <p:txBody>
          <a:bodyPr>
            <a:normAutofit/>
          </a:bodyPr>
          <a:lstStyle/>
          <a:p>
            <a:r>
              <a:rPr lang="en-US" dirty="0"/>
              <a:t>LFS User Workshop</a:t>
            </a:r>
            <a:endParaRPr lang="en-GB" dirty="0"/>
          </a:p>
        </p:txBody>
      </p:sp>
      <p:sp>
        <p:nvSpPr>
          <p:cNvPr id="9" name="Presenter Name">
            <a:extLst>
              <a:ext uri="{FF2B5EF4-FFF2-40B4-BE49-F238E27FC236}">
                <a16:creationId xmlns:a16="http://schemas.microsoft.com/office/drawing/2014/main" id="{A9819EFB-579D-4691-AE16-89A76B47EF06}"/>
              </a:ext>
            </a:extLst>
          </p:cNvPr>
          <p:cNvSpPr>
            <a:spLocks noGrp="1"/>
          </p:cNvSpPr>
          <p:nvPr>
            <p:ph idx="13"/>
          </p:nvPr>
        </p:nvSpPr>
        <p:spPr>
          <a:xfrm>
            <a:off x="838200" y="4266622"/>
            <a:ext cx="10515600" cy="437236"/>
          </a:xfrm>
        </p:spPr>
        <p:txBody>
          <a:bodyPr/>
          <a:lstStyle/>
          <a:p>
            <a:r>
              <a:rPr lang="en-GB" dirty="0"/>
              <a:t>Martina Helme / Simon Woodsford</a:t>
            </a:r>
          </a:p>
        </p:txBody>
      </p:sp>
      <p:sp>
        <p:nvSpPr>
          <p:cNvPr id="8" name="Presenter Information">
            <a:extLst>
              <a:ext uri="{FF2B5EF4-FFF2-40B4-BE49-F238E27FC236}">
                <a16:creationId xmlns:a16="http://schemas.microsoft.com/office/drawing/2014/main" id="{1D76D23A-DF48-482E-864D-C3BFFE984D21}"/>
              </a:ext>
            </a:extLst>
          </p:cNvPr>
          <p:cNvSpPr>
            <a:spLocks noGrp="1"/>
          </p:cNvSpPr>
          <p:nvPr>
            <p:ph idx="1"/>
          </p:nvPr>
        </p:nvSpPr>
        <p:spPr>
          <a:xfrm>
            <a:off x="838200" y="4736236"/>
            <a:ext cx="10515600" cy="312330"/>
          </a:xfrm>
        </p:spPr>
        <p:txBody>
          <a:bodyPr/>
          <a:lstStyle/>
          <a:p>
            <a:r>
              <a:rPr lang="en-GB" dirty="0"/>
              <a:t>ONS Social Survey Operations – Labour Force Survey Research Team</a:t>
            </a:r>
          </a:p>
        </p:txBody>
      </p:sp>
      <p:sp>
        <p:nvSpPr>
          <p:cNvPr id="2" name="Date Placeholder">
            <a:extLst>
              <a:ext uri="{FF2B5EF4-FFF2-40B4-BE49-F238E27FC236}">
                <a16:creationId xmlns:a16="http://schemas.microsoft.com/office/drawing/2014/main" id="{2B42C91A-136F-0846-B8A8-6577BC193368}"/>
              </a:ext>
            </a:extLst>
          </p:cNvPr>
          <p:cNvSpPr>
            <a:spLocks noGrp="1"/>
          </p:cNvSpPr>
          <p:nvPr>
            <p:ph type="dt" sz="half" idx="10"/>
          </p:nvPr>
        </p:nvSpPr>
        <p:spPr/>
        <p:txBody>
          <a:bodyPr/>
          <a:lstStyle/>
          <a:p>
            <a:r>
              <a:rPr lang="en-US" dirty="0"/>
              <a:t>20 May 2021</a:t>
            </a:r>
          </a:p>
        </p:txBody>
      </p:sp>
    </p:spTree>
    <p:extLst>
      <p:ext uri="{BB962C8B-B14F-4D97-AF65-F5344CB8AC3E}">
        <p14:creationId xmlns:p14="http://schemas.microsoft.com/office/powerpoint/2010/main" val="18826769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28BC712-4C49-40CD-957F-8F12027AE13B}"/>
              </a:ext>
            </a:extLst>
          </p:cNvPr>
          <p:cNvSpPr>
            <a:spLocks noGrp="1"/>
          </p:cNvSpPr>
          <p:nvPr>
            <p:ph type="ftr" sz="quarter" idx="3"/>
          </p:nvPr>
        </p:nvSpPr>
        <p:spPr>
          <a:xfrm>
            <a:off x="7529913" y="6239894"/>
            <a:ext cx="3842030" cy="365125"/>
          </a:xfrm>
        </p:spPr>
        <p:txBody>
          <a:bodyPr/>
          <a:lstStyle/>
          <a:p>
            <a:endParaRPr lang="en-US" dirty="0"/>
          </a:p>
        </p:txBody>
      </p:sp>
      <p:sp>
        <p:nvSpPr>
          <p:cNvPr id="3" name="Title 2">
            <a:extLst>
              <a:ext uri="{FF2B5EF4-FFF2-40B4-BE49-F238E27FC236}">
                <a16:creationId xmlns:a16="http://schemas.microsoft.com/office/drawing/2014/main" id="{1605A74B-BFF3-447F-BF13-2DD9A266E4EB}"/>
              </a:ext>
            </a:extLst>
          </p:cNvPr>
          <p:cNvSpPr>
            <a:spLocks noGrp="1"/>
          </p:cNvSpPr>
          <p:nvPr>
            <p:ph type="title"/>
          </p:nvPr>
        </p:nvSpPr>
        <p:spPr>
          <a:xfrm>
            <a:off x="838200" y="530614"/>
            <a:ext cx="10515600" cy="467820"/>
          </a:xfrm>
        </p:spPr>
        <p:txBody>
          <a:bodyPr/>
          <a:lstStyle/>
          <a:p>
            <a:r>
              <a:rPr lang="en-GB" dirty="0"/>
              <a:t>The APS Wave Structure</a:t>
            </a:r>
          </a:p>
        </p:txBody>
      </p:sp>
      <p:graphicFrame>
        <p:nvGraphicFramePr>
          <p:cNvPr id="5" name="Group 68">
            <a:extLst>
              <a:ext uri="{FF2B5EF4-FFF2-40B4-BE49-F238E27FC236}">
                <a16:creationId xmlns:a16="http://schemas.microsoft.com/office/drawing/2014/main" id="{8BC08AAA-A299-4E57-BC44-76924C5C0365}"/>
              </a:ext>
            </a:extLst>
          </p:cNvPr>
          <p:cNvGraphicFramePr>
            <a:graphicFrameLocks/>
          </p:cNvGraphicFramePr>
          <p:nvPr>
            <p:extLst>
              <p:ext uri="{D42A27DB-BD31-4B8C-83A1-F6EECF244321}">
                <p14:modId xmlns:p14="http://schemas.microsoft.com/office/powerpoint/2010/main" val="2187263651"/>
              </p:ext>
            </p:extLst>
          </p:nvPr>
        </p:nvGraphicFramePr>
        <p:xfrm>
          <a:off x="944216" y="4377275"/>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400" b="0" i="0" u="none" strike="noStrike" cap="none" normalizeH="0" baseline="0" dirty="0">
                          <a:ln>
                            <a:noFill/>
                          </a:ln>
                          <a:solidFill>
                            <a:schemeClr val="tx1"/>
                          </a:solidFill>
                          <a:effectLst/>
                          <a:latin typeface="Arial" charset="0"/>
                          <a:ea typeface="ＭＳ Ｐゴシック" pitchFamily="-80" charset="-128"/>
                        </a:rPr>
                        <a:t>2020</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bl>
          </a:graphicData>
        </a:graphic>
      </p:graphicFrame>
      <p:graphicFrame>
        <p:nvGraphicFramePr>
          <p:cNvPr id="6" name="Group 75">
            <a:extLst>
              <a:ext uri="{FF2B5EF4-FFF2-40B4-BE49-F238E27FC236}">
                <a16:creationId xmlns:a16="http://schemas.microsoft.com/office/drawing/2014/main" id="{CCB8FC16-6B49-4805-8D41-0CD0A2C8DBAC}"/>
              </a:ext>
            </a:extLst>
          </p:cNvPr>
          <p:cNvGraphicFramePr>
            <a:graphicFrameLocks/>
          </p:cNvGraphicFramePr>
          <p:nvPr>
            <p:extLst>
              <p:ext uri="{D42A27DB-BD31-4B8C-83A1-F6EECF244321}">
                <p14:modId xmlns:p14="http://schemas.microsoft.com/office/powerpoint/2010/main" val="721161249"/>
              </p:ext>
            </p:extLst>
          </p:nvPr>
        </p:nvGraphicFramePr>
        <p:xfrm>
          <a:off x="944216" y="3513677"/>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400" b="0" i="0" u="none" strike="noStrike" cap="none" normalizeH="0" baseline="0" dirty="0">
                          <a:ln>
                            <a:noFill/>
                          </a:ln>
                          <a:solidFill>
                            <a:schemeClr val="tx1"/>
                          </a:solidFill>
                          <a:effectLst/>
                          <a:latin typeface="Arial" charset="0"/>
                          <a:ea typeface="ＭＳ Ｐゴシック" pitchFamily="-80" charset="-128"/>
                        </a:rPr>
                        <a:t>2019</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bl>
          </a:graphicData>
        </a:graphic>
      </p:graphicFrame>
      <p:graphicFrame>
        <p:nvGraphicFramePr>
          <p:cNvPr id="7" name="Group 48">
            <a:extLst>
              <a:ext uri="{FF2B5EF4-FFF2-40B4-BE49-F238E27FC236}">
                <a16:creationId xmlns:a16="http://schemas.microsoft.com/office/drawing/2014/main" id="{C711354E-37EE-4762-929A-16F2866CE7B5}"/>
              </a:ext>
            </a:extLst>
          </p:cNvPr>
          <p:cNvGraphicFramePr>
            <a:graphicFrameLocks/>
          </p:cNvGraphicFramePr>
          <p:nvPr>
            <p:extLst>
              <p:ext uri="{D42A27DB-BD31-4B8C-83A1-F6EECF244321}">
                <p14:modId xmlns:p14="http://schemas.microsoft.com/office/powerpoint/2010/main" val="494209324"/>
              </p:ext>
            </p:extLst>
          </p:nvPr>
        </p:nvGraphicFramePr>
        <p:xfrm>
          <a:off x="944216" y="1784889"/>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400" b="0" i="0" u="none" strike="noStrike" cap="none" normalizeH="0" baseline="0" dirty="0">
                          <a:ln>
                            <a:noFill/>
                          </a:ln>
                          <a:solidFill>
                            <a:schemeClr val="tx1"/>
                          </a:solidFill>
                          <a:effectLst/>
                          <a:latin typeface="Arial" charset="0"/>
                          <a:ea typeface="ＭＳ Ｐゴシック" pitchFamily="-80" charset="-128"/>
                        </a:rPr>
                        <a:t>2017</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bl>
          </a:graphicData>
        </a:graphic>
      </p:graphicFrame>
      <p:graphicFrame>
        <p:nvGraphicFramePr>
          <p:cNvPr id="8" name="Group 82">
            <a:extLst>
              <a:ext uri="{FF2B5EF4-FFF2-40B4-BE49-F238E27FC236}">
                <a16:creationId xmlns:a16="http://schemas.microsoft.com/office/drawing/2014/main" id="{9D198333-A06B-47E4-9485-D2B7711FF722}"/>
              </a:ext>
            </a:extLst>
          </p:cNvPr>
          <p:cNvGraphicFramePr>
            <a:graphicFrameLocks/>
          </p:cNvGraphicFramePr>
          <p:nvPr>
            <p:extLst>
              <p:ext uri="{D42A27DB-BD31-4B8C-83A1-F6EECF244321}">
                <p14:modId xmlns:p14="http://schemas.microsoft.com/office/powerpoint/2010/main" val="918493716"/>
              </p:ext>
            </p:extLst>
          </p:nvPr>
        </p:nvGraphicFramePr>
        <p:xfrm>
          <a:off x="944216" y="5240873"/>
          <a:ext cx="1003300" cy="793754"/>
        </p:xfrm>
        <a:graphic>
          <a:graphicData uri="http://schemas.openxmlformats.org/drawingml/2006/table">
            <a:tbl>
              <a:tblPr/>
              <a:tblGrid>
                <a:gridCol w="1003300">
                  <a:extLst>
                    <a:ext uri="{9D8B030D-6E8A-4147-A177-3AD203B41FA5}">
                      <a16:colId xmlns:a16="http://schemas.microsoft.com/office/drawing/2014/main" val="20000"/>
                    </a:ext>
                  </a:extLst>
                </a:gridCol>
              </a:tblGrid>
              <a:tr h="793754">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400" b="0" i="0" u="none" strike="noStrike" cap="none" normalizeH="0" baseline="0" dirty="0">
                          <a:ln>
                            <a:noFill/>
                          </a:ln>
                          <a:solidFill>
                            <a:schemeClr val="tx1"/>
                          </a:solidFill>
                          <a:effectLst/>
                          <a:latin typeface="Arial" charset="0"/>
                          <a:ea typeface="ＭＳ Ｐゴシック" pitchFamily="-80" charset="-128"/>
                        </a:rPr>
                        <a:t>202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bl>
          </a:graphicData>
        </a:graphic>
      </p:graphicFrame>
      <p:graphicFrame>
        <p:nvGraphicFramePr>
          <p:cNvPr id="9" name="Group 89">
            <a:extLst>
              <a:ext uri="{FF2B5EF4-FFF2-40B4-BE49-F238E27FC236}">
                <a16:creationId xmlns:a16="http://schemas.microsoft.com/office/drawing/2014/main" id="{C29804C6-8357-4299-B185-EAE00824BBFA}"/>
              </a:ext>
            </a:extLst>
          </p:cNvPr>
          <p:cNvGraphicFramePr>
            <a:graphicFrameLocks noGrp="1"/>
          </p:cNvGraphicFramePr>
          <p:nvPr>
            <p:extLst>
              <p:ext uri="{D42A27DB-BD31-4B8C-83A1-F6EECF244321}">
                <p14:modId xmlns:p14="http://schemas.microsoft.com/office/powerpoint/2010/main" val="806987737"/>
              </p:ext>
            </p:extLst>
          </p:nvPr>
        </p:nvGraphicFramePr>
        <p:xfrm>
          <a:off x="944216" y="2650077"/>
          <a:ext cx="1003300" cy="792163"/>
        </p:xfrm>
        <a:graphic>
          <a:graphicData uri="http://schemas.openxmlformats.org/drawingml/2006/table">
            <a:tbl>
              <a:tblPr/>
              <a:tblGrid>
                <a:gridCol w="100330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400" b="0" i="0" u="none" strike="noStrike" cap="none" normalizeH="0" baseline="0" dirty="0">
                          <a:ln>
                            <a:noFill/>
                          </a:ln>
                          <a:solidFill>
                            <a:schemeClr val="tx1"/>
                          </a:solidFill>
                          <a:effectLst/>
                          <a:latin typeface="Arial" charset="0"/>
                          <a:ea typeface="ＭＳ Ｐゴシック" pitchFamily="-80" charset="-128"/>
                        </a:rPr>
                        <a:t>2018</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bl>
          </a:graphicData>
        </a:graphic>
      </p:graphicFrame>
      <p:graphicFrame>
        <p:nvGraphicFramePr>
          <p:cNvPr id="10" name="Group 214">
            <a:extLst>
              <a:ext uri="{FF2B5EF4-FFF2-40B4-BE49-F238E27FC236}">
                <a16:creationId xmlns:a16="http://schemas.microsoft.com/office/drawing/2014/main" id="{682B1121-3F80-4E76-AE56-2CDDD8894247}"/>
              </a:ext>
            </a:extLst>
          </p:cNvPr>
          <p:cNvGraphicFramePr>
            <a:graphicFrameLocks noGrp="1"/>
          </p:cNvGraphicFramePr>
          <p:nvPr>
            <p:extLst>
              <p:ext uri="{D42A27DB-BD31-4B8C-83A1-F6EECF244321}">
                <p14:modId xmlns:p14="http://schemas.microsoft.com/office/powerpoint/2010/main" val="3206189814"/>
              </p:ext>
            </p:extLst>
          </p:nvPr>
        </p:nvGraphicFramePr>
        <p:xfrm>
          <a:off x="4314248" y="1789070"/>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Boost W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10000"/>
                  </a:ext>
                </a:extLst>
              </a:tr>
            </a:tbl>
          </a:graphicData>
        </a:graphic>
      </p:graphicFrame>
      <p:graphicFrame>
        <p:nvGraphicFramePr>
          <p:cNvPr id="11" name="Group 405">
            <a:extLst>
              <a:ext uri="{FF2B5EF4-FFF2-40B4-BE49-F238E27FC236}">
                <a16:creationId xmlns:a16="http://schemas.microsoft.com/office/drawing/2014/main" id="{C3109302-6D4C-4DAD-A8D8-C0128FA56AE6}"/>
              </a:ext>
            </a:extLst>
          </p:cNvPr>
          <p:cNvGraphicFramePr>
            <a:graphicFrameLocks noGrp="1"/>
          </p:cNvGraphicFramePr>
          <p:nvPr>
            <p:extLst>
              <p:ext uri="{D42A27DB-BD31-4B8C-83A1-F6EECF244321}">
                <p14:modId xmlns:p14="http://schemas.microsoft.com/office/powerpoint/2010/main" val="1524949124"/>
              </p:ext>
            </p:extLst>
          </p:nvPr>
        </p:nvGraphicFramePr>
        <p:xfrm>
          <a:off x="4314248" y="2654258"/>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tx1"/>
                          </a:solidFill>
                          <a:effectLst/>
                          <a:latin typeface="Arial" charset="0"/>
                          <a:ea typeface="ＭＳ Ｐゴシック" pitchFamily="-80" charset="-128"/>
                        </a:rPr>
                        <a:t>Boost W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bl>
          </a:graphicData>
        </a:graphic>
      </p:graphicFrame>
      <p:graphicFrame>
        <p:nvGraphicFramePr>
          <p:cNvPr id="12" name="Group 222">
            <a:extLst>
              <a:ext uri="{FF2B5EF4-FFF2-40B4-BE49-F238E27FC236}">
                <a16:creationId xmlns:a16="http://schemas.microsoft.com/office/drawing/2014/main" id="{8D012BA3-EC13-47F6-8FD3-9ECDED85914B}"/>
              </a:ext>
            </a:extLst>
          </p:cNvPr>
          <p:cNvGraphicFramePr>
            <a:graphicFrameLocks noGrp="1"/>
          </p:cNvGraphicFramePr>
          <p:nvPr>
            <p:extLst>
              <p:ext uri="{D42A27DB-BD31-4B8C-83A1-F6EECF244321}">
                <p14:modId xmlns:p14="http://schemas.microsoft.com/office/powerpoint/2010/main" val="31587899"/>
              </p:ext>
            </p:extLst>
          </p:nvPr>
        </p:nvGraphicFramePr>
        <p:xfrm>
          <a:off x="4314248" y="3517858"/>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accent1"/>
                          </a:solidFill>
                          <a:effectLst/>
                          <a:latin typeface="Arial" charset="0"/>
                          <a:ea typeface="ＭＳ Ｐゴシック" pitchFamily="-80" charset="-128"/>
                        </a:rPr>
                        <a:t>Boost W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lumMod val="40000"/>
                        <a:lumOff val="60000"/>
                      </a:schemeClr>
                    </a:solidFill>
                  </a:tcPr>
                </a:tc>
                <a:extLst>
                  <a:ext uri="{0D108BD9-81ED-4DB2-BD59-A6C34878D82A}">
                    <a16:rowId xmlns:a16="http://schemas.microsoft.com/office/drawing/2014/main" val="10000"/>
                  </a:ext>
                </a:extLst>
              </a:tr>
            </a:tbl>
          </a:graphicData>
        </a:graphic>
      </p:graphicFrame>
      <p:graphicFrame>
        <p:nvGraphicFramePr>
          <p:cNvPr id="13" name="Group 404">
            <a:extLst>
              <a:ext uri="{FF2B5EF4-FFF2-40B4-BE49-F238E27FC236}">
                <a16:creationId xmlns:a16="http://schemas.microsoft.com/office/drawing/2014/main" id="{FB1E9E40-06E2-4E2D-AA26-919FE517FF8F}"/>
              </a:ext>
            </a:extLst>
          </p:cNvPr>
          <p:cNvGraphicFramePr>
            <a:graphicFrameLocks noGrp="1"/>
          </p:cNvGraphicFramePr>
          <p:nvPr>
            <p:extLst>
              <p:ext uri="{D42A27DB-BD31-4B8C-83A1-F6EECF244321}">
                <p14:modId xmlns:p14="http://schemas.microsoft.com/office/powerpoint/2010/main" val="743696058"/>
              </p:ext>
            </p:extLst>
          </p:nvPr>
        </p:nvGraphicFramePr>
        <p:xfrm>
          <a:off x="4314247" y="4381458"/>
          <a:ext cx="1305969" cy="792163"/>
        </p:xfrm>
        <a:graphic>
          <a:graphicData uri="http://schemas.openxmlformats.org/drawingml/2006/table">
            <a:tbl>
              <a:tblPr/>
              <a:tblGrid>
                <a:gridCol w="1305969">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Boost W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bl>
          </a:graphicData>
        </a:graphic>
      </p:graphicFrame>
      <p:graphicFrame>
        <p:nvGraphicFramePr>
          <p:cNvPr id="14" name="Group 234">
            <a:extLst>
              <a:ext uri="{FF2B5EF4-FFF2-40B4-BE49-F238E27FC236}">
                <a16:creationId xmlns:a16="http://schemas.microsoft.com/office/drawing/2014/main" id="{EF25CDE4-E3B8-4A40-9656-4750745BD419}"/>
              </a:ext>
            </a:extLst>
          </p:cNvPr>
          <p:cNvGraphicFramePr>
            <a:graphicFrameLocks noGrp="1"/>
          </p:cNvGraphicFramePr>
          <p:nvPr>
            <p:extLst>
              <p:ext uri="{D42A27DB-BD31-4B8C-83A1-F6EECF244321}">
                <p14:modId xmlns:p14="http://schemas.microsoft.com/office/powerpoint/2010/main" val="174641881"/>
              </p:ext>
            </p:extLst>
          </p:nvPr>
        </p:nvGraphicFramePr>
        <p:xfrm>
          <a:off x="4314248" y="5246645"/>
          <a:ext cx="1305968" cy="792163"/>
        </p:xfrm>
        <a:graphic>
          <a:graphicData uri="http://schemas.openxmlformats.org/drawingml/2006/table">
            <a:tbl>
              <a:tblPr/>
              <a:tblGrid>
                <a:gridCol w="1305968">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tx1"/>
                          </a:solidFill>
                          <a:effectLst/>
                          <a:latin typeface="Arial" charset="0"/>
                          <a:ea typeface="ＭＳ Ｐゴシック" pitchFamily="-80" charset="-128"/>
                        </a:rPr>
                        <a:t>Boost W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4">
                        <a:lumMod val="60000"/>
                        <a:lumOff val="40000"/>
                      </a:schemeClr>
                    </a:solidFill>
                  </a:tcPr>
                </a:tc>
                <a:extLst>
                  <a:ext uri="{0D108BD9-81ED-4DB2-BD59-A6C34878D82A}">
                    <a16:rowId xmlns:a16="http://schemas.microsoft.com/office/drawing/2014/main" val="10000"/>
                  </a:ext>
                </a:extLst>
              </a:tr>
            </a:tbl>
          </a:graphicData>
        </a:graphic>
      </p:graphicFrame>
      <p:graphicFrame>
        <p:nvGraphicFramePr>
          <p:cNvPr id="15" name="Group 246">
            <a:extLst>
              <a:ext uri="{FF2B5EF4-FFF2-40B4-BE49-F238E27FC236}">
                <a16:creationId xmlns:a16="http://schemas.microsoft.com/office/drawing/2014/main" id="{70015C8E-FDC9-40E4-AEE9-5FB7A603CB2C}"/>
              </a:ext>
            </a:extLst>
          </p:cNvPr>
          <p:cNvGraphicFramePr>
            <a:graphicFrameLocks noGrp="1"/>
          </p:cNvGraphicFramePr>
          <p:nvPr>
            <p:extLst>
              <p:ext uri="{D42A27DB-BD31-4B8C-83A1-F6EECF244321}">
                <p14:modId xmlns:p14="http://schemas.microsoft.com/office/powerpoint/2010/main" val="3657456496"/>
              </p:ext>
            </p:extLst>
          </p:nvPr>
        </p:nvGraphicFramePr>
        <p:xfrm>
          <a:off x="5760411" y="1789069"/>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Boost W2</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0"/>
                  </a:ext>
                </a:extLst>
              </a:tr>
            </a:tbl>
          </a:graphicData>
        </a:graphic>
      </p:graphicFrame>
      <p:graphicFrame>
        <p:nvGraphicFramePr>
          <p:cNvPr id="16" name="Group 389">
            <a:extLst>
              <a:ext uri="{FF2B5EF4-FFF2-40B4-BE49-F238E27FC236}">
                <a16:creationId xmlns:a16="http://schemas.microsoft.com/office/drawing/2014/main" id="{302662A6-1C96-41D4-8909-4E52A4139310}"/>
              </a:ext>
            </a:extLst>
          </p:cNvPr>
          <p:cNvGraphicFramePr>
            <a:graphicFrameLocks noGrp="1"/>
          </p:cNvGraphicFramePr>
          <p:nvPr>
            <p:extLst>
              <p:ext uri="{D42A27DB-BD31-4B8C-83A1-F6EECF244321}">
                <p14:modId xmlns:p14="http://schemas.microsoft.com/office/powerpoint/2010/main" val="3327881142"/>
              </p:ext>
            </p:extLst>
          </p:nvPr>
        </p:nvGraphicFramePr>
        <p:xfrm>
          <a:off x="5760411" y="2654257"/>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Boost W2</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10000"/>
                  </a:ext>
                </a:extLst>
              </a:tr>
            </a:tbl>
          </a:graphicData>
        </a:graphic>
      </p:graphicFrame>
      <p:graphicFrame>
        <p:nvGraphicFramePr>
          <p:cNvPr id="17" name="Group 373">
            <a:extLst>
              <a:ext uri="{FF2B5EF4-FFF2-40B4-BE49-F238E27FC236}">
                <a16:creationId xmlns:a16="http://schemas.microsoft.com/office/drawing/2014/main" id="{3BA9E4B7-1A24-4793-9FCF-30D6294B6C89}"/>
              </a:ext>
            </a:extLst>
          </p:cNvPr>
          <p:cNvGraphicFramePr>
            <a:graphicFrameLocks noGrp="1"/>
          </p:cNvGraphicFramePr>
          <p:nvPr>
            <p:extLst>
              <p:ext uri="{D42A27DB-BD31-4B8C-83A1-F6EECF244321}">
                <p14:modId xmlns:p14="http://schemas.microsoft.com/office/powerpoint/2010/main" val="4220994152"/>
              </p:ext>
            </p:extLst>
          </p:nvPr>
        </p:nvGraphicFramePr>
        <p:xfrm>
          <a:off x="5760411" y="3517857"/>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tx1"/>
                          </a:solidFill>
                          <a:effectLst/>
                          <a:latin typeface="Arial" charset="0"/>
                          <a:ea typeface="ＭＳ Ｐゴシック" pitchFamily="-80" charset="-128"/>
                        </a:rPr>
                        <a:t>Boost W2</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bl>
          </a:graphicData>
        </a:graphic>
      </p:graphicFrame>
      <p:graphicFrame>
        <p:nvGraphicFramePr>
          <p:cNvPr id="18" name="Group 395">
            <a:extLst>
              <a:ext uri="{FF2B5EF4-FFF2-40B4-BE49-F238E27FC236}">
                <a16:creationId xmlns:a16="http://schemas.microsoft.com/office/drawing/2014/main" id="{C01BFBEF-A494-4854-BCF1-6DF4BF1AA154}"/>
              </a:ext>
            </a:extLst>
          </p:cNvPr>
          <p:cNvGraphicFramePr>
            <a:graphicFrameLocks noGrp="1"/>
          </p:cNvGraphicFramePr>
          <p:nvPr>
            <p:extLst>
              <p:ext uri="{D42A27DB-BD31-4B8C-83A1-F6EECF244321}">
                <p14:modId xmlns:p14="http://schemas.microsoft.com/office/powerpoint/2010/main" val="112189818"/>
              </p:ext>
            </p:extLst>
          </p:nvPr>
        </p:nvGraphicFramePr>
        <p:xfrm>
          <a:off x="5760411" y="4381457"/>
          <a:ext cx="1305969" cy="792163"/>
        </p:xfrm>
        <a:graphic>
          <a:graphicData uri="http://schemas.openxmlformats.org/drawingml/2006/table">
            <a:tbl>
              <a:tblPr/>
              <a:tblGrid>
                <a:gridCol w="1305969">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accent1"/>
                          </a:solidFill>
                          <a:effectLst/>
                          <a:latin typeface="Arial" charset="0"/>
                          <a:ea typeface="ＭＳ Ｐゴシック" pitchFamily="-80" charset="-128"/>
                        </a:rPr>
                        <a:t>Boost W2</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lumMod val="40000"/>
                        <a:lumOff val="60000"/>
                      </a:schemeClr>
                    </a:solidFill>
                  </a:tcPr>
                </a:tc>
                <a:extLst>
                  <a:ext uri="{0D108BD9-81ED-4DB2-BD59-A6C34878D82A}">
                    <a16:rowId xmlns:a16="http://schemas.microsoft.com/office/drawing/2014/main" val="10000"/>
                  </a:ext>
                </a:extLst>
              </a:tr>
            </a:tbl>
          </a:graphicData>
        </a:graphic>
      </p:graphicFrame>
      <p:graphicFrame>
        <p:nvGraphicFramePr>
          <p:cNvPr id="19" name="Group 375">
            <a:extLst>
              <a:ext uri="{FF2B5EF4-FFF2-40B4-BE49-F238E27FC236}">
                <a16:creationId xmlns:a16="http://schemas.microsoft.com/office/drawing/2014/main" id="{17418C43-C916-4C61-8D32-2138AED8D8DB}"/>
              </a:ext>
            </a:extLst>
          </p:cNvPr>
          <p:cNvGraphicFramePr>
            <a:graphicFrameLocks noGrp="1"/>
          </p:cNvGraphicFramePr>
          <p:nvPr>
            <p:extLst>
              <p:ext uri="{D42A27DB-BD31-4B8C-83A1-F6EECF244321}">
                <p14:modId xmlns:p14="http://schemas.microsoft.com/office/powerpoint/2010/main" val="1908981807"/>
              </p:ext>
            </p:extLst>
          </p:nvPr>
        </p:nvGraphicFramePr>
        <p:xfrm>
          <a:off x="5760411" y="5246644"/>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Boost W2</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bl>
          </a:graphicData>
        </a:graphic>
      </p:graphicFrame>
      <p:graphicFrame>
        <p:nvGraphicFramePr>
          <p:cNvPr id="20" name="Group 387">
            <a:extLst>
              <a:ext uri="{FF2B5EF4-FFF2-40B4-BE49-F238E27FC236}">
                <a16:creationId xmlns:a16="http://schemas.microsoft.com/office/drawing/2014/main" id="{626E2533-3BEB-404B-A6E0-494F241C2A1C}"/>
              </a:ext>
            </a:extLst>
          </p:cNvPr>
          <p:cNvGraphicFramePr>
            <a:graphicFrameLocks noGrp="1"/>
          </p:cNvGraphicFramePr>
          <p:nvPr>
            <p:extLst>
              <p:ext uri="{D42A27DB-BD31-4B8C-83A1-F6EECF244321}">
                <p14:modId xmlns:p14="http://schemas.microsoft.com/office/powerpoint/2010/main" val="783242343"/>
              </p:ext>
            </p:extLst>
          </p:nvPr>
        </p:nvGraphicFramePr>
        <p:xfrm>
          <a:off x="7206575" y="1789070"/>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Boost W3</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306F74"/>
                    </a:solidFill>
                  </a:tcPr>
                </a:tc>
                <a:extLst>
                  <a:ext uri="{0D108BD9-81ED-4DB2-BD59-A6C34878D82A}">
                    <a16:rowId xmlns:a16="http://schemas.microsoft.com/office/drawing/2014/main" val="10000"/>
                  </a:ext>
                </a:extLst>
              </a:tr>
            </a:tbl>
          </a:graphicData>
        </a:graphic>
      </p:graphicFrame>
      <p:graphicFrame>
        <p:nvGraphicFramePr>
          <p:cNvPr id="21" name="Group 400">
            <a:extLst>
              <a:ext uri="{FF2B5EF4-FFF2-40B4-BE49-F238E27FC236}">
                <a16:creationId xmlns:a16="http://schemas.microsoft.com/office/drawing/2014/main" id="{59C5C835-F2C6-481F-878D-D38F16DE219C}"/>
              </a:ext>
            </a:extLst>
          </p:cNvPr>
          <p:cNvGraphicFramePr>
            <a:graphicFrameLocks noGrp="1"/>
          </p:cNvGraphicFramePr>
          <p:nvPr>
            <p:extLst>
              <p:ext uri="{D42A27DB-BD31-4B8C-83A1-F6EECF244321}">
                <p14:modId xmlns:p14="http://schemas.microsoft.com/office/powerpoint/2010/main" val="2141667980"/>
              </p:ext>
            </p:extLst>
          </p:nvPr>
        </p:nvGraphicFramePr>
        <p:xfrm>
          <a:off x="8652936" y="1789069"/>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tx1"/>
                          </a:solidFill>
                          <a:effectLst/>
                          <a:latin typeface="Arial" charset="0"/>
                          <a:ea typeface="ＭＳ Ｐゴシック" pitchFamily="-80" charset="-128"/>
                        </a:rPr>
                        <a:t>Boost W4</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5">
                        <a:lumMod val="75000"/>
                        <a:lumOff val="25000"/>
                      </a:schemeClr>
                    </a:solidFill>
                  </a:tcPr>
                </a:tc>
                <a:extLst>
                  <a:ext uri="{0D108BD9-81ED-4DB2-BD59-A6C34878D82A}">
                    <a16:rowId xmlns:a16="http://schemas.microsoft.com/office/drawing/2014/main" val="10000"/>
                  </a:ext>
                </a:extLst>
              </a:tr>
            </a:tbl>
          </a:graphicData>
        </a:graphic>
      </p:graphicFrame>
      <p:graphicFrame>
        <p:nvGraphicFramePr>
          <p:cNvPr id="23" name="Group 397">
            <a:extLst>
              <a:ext uri="{FF2B5EF4-FFF2-40B4-BE49-F238E27FC236}">
                <a16:creationId xmlns:a16="http://schemas.microsoft.com/office/drawing/2014/main" id="{EAFB8E14-308C-4B30-B41A-440E24894E55}"/>
              </a:ext>
            </a:extLst>
          </p:cNvPr>
          <p:cNvGraphicFramePr>
            <a:graphicFrameLocks noGrp="1"/>
          </p:cNvGraphicFramePr>
          <p:nvPr>
            <p:extLst>
              <p:ext uri="{D42A27DB-BD31-4B8C-83A1-F6EECF244321}">
                <p14:modId xmlns:p14="http://schemas.microsoft.com/office/powerpoint/2010/main" val="837261878"/>
              </p:ext>
            </p:extLst>
          </p:nvPr>
        </p:nvGraphicFramePr>
        <p:xfrm>
          <a:off x="7206575" y="2654258"/>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Boost W3</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0"/>
                  </a:ext>
                </a:extLst>
              </a:tr>
            </a:tbl>
          </a:graphicData>
        </a:graphic>
      </p:graphicFrame>
      <p:graphicFrame>
        <p:nvGraphicFramePr>
          <p:cNvPr id="24" name="Group 391">
            <a:extLst>
              <a:ext uri="{FF2B5EF4-FFF2-40B4-BE49-F238E27FC236}">
                <a16:creationId xmlns:a16="http://schemas.microsoft.com/office/drawing/2014/main" id="{04F61DF2-8BAF-4A86-877D-CE52D9CBBF34}"/>
              </a:ext>
            </a:extLst>
          </p:cNvPr>
          <p:cNvGraphicFramePr>
            <a:graphicFrameLocks noGrp="1"/>
          </p:cNvGraphicFramePr>
          <p:nvPr>
            <p:extLst>
              <p:ext uri="{D42A27DB-BD31-4B8C-83A1-F6EECF244321}">
                <p14:modId xmlns:p14="http://schemas.microsoft.com/office/powerpoint/2010/main" val="3663295881"/>
              </p:ext>
            </p:extLst>
          </p:nvPr>
        </p:nvGraphicFramePr>
        <p:xfrm>
          <a:off x="7206575" y="3517858"/>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Boost W3</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10000"/>
                  </a:ext>
                </a:extLst>
              </a:tr>
            </a:tbl>
          </a:graphicData>
        </a:graphic>
      </p:graphicFrame>
      <p:graphicFrame>
        <p:nvGraphicFramePr>
          <p:cNvPr id="25" name="Group 402">
            <a:extLst>
              <a:ext uri="{FF2B5EF4-FFF2-40B4-BE49-F238E27FC236}">
                <a16:creationId xmlns:a16="http://schemas.microsoft.com/office/drawing/2014/main" id="{BE17D402-0654-4281-81DB-36888141B7FB}"/>
              </a:ext>
            </a:extLst>
          </p:cNvPr>
          <p:cNvGraphicFramePr>
            <a:graphicFrameLocks noGrp="1"/>
          </p:cNvGraphicFramePr>
          <p:nvPr>
            <p:extLst>
              <p:ext uri="{D42A27DB-BD31-4B8C-83A1-F6EECF244321}">
                <p14:modId xmlns:p14="http://schemas.microsoft.com/office/powerpoint/2010/main" val="2109182904"/>
              </p:ext>
            </p:extLst>
          </p:nvPr>
        </p:nvGraphicFramePr>
        <p:xfrm>
          <a:off x="7206575" y="4381458"/>
          <a:ext cx="1305969" cy="792163"/>
        </p:xfrm>
        <a:graphic>
          <a:graphicData uri="http://schemas.openxmlformats.org/drawingml/2006/table">
            <a:tbl>
              <a:tblPr/>
              <a:tblGrid>
                <a:gridCol w="1305969">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tx1"/>
                          </a:solidFill>
                          <a:effectLst/>
                          <a:latin typeface="Arial" charset="0"/>
                          <a:ea typeface="ＭＳ Ｐゴシック" pitchFamily="-80" charset="-128"/>
                        </a:rPr>
                        <a:t>Boost W3</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bl>
          </a:graphicData>
        </a:graphic>
      </p:graphicFrame>
      <p:graphicFrame>
        <p:nvGraphicFramePr>
          <p:cNvPr id="26" name="Group 396">
            <a:extLst>
              <a:ext uri="{FF2B5EF4-FFF2-40B4-BE49-F238E27FC236}">
                <a16:creationId xmlns:a16="http://schemas.microsoft.com/office/drawing/2014/main" id="{004F8AE2-844D-4C96-B664-3E8680008B7D}"/>
              </a:ext>
            </a:extLst>
          </p:cNvPr>
          <p:cNvGraphicFramePr>
            <a:graphicFrameLocks noGrp="1"/>
          </p:cNvGraphicFramePr>
          <p:nvPr>
            <p:extLst>
              <p:ext uri="{D42A27DB-BD31-4B8C-83A1-F6EECF244321}">
                <p14:modId xmlns:p14="http://schemas.microsoft.com/office/powerpoint/2010/main" val="2563220537"/>
              </p:ext>
            </p:extLst>
          </p:nvPr>
        </p:nvGraphicFramePr>
        <p:xfrm>
          <a:off x="7206575" y="5246645"/>
          <a:ext cx="1305968" cy="792163"/>
        </p:xfrm>
        <a:graphic>
          <a:graphicData uri="http://schemas.openxmlformats.org/drawingml/2006/table">
            <a:tbl>
              <a:tblPr/>
              <a:tblGrid>
                <a:gridCol w="1305968">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accent1"/>
                          </a:solidFill>
                          <a:effectLst/>
                          <a:latin typeface="Arial" charset="0"/>
                          <a:ea typeface="ＭＳ Ｐゴシック" pitchFamily="-80" charset="-128"/>
                        </a:rPr>
                        <a:t>Boost W3</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lumMod val="40000"/>
                        <a:lumOff val="60000"/>
                      </a:schemeClr>
                    </a:solidFill>
                  </a:tcPr>
                </a:tc>
                <a:extLst>
                  <a:ext uri="{0D108BD9-81ED-4DB2-BD59-A6C34878D82A}">
                    <a16:rowId xmlns:a16="http://schemas.microsoft.com/office/drawing/2014/main" val="10000"/>
                  </a:ext>
                </a:extLst>
              </a:tr>
            </a:tbl>
          </a:graphicData>
        </a:graphic>
      </p:graphicFrame>
      <p:graphicFrame>
        <p:nvGraphicFramePr>
          <p:cNvPr id="27" name="Group 390">
            <a:extLst>
              <a:ext uri="{FF2B5EF4-FFF2-40B4-BE49-F238E27FC236}">
                <a16:creationId xmlns:a16="http://schemas.microsoft.com/office/drawing/2014/main" id="{66BD0B31-09E2-4D5A-AB31-8F65373875D9}"/>
              </a:ext>
            </a:extLst>
          </p:cNvPr>
          <p:cNvGraphicFramePr>
            <a:graphicFrameLocks noGrp="1"/>
          </p:cNvGraphicFramePr>
          <p:nvPr>
            <p:extLst>
              <p:ext uri="{D42A27DB-BD31-4B8C-83A1-F6EECF244321}">
                <p14:modId xmlns:p14="http://schemas.microsoft.com/office/powerpoint/2010/main" val="3254440960"/>
              </p:ext>
            </p:extLst>
          </p:nvPr>
        </p:nvGraphicFramePr>
        <p:xfrm>
          <a:off x="8652936" y="2654257"/>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Boost W4</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306F74"/>
                    </a:solidFill>
                  </a:tcPr>
                </a:tc>
                <a:extLst>
                  <a:ext uri="{0D108BD9-81ED-4DB2-BD59-A6C34878D82A}">
                    <a16:rowId xmlns:a16="http://schemas.microsoft.com/office/drawing/2014/main" val="10000"/>
                  </a:ext>
                </a:extLst>
              </a:tr>
            </a:tbl>
          </a:graphicData>
        </a:graphic>
      </p:graphicFrame>
      <p:graphicFrame>
        <p:nvGraphicFramePr>
          <p:cNvPr id="28" name="Group 398">
            <a:extLst>
              <a:ext uri="{FF2B5EF4-FFF2-40B4-BE49-F238E27FC236}">
                <a16:creationId xmlns:a16="http://schemas.microsoft.com/office/drawing/2014/main" id="{543A5606-C1D2-4748-B15B-C37D059E6653}"/>
              </a:ext>
            </a:extLst>
          </p:cNvPr>
          <p:cNvGraphicFramePr>
            <a:graphicFrameLocks noGrp="1"/>
          </p:cNvGraphicFramePr>
          <p:nvPr>
            <p:extLst>
              <p:ext uri="{D42A27DB-BD31-4B8C-83A1-F6EECF244321}">
                <p14:modId xmlns:p14="http://schemas.microsoft.com/office/powerpoint/2010/main" val="2456800419"/>
              </p:ext>
            </p:extLst>
          </p:nvPr>
        </p:nvGraphicFramePr>
        <p:xfrm>
          <a:off x="8652936" y="3517857"/>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Boost W4</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0"/>
                  </a:ext>
                </a:extLst>
              </a:tr>
            </a:tbl>
          </a:graphicData>
        </a:graphic>
      </p:graphicFrame>
      <p:graphicFrame>
        <p:nvGraphicFramePr>
          <p:cNvPr id="29" name="Group 392">
            <a:extLst>
              <a:ext uri="{FF2B5EF4-FFF2-40B4-BE49-F238E27FC236}">
                <a16:creationId xmlns:a16="http://schemas.microsoft.com/office/drawing/2014/main" id="{C110B935-B9F4-4CA9-A7C5-A1EC3C9687E3}"/>
              </a:ext>
            </a:extLst>
          </p:cNvPr>
          <p:cNvGraphicFramePr>
            <a:graphicFrameLocks noGrp="1"/>
          </p:cNvGraphicFramePr>
          <p:nvPr>
            <p:extLst>
              <p:ext uri="{D42A27DB-BD31-4B8C-83A1-F6EECF244321}">
                <p14:modId xmlns:p14="http://schemas.microsoft.com/office/powerpoint/2010/main" val="4100851046"/>
              </p:ext>
            </p:extLst>
          </p:nvPr>
        </p:nvGraphicFramePr>
        <p:xfrm>
          <a:off x="8652935" y="4381457"/>
          <a:ext cx="1305969" cy="792163"/>
        </p:xfrm>
        <a:graphic>
          <a:graphicData uri="http://schemas.openxmlformats.org/drawingml/2006/table">
            <a:tbl>
              <a:tblPr/>
              <a:tblGrid>
                <a:gridCol w="1305969">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Boost W4</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10000"/>
                  </a:ext>
                </a:extLst>
              </a:tr>
            </a:tbl>
          </a:graphicData>
        </a:graphic>
      </p:graphicFrame>
      <p:graphicFrame>
        <p:nvGraphicFramePr>
          <p:cNvPr id="30" name="Group 403">
            <a:extLst>
              <a:ext uri="{FF2B5EF4-FFF2-40B4-BE49-F238E27FC236}">
                <a16:creationId xmlns:a16="http://schemas.microsoft.com/office/drawing/2014/main" id="{F7717EBB-E950-4C4A-9660-7543BAE4597B}"/>
              </a:ext>
            </a:extLst>
          </p:cNvPr>
          <p:cNvGraphicFramePr>
            <a:graphicFrameLocks noGrp="1"/>
          </p:cNvGraphicFramePr>
          <p:nvPr>
            <p:extLst>
              <p:ext uri="{D42A27DB-BD31-4B8C-83A1-F6EECF244321}">
                <p14:modId xmlns:p14="http://schemas.microsoft.com/office/powerpoint/2010/main" val="2374341987"/>
              </p:ext>
            </p:extLst>
          </p:nvPr>
        </p:nvGraphicFramePr>
        <p:xfrm>
          <a:off x="8652936" y="5246644"/>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tx1"/>
                          </a:solidFill>
                          <a:effectLst/>
                          <a:latin typeface="Arial" charset="0"/>
                          <a:ea typeface="ＭＳ Ｐゴシック" pitchFamily="-80" charset="-128"/>
                        </a:rPr>
                        <a:t>Boost W4</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bl>
          </a:graphicData>
        </a:graphic>
      </p:graphicFrame>
      <p:sp>
        <p:nvSpPr>
          <p:cNvPr id="35" name="TextBox 34">
            <a:extLst>
              <a:ext uri="{FF2B5EF4-FFF2-40B4-BE49-F238E27FC236}">
                <a16:creationId xmlns:a16="http://schemas.microsoft.com/office/drawing/2014/main" id="{295CF973-4866-4329-A26A-0FCB76065C3D}"/>
              </a:ext>
            </a:extLst>
          </p:cNvPr>
          <p:cNvSpPr txBox="1"/>
          <p:nvPr/>
        </p:nvSpPr>
        <p:spPr>
          <a:xfrm>
            <a:off x="877472" y="1161246"/>
            <a:ext cx="9219374" cy="400110"/>
          </a:xfrm>
          <a:prstGeom prst="rect">
            <a:avLst/>
          </a:prstGeom>
        </p:spPr>
        <p:txBody>
          <a:bodyPr vert="horz" wrap="square" lIns="0" tIns="45720" rIns="91440" bIns="45720" rtlCol="0" anchor="b" anchorCtr="0">
            <a:spAutoFit/>
          </a:bodyPr>
          <a:lstStyle/>
          <a:p>
            <a:r>
              <a:rPr lang="en-GB" sz="2000" dirty="0"/>
              <a:t>The APS is made up of LFS W1 and W5, and the LFS Boost W1-4 </a:t>
            </a:r>
          </a:p>
        </p:txBody>
      </p:sp>
      <p:graphicFrame>
        <p:nvGraphicFramePr>
          <p:cNvPr id="31" name="Group 214">
            <a:extLst>
              <a:ext uri="{FF2B5EF4-FFF2-40B4-BE49-F238E27FC236}">
                <a16:creationId xmlns:a16="http://schemas.microsoft.com/office/drawing/2014/main" id="{89E3CF36-FD88-4B21-87D2-9737CA07E694}"/>
              </a:ext>
            </a:extLst>
          </p:cNvPr>
          <p:cNvGraphicFramePr>
            <a:graphicFrameLocks noGrp="1"/>
          </p:cNvGraphicFramePr>
          <p:nvPr>
            <p:extLst>
              <p:ext uri="{D42A27DB-BD31-4B8C-83A1-F6EECF244321}">
                <p14:modId xmlns:p14="http://schemas.microsoft.com/office/powerpoint/2010/main" val="671659593"/>
              </p:ext>
            </p:extLst>
          </p:nvPr>
        </p:nvGraphicFramePr>
        <p:xfrm>
          <a:off x="2095154" y="1784889"/>
          <a:ext cx="1008062" cy="792163"/>
        </p:xfrm>
        <a:graphic>
          <a:graphicData uri="http://schemas.openxmlformats.org/drawingml/2006/table">
            <a:tbl>
              <a:tblPr/>
              <a:tblGrid>
                <a:gridCol w="1008062">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LFS W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10000"/>
                  </a:ext>
                </a:extLst>
              </a:tr>
            </a:tbl>
          </a:graphicData>
        </a:graphic>
      </p:graphicFrame>
      <p:graphicFrame>
        <p:nvGraphicFramePr>
          <p:cNvPr id="32" name="Group 405">
            <a:extLst>
              <a:ext uri="{FF2B5EF4-FFF2-40B4-BE49-F238E27FC236}">
                <a16:creationId xmlns:a16="http://schemas.microsoft.com/office/drawing/2014/main" id="{8E0E5CC0-96A2-4605-9A15-39E928D1F043}"/>
              </a:ext>
            </a:extLst>
          </p:cNvPr>
          <p:cNvGraphicFramePr>
            <a:graphicFrameLocks noGrp="1"/>
          </p:cNvGraphicFramePr>
          <p:nvPr>
            <p:extLst>
              <p:ext uri="{D42A27DB-BD31-4B8C-83A1-F6EECF244321}">
                <p14:modId xmlns:p14="http://schemas.microsoft.com/office/powerpoint/2010/main" val="1513650156"/>
              </p:ext>
            </p:extLst>
          </p:nvPr>
        </p:nvGraphicFramePr>
        <p:xfrm>
          <a:off x="2095154" y="2650077"/>
          <a:ext cx="1008062" cy="792163"/>
        </p:xfrm>
        <a:graphic>
          <a:graphicData uri="http://schemas.openxmlformats.org/drawingml/2006/table">
            <a:tbl>
              <a:tblPr/>
              <a:tblGrid>
                <a:gridCol w="1008062">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LFS W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10000"/>
                  </a:ext>
                </a:extLst>
              </a:tr>
            </a:tbl>
          </a:graphicData>
        </a:graphic>
      </p:graphicFrame>
      <p:graphicFrame>
        <p:nvGraphicFramePr>
          <p:cNvPr id="33" name="Group 222">
            <a:extLst>
              <a:ext uri="{FF2B5EF4-FFF2-40B4-BE49-F238E27FC236}">
                <a16:creationId xmlns:a16="http://schemas.microsoft.com/office/drawing/2014/main" id="{F1EA24A0-3869-4F98-BAE5-E728F9612709}"/>
              </a:ext>
            </a:extLst>
          </p:cNvPr>
          <p:cNvGraphicFramePr>
            <a:graphicFrameLocks noGrp="1"/>
          </p:cNvGraphicFramePr>
          <p:nvPr>
            <p:extLst>
              <p:ext uri="{D42A27DB-BD31-4B8C-83A1-F6EECF244321}">
                <p14:modId xmlns:p14="http://schemas.microsoft.com/office/powerpoint/2010/main" val="555778597"/>
              </p:ext>
            </p:extLst>
          </p:nvPr>
        </p:nvGraphicFramePr>
        <p:xfrm>
          <a:off x="2095154" y="3513677"/>
          <a:ext cx="1008062" cy="792163"/>
        </p:xfrm>
        <a:graphic>
          <a:graphicData uri="http://schemas.openxmlformats.org/drawingml/2006/table">
            <a:tbl>
              <a:tblPr/>
              <a:tblGrid>
                <a:gridCol w="1008062">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LFS W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10000"/>
                  </a:ext>
                </a:extLst>
              </a:tr>
            </a:tbl>
          </a:graphicData>
        </a:graphic>
      </p:graphicFrame>
      <p:graphicFrame>
        <p:nvGraphicFramePr>
          <p:cNvPr id="34" name="Group 404">
            <a:extLst>
              <a:ext uri="{FF2B5EF4-FFF2-40B4-BE49-F238E27FC236}">
                <a16:creationId xmlns:a16="http://schemas.microsoft.com/office/drawing/2014/main" id="{D93B3613-2680-46A3-AA1C-6A9DC582B9B4}"/>
              </a:ext>
            </a:extLst>
          </p:cNvPr>
          <p:cNvGraphicFramePr>
            <a:graphicFrameLocks noGrp="1"/>
          </p:cNvGraphicFramePr>
          <p:nvPr>
            <p:extLst>
              <p:ext uri="{D42A27DB-BD31-4B8C-83A1-F6EECF244321}">
                <p14:modId xmlns:p14="http://schemas.microsoft.com/office/powerpoint/2010/main" val="3835090988"/>
              </p:ext>
            </p:extLst>
          </p:nvPr>
        </p:nvGraphicFramePr>
        <p:xfrm>
          <a:off x="2095154" y="4377277"/>
          <a:ext cx="1008062" cy="792163"/>
        </p:xfrm>
        <a:graphic>
          <a:graphicData uri="http://schemas.openxmlformats.org/drawingml/2006/table">
            <a:tbl>
              <a:tblPr/>
              <a:tblGrid>
                <a:gridCol w="1008062">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LFS W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10000"/>
                  </a:ext>
                </a:extLst>
              </a:tr>
            </a:tbl>
          </a:graphicData>
        </a:graphic>
      </p:graphicFrame>
      <p:graphicFrame>
        <p:nvGraphicFramePr>
          <p:cNvPr id="36" name="Group 234">
            <a:extLst>
              <a:ext uri="{FF2B5EF4-FFF2-40B4-BE49-F238E27FC236}">
                <a16:creationId xmlns:a16="http://schemas.microsoft.com/office/drawing/2014/main" id="{4669F1CC-2D78-4C35-949B-7BD0B0BC5EF3}"/>
              </a:ext>
            </a:extLst>
          </p:cNvPr>
          <p:cNvGraphicFramePr>
            <a:graphicFrameLocks noGrp="1"/>
          </p:cNvGraphicFramePr>
          <p:nvPr>
            <p:extLst>
              <p:ext uri="{D42A27DB-BD31-4B8C-83A1-F6EECF244321}">
                <p14:modId xmlns:p14="http://schemas.microsoft.com/office/powerpoint/2010/main" val="2727346718"/>
              </p:ext>
            </p:extLst>
          </p:nvPr>
        </p:nvGraphicFramePr>
        <p:xfrm>
          <a:off x="2095154" y="5242464"/>
          <a:ext cx="1008062" cy="792163"/>
        </p:xfrm>
        <a:graphic>
          <a:graphicData uri="http://schemas.openxmlformats.org/drawingml/2006/table">
            <a:tbl>
              <a:tblPr/>
              <a:tblGrid>
                <a:gridCol w="1008062">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LFS W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10000"/>
                  </a:ext>
                </a:extLst>
              </a:tr>
            </a:tbl>
          </a:graphicData>
        </a:graphic>
      </p:graphicFrame>
      <p:graphicFrame>
        <p:nvGraphicFramePr>
          <p:cNvPr id="37" name="Group 246">
            <a:extLst>
              <a:ext uri="{FF2B5EF4-FFF2-40B4-BE49-F238E27FC236}">
                <a16:creationId xmlns:a16="http://schemas.microsoft.com/office/drawing/2014/main" id="{F996AD5E-10C7-4116-85F5-F217E26C4D8D}"/>
              </a:ext>
            </a:extLst>
          </p:cNvPr>
          <p:cNvGraphicFramePr>
            <a:graphicFrameLocks noGrp="1"/>
          </p:cNvGraphicFramePr>
          <p:nvPr>
            <p:extLst>
              <p:ext uri="{D42A27DB-BD31-4B8C-83A1-F6EECF244321}">
                <p14:modId xmlns:p14="http://schemas.microsoft.com/office/powerpoint/2010/main" val="2837298068"/>
              </p:ext>
            </p:extLst>
          </p:nvPr>
        </p:nvGraphicFramePr>
        <p:xfrm>
          <a:off x="3176241" y="1784889"/>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LFS W5</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bl>
          </a:graphicData>
        </a:graphic>
      </p:graphicFrame>
      <p:graphicFrame>
        <p:nvGraphicFramePr>
          <p:cNvPr id="38" name="Group 389">
            <a:extLst>
              <a:ext uri="{FF2B5EF4-FFF2-40B4-BE49-F238E27FC236}">
                <a16:creationId xmlns:a16="http://schemas.microsoft.com/office/drawing/2014/main" id="{3912495F-A1A3-4327-8AC8-E7D49039EB2C}"/>
              </a:ext>
            </a:extLst>
          </p:cNvPr>
          <p:cNvGraphicFramePr>
            <a:graphicFrameLocks noGrp="1"/>
          </p:cNvGraphicFramePr>
          <p:nvPr>
            <p:extLst>
              <p:ext uri="{D42A27DB-BD31-4B8C-83A1-F6EECF244321}">
                <p14:modId xmlns:p14="http://schemas.microsoft.com/office/powerpoint/2010/main" val="1762564660"/>
              </p:ext>
            </p:extLst>
          </p:nvPr>
        </p:nvGraphicFramePr>
        <p:xfrm>
          <a:off x="3176241" y="2650077"/>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LFS W5</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bl>
          </a:graphicData>
        </a:graphic>
      </p:graphicFrame>
      <p:graphicFrame>
        <p:nvGraphicFramePr>
          <p:cNvPr id="39" name="Group 373">
            <a:extLst>
              <a:ext uri="{FF2B5EF4-FFF2-40B4-BE49-F238E27FC236}">
                <a16:creationId xmlns:a16="http://schemas.microsoft.com/office/drawing/2014/main" id="{16D929C4-0C79-418B-B72B-031F615BDCCE}"/>
              </a:ext>
            </a:extLst>
          </p:cNvPr>
          <p:cNvGraphicFramePr>
            <a:graphicFrameLocks noGrp="1"/>
          </p:cNvGraphicFramePr>
          <p:nvPr>
            <p:extLst>
              <p:ext uri="{D42A27DB-BD31-4B8C-83A1-F6EECF244321}">
                <p14:modId xmlns:p14="http://schemas.microsoft.com/office/powerpoint/2010/main" val="2433719140"/>
              </p:ext>
            </p:extLst>
          </p:nvPr>
        </p:nvGraphicFramePr>
        <p:xfrm>
          <a:off x="3176241" y="3513677"/>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LFS W5</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bl>
          </a:graphicData>
        </a:graphic>
      </p:graphicFrame>
      <p:graphicFrame>
        <p:nvGraphicFramePr>
          <p:cNvPr id="40" name="Group 395">
            <a:extLst>
              <a:ext uri="{FF2B5EF4-FFF2-40B4-BE49-F238E27FC236}">
                <a16:creationId xmlns:a16="http://schemas.microsoft.com/office/drawing/2014/main" id="{9CFE95CE-3DCC-4FF2-9C7C-7BD5FF3D49E8}"/>
              </a:ext>
            </a:extLst>
          </p:cNvPr>
          <p:cNvGraphicFramePr>
            <a:graphicFrameLocks noGrp="1"/>
          </p:cNvGraphicFramePr>
          <p:nvPr>
            <p:extLst>
              <p:ext uri="{D42A27DB-BD31-4B8C-83A1-F6EECF244321}">
                <p14:modId xmlns:p14="http://schemas.microsoft.com/office/powerpoint/2010/main" val="2946993549"/>
              </p:ext>
            </p:extLst>
          </p:nvPr>
        </p:nvGraphicFramePr>
        <p:xfrm>
          <a:off x="3176241" y="4377277"/>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LFS W5</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bl>
          </a:graphicData>
        </a:graphic>
      </p:graphicFrame>
      <p:graphicFrame>
        <p:nvGraphicFramePr>
          <p:cNvPr id="41" name="Group 375">
            <a:extLst>
              <a:ext uri="{FF2B5EF4-FFF2-40B4-BE49-F238E27FC236}">
                <a16:creationId xmlns:a16="http://schemas.microsoft.com/office/drawing/2014/main" id="{D91E47CD-79F5-43B0-B93F-D3DDDA48A0A5}"/>
              </a:ext>
            </a:extLst>
          </p:cNvPr>
          <p:cNvGraphicFramePr>
            <a:graphicFrameLocks noGrp="1"/>
          </p:cNvGraphicFramePr>
          <p:nvPr>
            <p:extLst>
              <p:ext uri="{D42A27DB-BD31-4B8C-83A1-F6EECF244321}">
                <p14:modId xmlns:p14="http://schemas.microsoft.com/office/powerpoint/2010/main" val="44595742"/>
              </p:ext>
            </p:extLst>
          </p:nvPr>
        </p:nvGraphicFramePr>
        <p:xfrm>
          <a:off x="3176241" y="5242464"/>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LFS W5</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772643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1+#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1+#ppt_w/2"/>
                                          </p:val>
                                        </p:tav>
                                        <p:tav tm="100000">
                                          <p:val>
                                            <p:strVal val="#ppt_x"/>
                                          </p:val>
                                        </p:tav>
                                      </p:tavLst>
                                    </p:anim>
                                    <p:anim calcmode="lin" valueType="num">
                                      <p:cBhvr additive="base">
                                        <p:cTn id="16" dur="500" fill="hold"/>
                                        <p:tgtEl>
                                          <p:spTgt spid="6"/>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1+#ppt_w/2"/>
                                          </p:val>
                                        </p:tav>
                                        <p:tav tm="100000">
                                          <p:val>
                                            <p:strVal val="#ppt_x"/>
                                          </p:val>
                                        </p:tav>
                                      </p:tavLst>
                                    </p:anim>
                                    <p:anim calcmode="lin" valueType="num">
                                      <p:cBhvr additive="base">
                                        <p:cTn id="20" dur="500" fill="hold"/>
                                        <p:tgtEl>
                                          <p:spTgt spid="5"/>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fill="hold"/>
                                        <p:tgtEl>
                                          <p:spTgt spid="8"/>
                                        </p:tgtEl>
                                        <p:attrNameLst>
                                          <p:attrName>ppt_x</p:attrName>
                                        </p:attrNameLst>
                                      </p:cBhvr>
                                      <p:tavLst>
                                        <p:tav tm="0">
                                          <p:val>
                                            <p:strVal val="1+#ppt_w/2"/>
                                          </p:val>
                                        </p:tav>
                                        <p:tav tm="100000">
                                          <p:val>
                                            <p:strVal val="#ppt_x"/>
                                          </p:val>
                                        </p:tav>
                                      </p:tavLst>
                                    </p:anim>
                                    <p:anim calcmode="lin" valueType="num">
                                      <p:cBhvr additive="base">
                                        <p:cTn id="24"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6" fill="hold" nodeType="clickEffect">
                                  <p:stCondLst>
                                    <p:cond delay="0"/>
                                  </p:stCondLst>
                                  <p:childTnLst>
                                    <p:set>
                                      <p:cBhvr>
                                        <p:cTn id="28" dur="1" fill="hold">
                                          <p:stCondLst>
                                            <p:cond delay="0"/>
                                          </p:stCondLst>
                                        </p:cTn>
                                        <p:tgtEl>
                                          <p:spTgt spid="10"/>
                                        </p:tgtEl>
                                        <p:attrNameLst>
                                          <p:attrName>style.visibility</p:attrName>
                                        </p:attrNameLst>
                                      </p:cBhvr>
                                      <p:to>
                                        <p:strVal val="visible"/>
                                      </p:to>
                                    </p:set>
                                    <p:anim calcmode="lin" valueType="num">
                                      <p:cBhvr additive="base">
                                        <p:cTn id="29" dur="500" fill="hold"/>
                                        <p:tgtEl>
                                          <p:spTgt spid="10"/>
                                        </p:tgtEl>
                                        <p:attrNameLst>
                                          <p:attrName>ppt_x</p:attrName>
                                        </p:attrNameLst>
                                      </p:cBhvr>
                                      <p:tavLst>
                                        <p:tav tm="0">
                                          <p:val>
                                            <p:strVal val="1+#ppt_w/2"/>
                                          </p:val>
                                        </p:tav>
                                        <p:tav tm="100000">
                                          <p:val>
                                            <p:strVal val="#ppt_x"/>
                                          </p:val>
                                        </p:tav>
                                      </p:tavLst>
                                    </p:anim>
                                    <p:anim calcmode="lin" valueType="num">
                                      <p:cBhvr additive="base">
                                        <p:cTn id="30" dur="500" fill="hold"/>
                                        <p:tgtEl>
                                          <p:spTgt spid="10"/>
                                        </p:tgtEl>
                                        <p:attrNameLst>
                                          <p:attrName>ppt_y</p:attrName>
                                        </p:attrNameLst>
                                      </p:cBhvr>
                                      <p:tavLst>
                                        <p:tav tm="0">
                                          <p:val>
                                            <p:strVal val="1+#ppt_h/2"/>
                                          </p:val>
                                        </p:tav>
                                        <p:tav tm="100000">
                                          <p:val>
                                            <p:strVal val="#ppt_y"/>
                                          </p:val>
                                        </p:tav>
                                      </p:tavLst>
                                    </p:anim>
                                  </p:childTnLst>
                                </p:cTn>
                              </p:par>
                              <p:par>
                                <p:cTn id="31" presetID="2" presetClass="entr" presetSubtype="6" fill="hold" nodeType="withEffect">
                                  <p:stCondLst>
                                    <p:cond delay="0"/>
                                  </p:stCondLst>
                                  <p:childTnLst>
                                    <p:set>
                                      <p:cBhvr>
                                        <p:cTn id="32" dur="1" fill="hold">
                                          <p:stCondLst>
                                            <p:cond delay="0"/>
                                          </p:stCondLst>
                                        </p:cTn>
                                        <p:tgtEl>
                                          <p:spTgt spid="16"/>
                                        </p:tgtEl>
                                        <p:attrNameLst>
                                          <p:attrName>style.visibility</p:attrName>
                                        </p:attrNameLst>
                                      </p:cBhvr>
                                      <p:to>
                                        <p:strVal val="visible"/>
                                      </p:to>
                                    </p:set>
                                    <p:anim calcmode="lin" valueType="num">
                                      <p:cBhvr additive="base">
                                        <p:cTn id="33" dur="500" fill="hold"/>
                                        <p:tgtEl>
                                          <p:spTgt spid="16"/>
                                        </p:tgtEl>
                                        <p:attrNameLst>
                                          <p:attrName>ppt_x</p:attrName>
                                        </p:attrNameLst>
                                      </p:cBhvr>
                                      <p:tavLst>
                                        <p:tav tm="0">
                                          <p:val>
                                            <p:strVal val="1+#ppt_w/2"/>
                                          </p:val>
                                        </p:tav>
                                        <p:tav tm="100000">
                                          <p:val>
                                            <p:strVal val="#ppt_x"/>
                                          </p:val>
                                        </p:tav>
                                      </p:tavLst>
                                    </p:anim>
                                    <p:anim calcmode="lin" valueType="num">
                                      <p:cBhvr additive="base">
                                        <p:cTn id="34" dur="500" fill="hold"/>
                                        <p:tgtEl>
                                          <p:spTgt spid="16"/>
                                        </p:tgtEl>
                                        <p:attrNameLst>
                                          <p:attrName>ppt_y</p:attrName>
                                        </p:attrNameLst>
                                      </p:cBhvr>
                                      <p:tavLst>
                                        <p:tav tm="0">
                                          <p:val>
                                            <p:strVal val="1+#ppt_h/2"/>
                                          </p:val>
                                        </p:tav>
                                        <p:tav tm="100000">
                                          <p:val>
                                            <p:strVal val="#ppt_y"/>
                                          </p:val>
                                        </p:tav>
                                      </p:tavLst>
                                    </p:anim>
                                  </p:childTnLst>
                                </p:cTn>
                              </p:par>
                              <p:par>
                                <p:cTn id="35" presetID="2" presetClass="entr" presetSubtype="6"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anim calcmode="lin" valueType="num">
                                      <p:cBhvr additive="base">
                                        <p:cTn id="37" dur="500" fill="hold"/>
                                        <p:tgtEl>
                                          <p:spTgt spid="24"/>
                                        </p:tgtEl>
                                        <p:attrNameLst>
                                          <p:attrName>ppt_x</p:attrName>
                                        </p:attrNameLst>
                                      </p:cBhvr>
                                      <p:tavLst>
                                        <p:tav tm="0">
                                          <p:val>
                                            <p:strVal val="1+#ppt_w/2"/>
                                          </p:val>
                                        </p:tav>
                                        <p:tav tm="100000">
                                          <p:val>
                                            <p:strVal val="#ppt_x"/>
                                          </p:val>
                                        </p:tav>
                                      </p:tavLst>
                                    </p:anim>
                                    <p:anim calcmode="lin" valueType="num">
                                      <p:cBhvr additive="base">
                                        <p:cTn id="38" dur="500" fill="hold"/>
                                        <p:tgtEl>
                                          <p:spTgt spid="24"/>
                                        </p:tgtEl>
                                        <p:attrNameLst>
                                          <p:attrName>ppt_y</p:attrName>
                                        </p:attrNameLst>
                                      </p:cBhvr>
                                      <p:tavLst>
                                        <p:tav tm="0">
                                          <p:val>
                                            <p:strVal val="1+#ppt_h/2"/>
                                          </p:val>
                                        </p:tav>
                                        <p:tav tm="100000">
                                          <p:val>
                                            <p:strVal val="#ppt_y"/>
                                          </p:val>
                                        </p:tav>
                                      </p:tavLst>
                                    </p:anim>
                                  </p:childTnLst>
                                </p:cTn>
                              </p:par>
                              <p:par>
                                <p:cTn id="39" presetID="2" presetClass="entr" presetSubtype="6" fill="hold" nodeType="withEffect">
                                  <p:stCondLst>
                                    <p:cond delay="0"/>
                                  </p:stCondLst>
                                  <p:childTnLst>
                                    <p:set>
                                      <p:cBhvr>
                                        <p:cTn id="40" dur="1" fill="hold">
                                          <p:stCondLst>
                                            <p:cond delay="0"/>
                                          </p:stCondLst>
                                        </p:cTn>
                                        <p:tgtEl>
                                          <p:spTgt spid="29"/>
                                        </p:tgtEl>
                                        <p:attrNameLst>
                                          <p:attrName>style.visibility</p:attrName>
                                        </p:attrNameLst>
                                      </p:cBhvr>
                                      <p:to>
                                        <p:strVal val="visible"/>
                                      </p:to>
                                    </p:set>
                                    <p:anim calcmode="lin" valueType="num">
                                      <p:cBhvr additive="base">
                                        <p:cTn id="41" dur="500" fill="hold"/>
                                        <p:tgtEl>
                                          <p:spTgt spid="29"/>
                                        </p:tgtEl>
                                        <p:attrNameLst>
                                          <p:attrName>ppt_x</p:attrName>
                                        </p:attrNameLst>
                                      </p:cBhvr>
                                      <p:tavLst>
                                        <p:tav tm="0">
                                          <p:val>
                                            <p:strVal val="1+#ppt_w/2"/>
                                          </p:val>
                                        </p:tav>
                                        <p:tav tm="100000">
                                          <p:val>
                                            <p:strVal val="#ppt_x"/>
                                          </p:val>
                                        </p:tav>
                                      </p:tavLst>
                                    </p:anim>
                                    <p:anim calcmode="lin" valueType="num">
                                      <p:cBhvr additive="base">
                                        <p:cTn id="42"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6" fill="hold" nodeType="clickEffect">
                                  <p:stCondLst>
                                    <p:cond delay="0"/>
                                  </p:stCondLst>
                                  <p:childTnLst>
                                    <p:set>
                                      <p:cBhvr>
                                        <p:cTn id="46" dur="1" fill="hold">
                                          <p:stCondLst>
                                            <p:cond delay="0"/>
                                          </p:stCondLst>
                                        </p:cTn>
                                        <p:tgtEl>
                                          <p:spTgt spid="11"/>
                                        </p:tgtEl>
                                        <p:attrNameLst>
                                          <p:attrName>style.visibility</p:attrName>
                                        </p:attrNameLst>
                                      </p:cBhvr>
                                      <p:to>
                                        <p:strVal val="visible"/>
                                      </p:to>
                                    </p:set>
                                    <p:anim calcmode="lin" valueType="num">
                                      <p:cBhvr additive="base">
                                        <p:cTn id="47" dur="500" fill="hold"/>
                                        <p:tgtEl>
                                          <p:spTgt spid="11"/>
                                        </p:tgtEl>
                                        <p:attrNameLst>
                                          <p:attrName>ppt_x</p:attrName>
                                        </p:attrNameLst>
                                      </p:cBhvr>
                                      <p:tavLst>
                                        <p:tav tm="0">
                                          <p:val>
                                            <p:strVal val="1+#ppt_w/2"/>
                                          </p:val>
                                        </p:tav>
                                        <p:tav tm="100000">
                                          <p:val>
                                            <p:strVal val="#ppt_x"/>
                                          </p:val>
                                        </p:tav>
                                      </p:tavLst>
                                    </p:anim>
                                    <p:anim calcmode="lin" valueType="num">
                                      <p:cBhvr additive="base">
                                        <p:cTn id="48" dur="500" fill="hold"/>
                                        <p:tgtEl>
                                          <p:spTgt spid="11"/>
                                        </p:tgtEl>
                                        <p:attrNameLst>
                                          <p:attrName>ppt_y</p:attrName>
                                        </p:attrNameLst>
                                      </p:cBhvr>
                                      <p:tavLst>
                                        <p:tav tm="0">
                                          <p:val>
                                            <p:strVal val="1+#ppt_h/2"/>
                                          </p:val>
                                        </p:tav>
                                        <p:tav tm="100000">
                                          <p:val>
                                            <p:strVal val="#ppt_y"/>
                                          </p:val>
                                        </p:tav>
                                      </p:tavLst>
                                    </p:anim>
                                  </p:childTnLst>
                                </p:cTn>
                              </p:par>
                              <p:par>
                                <p:cTn id="49" presetID="2" presetClass="entr" presetSubtype="6" fill="hold" nodeType="withEffect">
                                  <p:stCondLst>
                                    <p:cond delay="0"/>
                                  </p:stCondLst>
                                  <p:childTnLst>
                                    <p:set>
                                      <p:cBhvr>
                                        <p:cTn id="50" dur="1" fill="hold">
                                          <p:stCondLst>
                                            <p:cond delay="0"/>
                                          </p:stCondLst>
                                        </p:cTn>
                                        <p:tgtEl>
                                          <p:spTgt spid="12"/>
                                        </p:tgtEl>
                                        <p:attrNameLst>
                                          <p:attrName>style.visibility</p:attrName>
                                        </p:attrNameLst>
                                      </p:cBhvr>
                                      <p:to>
                                        <p:strVal val="visible"/>
                                      </p:to>
                                    </p:set>
                                    <p:anim calcmode="lin" valueType="num">
                                      <p:cBhvr additive="base">
                                        <p:cTn id="51" dur="500" fill="hold"/>
                                        <p:tgtEl>
                                          <p:spTgt spid="12"/>
                                        </p:tgtEl>
                                        <p:attrNameLst>
                                          <p:attrName>ppt_x</p:attrName>
                                        </p:attrNameLst>
                                      </p:cBhvr>
                                      <p:tavLst>
                                        <p:tav tm="0">
                                          <p:val>
                                            <p:strVal val="1+#ppt_w/2"/>
                                          </p:val>
                                        </p:tav>
                                        <p:tav tm="100000">
                                          <p:val>
                                            <p:strVal val="#ppt_x"/>
                                          </p:val>
                                        </p:tav>
                                      </p:tavLst>
                                    </p:anim>
                                    <p:anim calcmode="lin" valueType="num">
                                      <p:cBhvr additive="base">
                                        <p:cTn id="52" dur="500" fill="hold"/>
                                        <p:tgtEl>
                                          <p:spTgt spid="12"/>
                                        </p:tgtEl>
                                        <p:attrNameLst>
                                          <p:attrName>ppt_y</p:attrName>
                                        </p:attrNameLst>
                                      </p:cBhvr>
                                      <p:tavLst>
                                        <p:tav tm="0">
                                          <p:val>
                                            <p:strVal val="1+#ppt_h/2"/>
                                          </p:val>
                                        </p:tav>
                                        <p:tav tm="100000">
                                          <p:val>
                                            <p:strVal val="#ppt_y"/>
                                          </p:val>
                                        </p:tav>
                                      </p:tavLst>
                                    </p:anim>
                                  </p:childTnLst>
                                </p:cTn>
                              </p:par>
                              <p:par>
                                <p:cTn id="53" presetID="2" presetClass="entr" presetSubtype="6" fill="hold" nodeType="withEffect">
                                  <p:stCondLst>
                                    <p:cond delay="0"/>
                                  </p:stCondLst>
                                  <p:childTnLst>
                                    <p:set>
                                      <p:cBhvr>
                                        <p:cTn id="54" dur="1" fill="hold">
                                          <p:stCondLst>
                                            <p:cond delay="0"/>
                                          </p:stCondLst>
                                        </p:cTn>
                                        <p:tgtEl>
                                          <p:spTgt spid="13"/>
                                        </p:tgtEl>
                                        <p:attrNameLst>
                                          <p:attrName>style.visibility</p:attrName>
                                        </p:attrNameLst>
                                      </p:cBhvr>
                                      <p:to>
                                        <p:strVal val="visible"/>
                                      </p:to>
                                    </p:set>
                                    <p:anim calcmode="lin" valueType="num">
                                      <p:cBhvr additive="base">
                                        <p:cTn id="55" dur="500" fill="hold"/>
                                        <p:tgtEl>
                                          <p:spTgt spid="13"/>
                                        </p:tgtEl>
                                        <p:attrNameLst>
                                          <p:attrName>ppt_x</p:attrName>
                                        </p:attrNameLst>
                                      </p:cBhvr>
                                      <p:tavLst>
                                        <p:tav tm="0">
                                          <p:val>
                                            <p:strVal val="1+#ppt_w/2"/>
                                          </p:val>
                                        </p:tav>
                                        <p:tav tm="100000">
                                          <p:val>
                                            <p:strVal val="#ppt_x"/>
                                          </p:val>
                                        </p:tav>
                                      </p:tavLst>
                                    </p:anim>
                                    <p:anim calcmode="lin" valueType="num">
                                      <p:cBhvr additive="base">
                                        <p:cTn id="56" dur="500" fill="hold"/>
                                        <p:tgtEl>
                                          <p:spTgt spid="13"/>
                                        </p:tgtEl>
                                        <p:attrNameLst>
                                          <p:attrName>ppt_y</p:attrName>
                                        </p:attrNameLst>
                                      </p:cBhvr>
                                      <p:tavLst>
                                        <p:tav tm="0">
                                          <p:val>
                                            <p:strVal val="1+#ppt_h/2"/>
                                          </p:val>
                                        </p:tav>
                                        <p:tav tm="100000">
                                          <p:val>
                                            <p:strVal val="#ppt_y"/>
                                          </p:val>
                                        </p:tav>
                                      </p:tavLst>
                                    </p:anim>
                                  </p:childTnLst>
                                </p:cTn>
                              </p:par>
                              <p:par>
                                <p:cTn id="57" presetID="2" presetClass="entr" presetSubtype="6" fill="hold" nodeType="withEffect">
                                  <p:stCondLst>
                                    <p:cond delay="0"/>
                                  </p:stCondLst>
                                  <p:childTnLst>
                                    <p:set>
                                      <p:cBhvr>
                                        <p:cTn id="58" dur="1" fill="hold">
                                          <p:stCondLst>
                                            <p:cond delay="0"/>
                                          </p:stCondLst>
                                        </p:cTn>
                                        <p:tgtEl>
                                          <p:spTgt spid="14"/>
                                        </p:tgtEl>
                                        <p:attrNameLst>
                                          <p:attrName>style.visibility</p:attrName>
                                        </p:attrNameLst>
                                      </p:cBhvr>
                                      <p:to>
                                        <p:strVal val="visible"/>
                                      </p:to>
                                    </p:set>
                                    <p:anim calcmode="lin" valueType="num">
                                      <p:cBhvr additive="base">
                                        <p:cTn id="59" dur="500" fill="hold"/>
                                        <p:tgtEl>
                                          <p:spTgt spid="14"/>
                                        </p:tgtEl>
                                        <p:attrNameLst>
                                          <p:attrName>ppt_x</p:attrName>
                                        </p:attrNameLst>
                                      </p:cBhvr>
                                      <p:tavLst>
                                        <p:tav tm="0">
                                          <p:val>
                                            <p:strVal val="1+#ppt_w/2"/>
                                          </p:val>
                                        </p:tav>
                                        <p:tav tm="100000">
                                          <p:val>
                                            <p:strVal val="#ppt_x"/>
                                          </p:val>
                                        </p:tav>
                                      </p:tavLst>
                                    </p:anim>
                                    <p:anim calcmode="lin" valueType="num">
                                      <p:cBhvr additive="base">
                                        <p:cTn id="60" dur="500" fill="hold"/>
                                        <p:tgtEl>
                                          <p:spTgt spid="14"/>
                                        </p:tgtEl>
                                        <p:attrNameLst>
                                          <p:attrName>ppt_y</p:attrName>
                                        </p:attrNameLst>
                                      </p:cBhvr>
                                      <p:tavLst>
                                        <p:tav tm="0">
                                          <p:val>
                                            <p:strVal val="1+#ppt_h/2"/>
                                          </p:val>
                                        </p:tav>
                                        <p:tav tm="100000">
                                          <p:val>
                                            <p:strVal val="#ppt_y"/>
                                          </p:val>
                                        </p:tav>
                                      </p:tavLst>
                                    </p:anim>
                                  </p:childTnLst>
                                </p:cTn>
                              </p:par>
                              <p:par>
                                <p:cTn id="61" presetID="2" presetClass="entr" presetSubtype="6" fill="hold" nodeType="withEffect">
                                  <p:stCondLst>
                                    <p:cond delay="0"/>
                                  </p:stCondLst>
                                  <p:childTnLst>
                                    <p:set>
                                      <p:cBhvr>
                                        <p:cTn id="62" dur="1" fill="hold">
                                          <p:stCondLst>
                                            <p:cond delay="0"/>
                                          </p:stCondLst>
                                        </p:cTn>
                                        <p:tgtEl>
                                          <p:spTgt spid="17"/>
                                        </p:tgtEl>
                                        <p:attrNameLst>
                                          <p:attrName>style.visibility</p:attrName>
                                        </p:attrNameLst>
                                      </p:cBhvr>
                                      <p:to>
                                        <p:strVal val="visible"/>
                                      </p:to>
                                    </p:set>
                                    <p:anim calcmode="lin" valueType="num">
                                      <p:cBhvr additive="base">
                                        <p:cTn id="63" dur="500" fill="hold"/>
                                        <p:tgtEl>
                                          <p:spTgt spid="17"/>
                                        </p:tgtEl>
                                        <p:attrNameLst>
                                          <p:attrName>ppt_x</p:attrName>
                                        </p:attrNameLst>
                                      </p:cBhvr>
                                      <p:tavLst>
                                        <p:tav tm="0">
                                          <p:val>
                                            <p:strVal val="1+#ppt_w/2"/>
                                          </p:val>
                                        </p:tav>
                                        <p:tav tm="100000">
                                          <p:val>
                                            <p:strVal val="#ppt_x"/>
                                          </p:val>
                                        </p:tav>
                                      </p:tavLst>
                                    </p:anim>
                                    <p:anim calcmode="lin" valueType="num">
                                      <p:cBhvr additive="base">
                                        <p:cTn id="64" dur="500" fill="hold"/>
                                        <p:tgtEl>
                                          <p:spTgt spid="17"/>
                                        </p:tgtEl>
                                        <p:attrNameLst>
                                          <p:attrName>ppt_y</p:attrName>
                                        </p:attrNameLst>
                                      </p:cBhvr>
                                      <p:tavLst>
                                        <p:tav tm="0">
                                          <p:val>
                                            <p:strVal val="1+#ppt_h/2"/>
                                          </p:val>
                                        </p:tav>
                                        <p:tav tm="100000">
                                          <p:val>
                                            <p:strVal val="#ppt_y"/>
                                          </p:val>
                                        </p:tav>
                                      </p:tavLst>
                                    </p:anim>
                                  </p:childTnLst>
                                </p:cTn>
                              </p:par>
                              <p:par>
                                <p:cTn id="65" presetID="2" presetClass="entr" presetSubtype="6" fill="hold" nodeType="withEffect">
                                  <p:stCondLst>
                                    <p:cond delay="0"/>
                                  </p:stCondLst>
                                  <p:childTnLst>
                                    <p:set>
                                      <p:cBhvr>
                                        <p:cTn id="66" dur="1" fill="hold">
                                          <p:stCondLst>
                                            <p:cond delay="0"/>
                                          </p:stCondLst>
                                        </p:cTn>
                                        <p:tgtEl>
                                          <p:spTgt spid="25"/>
                                        </p:tgtEl>
                                        <p:attrNameLst>
                                          <p:attrName>style.visibility</p:attrName>
                                        </p:attrNameLst>
                                      </p:cBhvr>
                                      <p:to>
                                        <p:strVal val="visible"/>
                                      </p:to>
                                    </p:set>
                                    <p:anim calcmode="lin" valueType="num">
                                      <p:cBhvr additive="base">
                                        <p:cTn id="67" dur="500" fill="hold"/>
                                        <p:tgtEl>
                                          <p:spTgt spid="25"/>
                                        </p:tgtEl>
                                        <p:attrNameLst>
                                          <p:attrName>ppt_x</p:attrName>
                                        </p:attrNameLst>
                                      </p:cBhvr>
                                      <p:tavLst>
                                        <p:tav tm="0">
                                          <p:val>
                                            <p:strVal val="1+#ppt_w/2"/>
                                          </p:val>
                                        </p:tav>
                                        <p:tav tm="100000">
                                          <p:val>
                                            <p:strVal val="#ppt_x"/>
                                          </p:val>
                                        </p:tav>
                                      </p:tavLst>
                                    </p:anim>
                                    <p:anim calcmode="lin" valueType="num">
                                      <p:cBhvr additive="base">
                                        <p:cTn id="68" dur="500" fill="hold"/>
                                        <p:tgtEl>
                                          <p:spTgt spid="25"/>
                                        </p:tgtEl>
                                        <p:attrNameLst>
                                          <p:attrName>ppt_y</p:attrName>
                                        </p:attrNameLst>
                                      </p:cBhvr>
                                      <p:tavLst>
                                        <p:tav tm="0">
                                          <p:val>
                                            <p:strVal val="1+#ppt_h/2"/>
                                          </p:val>
                                        </p:tav>
                                        <p:tav tm="100000">
                                          <p:val>
                                            <p:strVal val="#ppt_y"/>
                                          </p:val>
                                        </p:tav>
                                      </p:tavLst>
                                    </p:anim>
                                  </p:childTnLst>
                                </p:cTn>
                              </p:par>
                              <p:par>
                                <p:cTn id="69" presetID="2" presetClass="entr" presetSubtype="6" fill="hold" nodeType="withEffect">
                                  <p:stCondLst>
                                    <p:cond delay="0"/>
                                  </p:stCondLst>
                                  <p:childTnLst>
                                    <p:set>
                                      <p:cBhvr>
                                        <p:cTn id="70" dur="1" fill="hold">
                                          <p:stCondLst>
                                            <p:cond delay="0"/>
                                          </p:stCondLst>
                                        </p:cTn>
                                        <p:tgtEl>
                                          <p:spTgt spid="30"/>
                                        </p:tgtEl>
                                        <p:attrNameLst>
                                          <p:attrName>style.visibility</p:attrName>
                                        </p:attrNameLst>
                                      </p:cBhvr>
                                      <p:to>
                                        <p:strVal val="visible"/>
                                      </p:to>
                                    </p:set>
                                    <p:anim calcmode="lin" valueType="num">
                                      <p:cBhvr additive="base">
                                        <p:cTn id="71" dur="500" fill="hold"/>
                                        <p:tgtEl>
                                          <p:spTgt spid="30"/>
                                        </p:tgtEl>
                                        <p:attrNameLst>
                                          <p:attrName>ppt_x</p:attrName>
                                        </p:attrNameLst>
                                      </p:cBhvr>
                                      <p:tavLst>
                                        <p:tav tm="0">
                                          <p:val>
                                            <p:strVal val="1+#ppt_w/2"/>
                                          </p:val>
                                        </p:tav>
                                        <p:tav tm="100000">
                                          <p:val>
                                            <p:strVal val="#ppt_x"/>
                                          </p:val>
                                        </p:tav>
                                      </p:tavLst>
                                    </p:anim>
                                    <p:anim calcmode="lin" valueType="num">
                                      <p:cBhvr additive="base">
                                        <p:cTn id="72" dur="500" fill="hold"/>
                                        <p:tgtEl>
                                          <p:spTgt spid="30"/>
                                        </p:tgtEl>
                                        <p:attrNameLst>
                                          <p:attrName>ppt_y</p:attrName>
                                        </p:attrNameLst>
                                      </p:cBhvr>
                                      <p:tavLst>
                                        <p:tav tm="0">
                                          <p:val>
                                            <p:strVal val="1+#ppt_h/2"/>
                                          </p:val>
                                        </p:tav>
                                        <p:tav tm="100000">
                                          <p:val>
                                            <p:strVal val="#ppt_y"/>
                                          </p:val>
                                        </p:tav>
                                      </p:tavLst>
                                    </p:anim>
                                  </p:childTnLst>
                                </p:cTn>
                              </p:par>
                              <p:par>
                                <p:cTn id="73" presetID="2" presetClass="entr" presetSubtype="6" fill="hold" nodeType="withEffect">
                                  <p:stCondLst>
                                    <p:cond delay="0"/>
                                  </p:stCondLst>
                                  <p:childTnLst>
                                    <p:set>
                                      <p:cBhvr>
                                        <p:cTn id="74" dur="1" fill="hold">
                                          <p:stCondLst>
                                            <p:cond delay="0"/>
                                          </p:stCondLst>
                                        </p:cTn>
                                        <p:tgtEl>
                                          <p:spTgt spid="18"/>
                                        </p:tgtEl>
                                        <p:attrNameLst>
                                          <p:attrName>style.visibility</p:attrName>
                                        </p:attrNameLst>
                                      </p:cBhvr>
                                      <p:to>
                                        <p:strVal val="visible"/>
                                      </p:to>
                                    </p:set>
                                    <p:anim calcmode="lin" valueType="num">
                                      <p:cBhvr additive="base">
                                        <p:cTn id="75" dur="500" fill="hold"/>
                                        <p:tgtEl>
                                          <p:spTgt spid="18"/>
                                        </p:tgtEl>
                                        <p:attrNameLst>
                                          <p:attrName>ppt_x</p:attrName>
                                        </p:attrNameLst>
                                      </p:cBhvr>
                                      <p:tavLst>
                                        <p:tav tm="0">
                                          <p:val>
                                            <p:strVal val="1+#ppt_w/2"/>
                                          </p:val>
                                        </p:tav>
                                        <p:tav tm="100000">
                                          <p:val>
                                            <p:strVal val="#ppt_x"/>
                                          </p:val>
                                        </p:tav>
                                      </p:tavLst>
                                    </p:anim>
                                    <p:anim calcmode="lin" valueType="num">
                                      <p:cBhvr additive="base">
                                        <p:cTn id="76" dur="500" fill="hold"/>
                                        <p:tgtEl>
                                          <p:spTgt spid="18"/>
                                        </p:tgtEl>
                                        <p:attrNameLst>
                                          <p:attrName>ppt_y</p:attrName>
                                        </p:attrNameLst>
                                      </p:cBhvr>
                                      <p:tavLst>
                                        <p:tav tm="0">
                                          <p:val>
                                            <p:strVal val="1+#ppt_h/2"/>
                                          </p:val>
                                        </p:tav>
                                        <p:tav tm="100000">
                                          <p:val>
                                            <p:strVal val="#ppt_y"/>
                                          </p:val>
                                        </p:tav>
                                      </p:tavLst>
                                    </p:anim>
                                  </p:childTnLst>
                                </p:cTn>
                              </p:par>
                              <p:par>
                                <p:cTn id="77" presetID="2" presetClass="entr" presetSubtype="6" fill="hold" nodeType="withEffect">
                                  <p:stCondLst>
                                    <p:cond delay="0"/>
                                  </p:stCondLst>
                                  <p:childTnLst>
                                    <p:set>
                                      <p:cBhvr>
                                        <p:cTn id="78" dur="1" fill="hold">
                                          <p:stCondLst>
                                            <p:cond delay="0"/>
                                          </p:stCondLst>
                                        </p:cTn>
                                        <p:tgtEl>
                                          <p:spTgt spid="26"/>
                                        </p:tgtEl>
                                        <p:attrNameLst>
                                          <p:attrName>style.visibility</p:attrName>
                                        </p:attrNameLst>
                                      </p:cBhvr>
                                      <p:to>
                                        <p:strVal val="visible"/>
                                      </p:to>
                                    </p:set>
                                    <p:anim calcmode="lin" valueType="num">
                                      <p:cBhvr additive="base">
                                        <p:cTn id="79" dur="500" fill="hold"/>
                                        <p:tgtEl>
                                          <p:spTgt spid="26"/>
                                        </p:tgtEl>
                                        <p:attrNameLst>
                                          <p:attrName>ppt_x</p:attrName>
                                        </p:attrNameLst>
                                      </p:cBhvr>
                                      <p:tavLst>
                                        <p:tav tm="0">
                                          <p:val>
                                            <p:strVal val="1+#ppt_w/2"/>
                                          </p:val>
                                        </p:tav>
                                        <p:tav tm="100000">
                                          <p:val>
                                            <p:strVal val="#ppt_x"/>
                                          </p:val>
                                        </p:tav>
                                      </p:tavLst>
                                    </p:anim>
                                    <p:anim calcmode="lin" valueType="num">
                                      <p:cBhvr additive="base">
                                        <p:cTn id="80" dur="500" fill="hold"/>
                                        <p:tgtEl>
                                          <p:spTgt spid="26"/>
                                        </p:tgtEl>
                                        <p:attrNameLst>
                                          <p:attrName>ppt_y</p:attrName>
                                        </p:attrNameLst>
                                      </p:cBhvr>
                                      <p:tavLst>
                                        <p:tav tm="0">
                                          <p:val>
                                            <p:strVal val="1+#ppt_h/2"/>
                                          </p:val>
                                        </p:tav>
                                        <p:tav tm="100000">
                                          <p:val>
                                            <p:strVal val="#ppt_y"/>
                                          </p:val>
                                        </p:tav>
                                      </p:tavLst>
                                    </p:anim>
                                  </p:childTnLst>
                                </p:cTn>
                              </p:par>
                              <p:par>
                                <p:cTn id="81" presetID="2" presetClass="entr" presetSubtype="6" fill="hold" nodeType="withEffect">
                                  <p:stCondLst>
                                    <p:cond delay="0"/>
                                  </p:stCondLst>
                                  <p:childTnLst>
                                    <p:set>
                                      <p:cBhvr>
                                        <p:cTn id="82" dur="1" fill="hold">
                                          <p:stCondLst>
                                            <p:cond delay="0"/>
                                          </p:stCondLst>
                                        </p:cTn>
                                        <p:tgtEl>
                                          <p:spTgt spid="19"/>
                                        </p:tgtEl>
                                        <p:attrNameLst>
                                          <p:attrName>style.visibility</p:attrName>
                                        </p:attrNameLst>
                                      </p:cBhvr>
                                      <p:to>
                                        <p:strVal val="visible"/>
                                      </p:to>
                                    </p:set>
                                    <p:anim calcmode="lin" valueType="num">
                                      <p:cBhvr additive="base">
                                        <p:cTn id="83" dur="500" fill="hold"/>
                                        <p:tgtEl>
                                          <p:spTgt spid="19"/>
                                        </p:tgtEl>
                                        <p:attrNameLst>
                                          <p:attrName>ppt_x</p:attrName>
                                        </p:attrNameLst>
                                      </p:cBhvr>
                                      <p:tavLst>
                                        <p:tav tm="0">
                                          <p:val>
                                            <p:strVal val="1+#ppt_w/2"/>
                                          </p:val>
                                        </p:tav>
                                        <p:tav tm="100000">
                                          <p:val>
                                            <p:strVal val="#ppt_x"/>
                                          </p:val>
                                        </p:tav>
                                      </p:tavLst>
                                    </p:anim>
                                    <p:anim calcmode="lin" valueType="num">
                                      <p:cBhvr additive="base">
                                        <p:cTn id="84" dur="500" fill="hold"/>
                                        <p:tgtEl>
                                          <p:spTgt spid="19"/>
                                        </p:tgtEl>
                                        <p:attrNameLst>
                                          <p:attrName>ppt_y</p:attrName>
                                        </p:attrNameLst>
                                      </p:cBhvr>
                                      <p:tavLst>
                                        <p:tav tm="0">
                                          <p:val>
                                            <p:strVal val="1+#ppt_h/2"/>
                                          </p:val>
                                        </p:tav>
                                        <p:tav tm="100000">
                                          <p:val>
                                            <p:strVal val="#ppt_y"/>
                                          </p:val>
                                        </p:tav>
                                      </p:tavLst>
                                    </p:anim>
                                  </p:childTnLst>
                                </p:cTn>
                              </p:par>
                              <p:par>
                                <p:cTn id="85" presetID="2" presetClass="entr" presetSubtype="2" fill="hold" nodeType="withEffect">
                                  <p:stCondLst>
                                    <p:cond delay="0"/>
                                  </p:stCondLst>
                                  <p:childTnLst>
                                    <p:set>
                                      <p:cBhvr>
                                        <p:cTn id="86" dur="1" fill="hold">
                                          <p:stCondLst>
                                            <p:cond delay="0"/>
                                          </p:stCondLst>
                                        </p:cTn>
                                        <p:tgtEl>
                                          <p:spTgt spid="15"/>
                                        </p:tgtEl>
                                        <p:attrNameLst>
                                          <p:attrName>style.visibility</p:attrName>
                                        </p:attrNameLst>
                                      </p:cBhvr>
                                      <p:to>
                                        <p:strVal val="visible"/>
                                      </p:to>
                                    </p:set>
                                    <p:anim calcmode="lin" valueType="num">
                                      <p:cBhvr additive="base">
                                        <p:cTn id="87" dur="500" fill="hold"/>
                                        <p:tgtEl>
                                          <p:spTgt spid="15"/>
                                        </p:tgtEl>
                                        <p:attrNameLst>
                                          <p:attrName>ppt_x</p:attrName>
                                        </p:attrNameLst>
                                      </p:cBhvr>
                                      <p:tavLst>
                                        <p:tav tm="0">
                                          <p:val>
                                            <p:strVal val="1+#ppt_w/2"/>
                                          </p:val>
                                        </p:tav>
                                        <p:tav tm="100000">
                                          <p:val>
                                            <p:strVal val="#ppt_x"/>
                                          </p:val>
                                        </p:tav>
                                      </p:tavLst>
                                    </p:anim>
                                    <p:anim calcmode="lin" valueType="num">
                                      <p:cBhvr additive="base">
                                        <p:cTn id="88" dur="500" fill="hold"/>
                                        <p:tgtEl>
                                          <p:spTgt spid="15"/>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23"/>
                                        </p:tgtEl>
                                        <p:attrNameLst>
                                          <p:attrName>style.visibility</p:attrName>
                                        </p:attrNameLst>
                                      </p:cBhvr>
                                      <p:to>
                                        <p:strVal val="visible"/>
                                      </p:to>
                                    </p:set>
                                    <p:anim calcmode="lin" valueType="num">
                                      <p:cBhvr additive="base">
                                        <p:cTn id="91" dur="500" fill="hold"/>
                                        <p:tgtEl>
                                          <p:spTgt spid="23"/>
                                        </p:tgtEl>
                                        <p:attrNameLst>
                                          <p:attrName>ppt_x</p:attrName>
                                        </p:attrNameLst>
                                      </p:cBhvr>
                                      <p:tavLst>
                                        <p:tav tm="0">
                                          <p:val>
                                            <p:strVal val="1+#ppt_w/2"/>
                                          </p:val>
                                        </p:tav>
                                        <p:tav tm="100000">
                                          <p:val>
                                            <p:strVal val="#ppt_x"/>
                                          </p:val>
                                        </p:tav>
                                      </p:tavLst>
                                    </p:anim>
                                    <p:anim calcmode="lin" valueType="num">
                                      <p:cBhvr additive="base">
                                        <p:cTn id="92" dur="500" fill="hold"/>
                                        <p:tgtEl>
                                          <p:spTgt spid="23"/>
                                        </p:tgtEl>
                                        <p:attrNameLst>
                                          <p:attrName>ppt_y</p:attrName>
                                        </p:attrNameLst>
                                      </p:cBhvr>
                                      <p:tavLst>
                                        <p:tav tm="0">
                                          <p:val>
                                            <p:strVal val="#ppt_y"/>
                                          </p:val>
                                        </p:tav>
                                        <p:tav tm="100000">
                                          <p:val>
                                            <p:strVal val="#ppt_y"/>
                                          </p:val>
                                        </p:tav>
                                      </p:tavLst>
                                    </p:anim>
                                  </p:childTnLst>
                                </p:cTn>
                              </p:par>
                              <p:par>
                                <p:cTn id="93" presetID="2" presetClass="entr" presetSubtype="2" fill="hold" nodeType="withEffect">
                                  <p:stCondLst>
                                    <p:cond delay="0"/>
                                  </p:stCondLst>
                                  <p:childTnLst>
                                    <p:set>
                                      <p:cBhvr>
                                        <p:cTn id="94" dur="1" fill="hold">
                                          <p:stCondLst>
                                            <p:cond delay="0"/>
                                          </p:stCondLst>
                                        </p:cTn>
                                        <p:tgtEl>
                                          <p:spTgt spid="28"/>
                                        </p:tgtEl>
                                        <p:attrNameLst>
                                          <p:attrName>style.visibility</p:attrName>
                                        </p:attrNameLst>
                                      </p:cBhvr>
                                      <p:to>
                                        <p:strVal val="visible"/>
                                      </p:to>
                                    </p:set>
                                    <p:anim calcmode="lin" valueType="num">
                                      <p:cBhvr additive="base">
                                        <p:cTn id="95" dur="500" fill="hold"/>
                                        <p:tgtEl>
                                          <p:spTgt spid="28"/>
                                        </p:tgtEl>
                                        <p:attrNameLst>
                                          <p:attrName>ppt_x</p:attrName>
                                        </p:attrNameLst>
                                      </p:cBhvr>
                                      <p:tavLst>
                                        <p:tav tm="0">
                                          <p:val>
                                            <p:strVal val="1+#ppt_w/2"/>
                                          </p:val>
                                        </p:tav>
                                        <p:tav tm="100000">
                                          <p:val>
                                            <p:strVal val="#ppt_x"/>
                                          </p:val>
                                        </p:tav>
                                      </p:tavLst>
                                    </p:anim>
                                    <p:anim calcmode="lin" valueType="num">
                                      <p:cBhvr additive="base">
                                        <p:cTn id="96" dur="500" fill="hold"/>
                                        <p:tgtEl>
                                          <p:spTgt spid="28"/>
                                        </p:tgtEl>
                                        <p:attrNameLst>
                                          <p:attrName>ppt_y</p:attrName>
                                        </p:attrNameLst>
                                      </p:cBhvr>
                                      <p:tavLst>
                                        <p:tav tm="0">
                                          <p:val>
                                            <p:strVal val="#ppt_y"/>
                                          </p:val>
                                        </p:tav>
                                        <p:tav tm="100000">
                                          <p:val>
                                            <p:strVal val="#ppt_y"/>
                                          </p:val>
                                        </p:tav>
                                      </p:tavLst>
                                    </p:anim>
                                  </p:childTnLst>
                                </p:cTn>
                              </p:par>
                              <p:par>
                                <p:cTn id="97" presetID="2" presetClass="entr" presetSubtype="2" fill="hold" nodeType="withEffect">
                                  <p:stCondLst>
                                    <p:cond delay="0"/>
                                  </p:stCondLst>
                                  <p:childTnLst>
                                    <p:set>
                                      <p:cBhvr>
                                        <p:cTn id="98" dur="1" fill="hold">
                                          <p:stCondLst>
                                            <p:cond delay="0"/>
                                          </p:stCondLst>
                                        </p:cTn>
                                        <p:tgtEl>
                                          <p:spTgt spid="20"/>
                                        </p:tgtEl>
                                        <p:attrNameLst>
                                          <p:attrName>style.visibility</p:attrName>
                                        </p:attrNameLst>
                                      </p:cBhvr>
                                      <p:to>
                                        <p:strVal val="visible"/>
                                      </p:to>
                                    </p:set>
                                    <p:anim calcmode="lin" valueType="num">
                                      <p:cBhvr additive="base">
                                        <p:cTn id="99" dur="500" fill="hold"/>
                                        <p:tgtEl>
                                          <p:spTgt spid="20"/>
                                        </p:tgtEl>
                                        <p:attrNameLst>
                                          <p:attrName>ppt_x</p:attrName>
                                        </p:attrNameLst>
                                      </p:cBhvr>
                                      <p:tavLst>
                                        <p:tav tm="0">
                                          <p:val>
                                            <p:strVal val="1+#ppt_w/2"/>
                                          </p:val>
                                        </p:tav>
                                        <p:tav tm="100000">
                                          <p:val>
                                            <p:strVal val="#ppt_x"/>
                                          </p:val>
                                        </p:tav>
                                      </p:tavLst>
                                    </p:anim>
                                    <p:anim calcmode="lin" valueType="num">
                                      <p:cBhvr additive="base">
                                        <p:cTn id="100" dur="500" fill="hold"/>
                                        <p:tgtEl>
                                          <p:spTgt spid="20"/>
                                        </p:tgtEl>
                                        <p:attrNameLst>
                                          <p:attrName>ppt_y</p:attrName>
                                        </p:attrNameLst>
                                      </p:cBhvr>
                                      <p:tavLst>
                                        <p:tav tm="0">
                                          <p:val>
                                            <p:strVal val="#ppt_y"/>
                                          </p:val>
                                        </p:tav>
                                        <p:tav tm="100000">
                                          <p:val>
                                            <p:strVal val="#ppt_y"/>
                                          </p:val>
                                        </p:tav>
                                      </p:tavLst>
                                    </p:anim>
                                  </p:childTnLst>
                                </p:cTn>
                              </p:par>
                              <p:par>
                                <p:cTn id="101" presetID="2" presetClass="entr" presetSubtype="2" fill="hold" nodeType="withEffect">
                                  <p:stCondLst>
                                    <p:cond delay="0"/>
                                  </p:stCondLst>
                                  <p:childTnLst>
                                    <p:set>
                                      <p:cBhvr>
                                        <p:cTn id="102" dur="1" fill="hold">
                                          <p:stCondLst>
                                            <p:cond delay="0"/>
                                          </p:stCondLst>
                                        </p:cTn>
                                        <p:tgtEl>
                                          <p:spTgt spid="27"/>
                                        </p:tgtEl>
                                        <p:attrNameLst>
                                          <p:attrName>style.visibility</p:attrName>
                                        </p:attrNameLst>
                                      </p:cBhvr>
                                      <p:to>
                                        <p:strVal val="visible"/>
                                      </p:to>
                                    </p:set>
                                    <p:anim calcmode="lin" valueType="num">
                                      <p:cBhvr additive="base">
                                        <p:cTn id="103" dur="500" fill="hold"/>
                                        <p:tgtEl>
                                          <p:spTgt spid="27"/>
                                        </p:tgtEl>
                                        <p:attrNameLst>
                                          <p:attrName>ppt_x</p:attrName>
                                        </p:attrNameLst>
                                      </p:cBhvr>
                                      <p:tavLst>
                                        <p:tav tm="0">
                                          <p:val>
                                            <p:strVal val="1+#ppt_w/2"/>
                                          </p:val>
                                        </p:tav>
                                        <p:tav tm="100000">
                                          <p:val>
                                            <p:strVal val="#ppt_x"/>
                                          </p:val>
                                        </p:tav>
                                      </p:tavLst>
                                    </p:anim>
                                    <p:anim calcmode="lin" valueType="num">
                                      <p:cBhvr additive="base">
                                        <p:cTn id="104" dur="500" fill="hold"/>
                                        <p:tgtEl>
                                          <p:spTgt spid="27"/>
                                        </p:tgtEl>
                                        <p:attrNameLst>
                                          <p:attrName>ppt_y</p:attrName>
                                        </p:attrNameLst>
                                      </p:cBhvr>
                                      <p:tavLst>
                                        <p:tav tm="0">
                                          <p:val>
                                            <p:strVal val="#ppt_y"/>
                                          </p:val>
                                        </p:tav>
                                        <p:tav tm="100000">
                                          <p:val>
                                            <p:strVal val="#ppt_y"/>
                                          </p:val>
                                        </p:tav>
                                      </p:tavLst>
                                    </p:anim>
                                  </p:childTnLst>
                                </p:cTn>
                              </p:par>
                              <p:par>
                                <p:cTn id="105" presetID="2" presetClass="entr" presetSubtype="2" fill="hold" nodeType="withEffect">
                                  <p:stCondLst>
                                    <p:cond delay="0"/>
                                  </p:stCondLst>
                                  <p:childTnLst>
                                    <p:set>
                                      <p:cBhvr>
                                        <p:cTn id="106" dur="1" fill="hold">
                                          <p:stCondLst>
                                            <p:cond delay="0"/>
                                          </p:stCondLst>
                                        </p:cTn>
                                        <p:tgtEl>
                                          <p:spTgt spid="21"/>
                                        </p:tgtEl>
                                        <p:attrNameLst>
                                          <p:attrName>style.visibility</p:attrName>
                                        </p:attrNameLst>
                                      </p:cBhvr>
                                      <p:to>
                                        <p:strVal val="visible"/>
                                      </p:to>
                                    </p:set>
                                    <p:anim calcmode="lin" valueType="num">
                                      <p:cBhvr additive="base">
                                        <p:cTn id="107" dur="500" fill="hold"/>
                                        <p:tgtEl>
                                          <p:spTgt spid="21"/>
                                        </p:tgtEl>
                                        <p:attrNameLst>
                                          <p:attrName>ppt_x</p:attrName>
                                        </p:attrNameLst>
                                      </p:cBhvr>
                                      <p:tavLst>
                                        <p:tav tm="0">
                                          <p:val>
                                            <p:strVal val="1+#ppt_w/2"/>
                                          </p:val>
                                        </p:tav>
                                        <p:tav tm="100000">
                                          <p:val>
                                            <p:strVal val="#ppt_x"/>
                                          </p:val>
                                        </p:tav>
                                      </p:tavLst>
                                    </p:anim>
                                    <p:anim calcmode="lin" valueType="num">
                                      <p:cBhvr additive="base">
                                        <p:cTn id="108" dur="5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109" fill="hold">
                      <p:stCondLst>
                        <p:cond delay="indefinite"/>
                      </p:stCondLst>
                      <p:childTnLst>
                        <p:par>
                          <p:cTn id="110" fill="hold">
                            <p:stCondLst>
                              <p:cond delay="0"/>
                            </p:stCondLst>
                            <p:childTnLst>
                              <p:par>
                                <p:cTn id="111" presetID="2" presetClass="entr" presetSubtype="6" fill="hold" nodeType="clickEffect">
                                  <p:stCondLst>
                                    <p:cond delay="0"/>
                                  </p:stCondLst>
                                  <p:childTnLst>
                                    <p:set>
                                      <p:cBhvr>
                                        <p:cTn id="112" dur="1" fill="hold">
                                          <p:stCondLst>
                                            <p:cond delay="0"/>
                                          </p:stCondLst>
                                        </p:cTn>
                                        <p:tgtEl>
                                          <p:spTgt spid="31"/>
                                        </p:tgtEl>
                                        <p:attrNameLst>
                                          <p:attrName>style.visibility</p:attrName>
                                        </p:attrNameLst>
                                      </p:cBhvr>
                                      <p:to>
                                        <p:strVal val="visible"/>
                                      </p:to>
                                    </p:set>
                                    <p:anim calcmode="lin" valueType="num">
                                      <p:cBhvr additive="base">
                                        <p:cTn id="113" dur="500" fill="hold"/>
                                        <p:tgtEl>
                                          <p:spTgt spid="31"/>
                                        </p:tgtEl>
                                        <p:attrNameLst>
                                          <p:attrName>ppt_x</p:attrName>
                                        </p:attrNameLst>
                                      </p:cBhvr>
                                      <p:tavLst>
                                        <p:tav tm="0">
                                          <p:val>
                                            <p:strVal val="1+#ppt_w/2"/>
                                          </p:val>
                                        </p:tav>
                                        <p:tav tm="100000">
                                          <p:val>
                                            <p:strVal val="#ppt_x"/>
                                          </p:val>
                                        </p:tav>
                                      </p:tavLst>
                                    </p:anim>
                                    <p:anim calcmode="lin" valueType="num">
                                      <p:cBhvr additive="base">
                                        <p:cTn id="114" dur="500" fill="hold"/>
                                        <p:tgtEl>
                                          <p:spTgt spid="31"/>
                                        </p:tgtEl>
                                        <p:attrNameLst>
                                          <p:attrName>ppt_y</p:attrName>
                                        </p:attrNameLst>
                                      </p:cBhvr>
                                      <p:tavLst>
                                        <p:tav tm="0">
                                          <p:val>
                                            <p:strVal val="1+#ppt_h/2"/>
                                          </p:val>
                                        </p:tav>
                                        <p:tav tm="100000">
                                          <p:val>
                                            <p:strVal val="#ppt_y"/>
                                          </p:val>
                                        </p:tav>
                                      </p:tavLst>
                                    </p:anim>
                                  </p:childTnLst>
                                </p:cTn>
                              </p:par>
                              <p:par>
                                <p:cTn id="115" presetID="2" presetClass="entr" presetSubtype="6" fill="hold" nodeType="withEffect">
                                  <p:stCondLst>
                                    <p:cond delay="0"/>
                                  </p:stCondLst>
                                  <p:childTnLst>
                                    <p:set>
                                      <p:cBhvr>
                                        <p:cTn id="116" dur="1" fill="hold">
                                          <p:stCondLst>
                                            <p:cond delay="0"/>
                                          </p:stCondLst>
                                        </p:cTn>
                                        <p:tgtEl>
                                          <p:spTgt spid="38"/>
                                        </p:tgtEl>
                                        <p:attrNameLst>
                                          <p:attrName>style.visibility</p:attrName>
                                        </p:attrNameLst>
                                      </p:cBhvr>
                                      <p:to>
                                        <p:strVal val="visible"/>
                                      </p:to>
                                    </p:set>
                                    <p:anim calcmode="lin" valueType="num">
                                      <p:cBhvr additive="base">
                                        <p:cTn id="117" dur="500" fill="hold"/>
                                        <p:tgtEl>
                                          <p:spTgt spid="38"/>
                                        </p:tgtEl>
                                        <p:attrNameLst>
                                          <p:attrName>ppt_x</p:attrName>
                                        </p:attrNameLst>
                                      </p:cBhvr>
                                      <p:tavLst>
                                        <p:tav tm="0">
                                          <p:val>
                                            <p:strVal val="1+#ppt_w/2"/>
                                          </p:val>
                                        </p:tav>
                                        <p:tav tm="100000">
                                          <p:val>
                                            <p:strVal val="#ppt_x"/>
                                          </p:val>
                                        </p:tav>
                                      </p:tavLst>
                                    </p:anim>
                                    <p:anim calcmode="lin" valueType="num">
                                      <p:cBhvr additive="base">
                                        <p:cTn id="118"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119" fill="hold">
                      <p:stCondLst>
                        <p:cond delay="indefinite"/>
                      </p:stCondLst>
                      <p:childTnLst>
                        <p:par>
                          <p:cTn id="120" fill="hold">
                            <p:stCondLst>
                              <p:cond delay="0"/>
                            </p:stCondLst>
                            <p:childTnLst>
                              <p:par>
                                <p:cTn id="121" presetID="2" presetClass="entr" presetSubtype="6" fill="hold" nodeType="clickEffect">
                                  <p:stCondLst>
                                    <p:cond delay="0"/>
                                  </p:stCondLst>
                                  <p:childTnLst>
                                    <p:set>
                                      <p:cBhvr>
                                        <p:cTn id="122" dur="1" fill="hold">
                                          <p:stCondLst>
                                            <p:cond delay="0"/>
                                          </p:stCondLst>
                                        </p:cTn>
                                        <p:tgtEl>
                                          <p:spTgt spid="32"/>
                                        </p:tgtEl>
                                        <p:attrNameLst>
                                          <p:attrName>style.visibility</p:attrName>
                                        </p:attrNameLst>
                                      </p:cBhvr>
                                      <p:to>
                                        <p:strVal val="visible"/>
                                      </p:to>
                                    </p:set>
                                    <p:anim calcmode="lin" valueType="num">
                                      <p:cBhvr additive="base">
                                        <p:cTn id="123" dur="500" fill="hold"/>
                                        <p:tgtEl>
                                          <p:spTgt spid="32"/>
                                        </p:tgtEl>
                                        <p:attrNameLst>
                                          <p:attrName>ppt_x</p:attrName>
                                        </p:attrNameLst>
                                      </p:cBhvr>
                                      <p:tavLst>
                                        <p:tav tm="0">
                                          <p:val>
                                            <p:strVal val="1+#ppt_w/2"/>
                                          </p:val>
                                        </p:tav>
                                        <p:tav tm="100000">
                                          <p:val>
                                            <p:strVal val="#ppt_x"/>
                                          </p:val>
                                        </p:tav>
                                      </p:tavLst>
                                    </p:anim>
                                    <p:anim calcmode="lin" valueType="num">
                                      <p:cBhvr additive="base">
                                        <p:cTn id="124" dur="500" fill="hold"/>
                                        <p:tgtEl>
                                          <p:spTgt spid="32"/>
                                        </p:tgtEl>
                                        <p:attrNameLst>
                                          <p:attrName>ppt_y</p:attrName>
                                        </p:attrNameLst>
                                      </p:cBhvr>
                                      <p:tavLst>
                                        <p:tav tm="0">
                                          <p:val>
                                            <p:strVal val="1+#ppt_h/2"/>
                                          </p:val>
                                        </p:tav>
                                        <p:tav tm="100000">
                                          <p:val>
                                            <p:strVal val="#ppt_y"/>
                                          </p:val>
                                        </p:tav>
                                      </p:tavLst>
                                    </p:anim>
                                  </p:childTnLst>
                                </p:cTn>
                              </p:par>
                              <p:par>
                                <p:cTn id="125" presetID="2" presetClass="entr" presetSubtype="6" fill="hold" nodeType="withEffect">
                                  <p:stCondLst>
                                    <p:cond delay="0"/>
                                  </p:stCondLst>
                                  <p:childTnLst>
                                    <p:set>
                                      <p:cBhvr>
                                        <p:cTn id="126" dur="1" fill="hold">
                                          <p:stCondLst>
                                            <p:cond delay="0"/>
                                          </p:stCondLst>
                                        </p:cTn>
                                        <p:tgtEl>
                                          <p:spTgt spid="33"/>
                                        </p:tgtEl>
                                        <p:attrNameLst>
                                          <p:attrName>style.visibility</p:attrName>
                                        </p:attrNameLst>
                                      </p:cBhvr>
                                      <p:to>
                                        <p:strVal val="visible"/>
                                      </p:to>
                                    </p:set>
                                    <p:anim calcmode="lin" valueType="num">
                                      <p:cBhvr additive="base">
                                        <p:cTn id="127" dur="500" fill="hold"/>
                                        <p:tgtEl>
                                          <p:spTgt spid="33"/>
                                        </p:tgtEl>
                                        <p:attrNameLst>
                                          <p:attrName>ppt_x</p:attrName>
                                        </p:attrNameLst>
                                      </p:cBhvr>
                                      <p:tavLst>
                                        <p:tav tm="0">
                                          <p:val>
                                            <p:strVal val="1+#ppt_w/2"/>
                                          </p:val>
                                        </p:tav>
                                        <p:tav tm="100000">
                                          <p:val>
                                            <p:strVal val="#ppt_x"/>
                                          </p:val>
                                        </p:tav>
                                      </p:tavLst>
                                    </p:anim>
                                    <p:anim calcmode="lin" valueType="num">
                                      <p:cBhvr additive="base">
                                        <p:cTn id="128" dur="500" fill="hold"/>
                                        <p:tgtEl>
                                          <p:spTgt spid="33"/>
                                        </p:tgtEl>
                                        <p:attrNameLst>
                                          <p:attrName>ppt_y</p:attrName>
                                        </p:attrNameLst>
                                      </p:cBhvr>
                                      <p:tavLst>
                                        <p:tav tm="0">
                                          <p:val>
                                            <p:strVal val="1+#ppt_h/2"/>
                                          </p:val>
                                        </p:tav>
                                        <p:tav tm="100000">
                                          <p:val>
                                            <p:strVal val="#ppt_y"/>
                                          </p:val>
                                        </p:tav>
                                      </p:tavLst>
                                    </p:anim>
                                  </p:childTnLst>
                                </p:cTn>
                              </p:par>
                              <p:par>
                                <p:cTn id="129" presetID="2" presetClass="entr" presetSubtype="6" fill="hold" nodeType="withEffect">
                                  <p:stCondLst>
                                    <p:cond delay="0"/>
                                  </p:stCondLst>
                                  <p:childTnLst>
                                    <p:set>
                                      <p:cBhvr>
                                        <p:cTn id="130" dur="1" fill="hold">
                                          <p:stCondLst>
                                            <p:cond delay="0"/>
                                          </p:stCondLst>
                                        </p:cTn>
                                        <p:tgtEl>
                                          <p:spTgt spid="34"/>
                                        </p:tgtEl>
                                        <p:attrNameLst>
                                          <p:attrName>style.visibility</p:attrName>
                                        </p:attrNameLst>
                                      </p:cBhvr>
                                      <p:to>
                                        <p:strVal val="visible"/>
                                      </p:to>
                                    </p:set>
                                    <p:anim calcmode="lin" valueType="num">
                                      <p:cBhvr additive="base">
                                        <p:cTn id="131" dur="500" fill="hold"/>
                                        <p:tgtEl>
                                          <p:spTgt spid="34"/>
                                        </p:tgtEl>
                                        <p:attrNameLst>
                                          <p:attrName>ppt_x</p:attrName>
                                        </p:attrNameLst>
                                      </p:cBhvr>
                                      <p:tavLst>
                                        <p:tav tm="0">
                                          <p:val>
                                            <p:strVal val="1+#ppt_w/2"/>
                                          </p:val>
                                        </p:tav>
                                        <p:tav tm="100000">
                                          <p:val>
                                            <p:strVal val="#ppt_x"/>
                                          </p:val>
                                        </p:tav>
                                      </p:tavLst>
                                    </p:anim>
                                    <p:anim calcmode="lin" valueType="num">
                                      <p:cBhvr additive="base">
                                        <p:cTn id="132" dur="500" fill="hold"/>
                                        <p:tgtEl>
                                          <p:spTgt spid="34"/>
                                        </p:tgtEl>
                                        <p:attrNameLst>
                                          <p:attrName>ppt_y</p:attrName>
                                        </p:attrNameLst>
                                      </p:cBhvr>
                                      <p:tavLst>
                                        <p:tav tm="0">
                                          <p:val>
                                            <p:strVal val="1+#ppt_h/2"/>
                                          </p:val>
                                        </p:tav>
                                        <p:tav tm="100000">
                                          <p:val>
                                            <p:strVal val="#ppt_y"/>
                                          </p:val>
                                        </p:tav>
                                      </p:tavLst>
                                    </p:anim>
                                  </p:childTnLst>
                                </p:cTn>
                              </p:par>
                              <p:par>
                                <p:cTn id="133" presetID="2" presetClass="entr" presetSubtype="6" fill="hold" nodeType="withEffect">
                                  <p:stCondLst>
                                    <p:cond delay="0"/>
                                  </p:stCondLst>
                                  <p:childTnLst>
                                    <p:set>
                                      <p:cBhvr>
                                        <p:cTn id="134" dur="1" fill="hold">
                                          <p:stCondLst>
                                            <p:cond delay="0"/>
                                          </p:stCondLst>
                                        </p:cTn>
                                        <p:tgtEl>
                                          <p:spTgt spid="36"/>
                                        </p:tgtEl>
                                        <p:attrNameLst>
                                          <p:attrName>style.visibility</p:attrName>
                                        </p:attrNameLst>
                                      </p:cBhvr>
                                      <p:to>
                                        <p:strVal val="visible"/>
                                      </p:to>
                                    </p:set>
                                    <p:anim calcmode="lin" valueType="num">
                                      <p:cBhvr additive="base">
                                        <p:cTn id="135" dur="500" fill="hold"/>
                                        <p:tgtEl>
                                          <p:spTgt spid="36"/>
                                        </p:tgtEl>
                                        <p:attrNameLst>
                                          <p:attrName>ppt_x</p:attrName>
                                        </p:attrNameLst>
                                      </p:cBhvr>
                                      <p:tavLst>
                                        <p:tav tm="0">
                                          <p:val>
                                            <p:strVal val="1+#ppt_w/2"/>
                                          </p:val>
                                        </p:tav>
                                        <p:tav tm="100000">
                                          <p:val>
                                            <p:strVal val="#ppt_x"/>
                                          </p:val>
                                        </p:tav>
                                      </p:tavLst>
                                    </p:anim>
                                    <p:anim calcmode="lin" valueType="num">
                                      <p:cBhvr additive="base">
                                        <p:cTn id="136" dur="500" fill="hold"/>
                                        <p:tgtEl>
                                          <p:spTgt spid="36"/>
                                        </p:tgtEl>
                                        <p:attrNameLst>
                                          <p:attrName>ppt_y</p:attrName>
                                        </p:attrNameLst>
                                      </p:cBhvr>
                                      <p:tavLst>
                                        <p:tav tm="0">
                                          <p:val>
                                            <p:strVal val="1+#ppt_h/2"/>
                                          </p:val>
                                        </p:tav>
                                        <p:tav tm="100000">
                                          <p:val>
                                            <p:strVal val="#ppt_y"/>
                                          </p:val>
                                        </p:tav>
                                      </p:tavLst>
                                    </p:anim>
                                  </p:childTnLst>
                                </p:cTn>
                              </p:par>
                              <p:par>
                                <p:cTn id="137" presetID="2" presetClass="entr" presetSubtype="6" fill="hold" nodeType="withEffect">
                                  <p:stCondLst>
                                    <p:cond delay="0"/>
                                  </p:stCondLst>
                                  <p:childTnLst>
                                    <p:set>
                                      <p:cBhvr>
                                        <p:cTn id="138" dur="1" fill="hold">
                                          <p:stCondLst>
                                            <p:cond delay="0"/>
                                          </p:stCondLst>
                                        </p:cTn>
                                        <p:tgtEl>
                                          <p:spTgt spid="39"/>
                                        </p:tgtEl>
                                        <p:attrNameLst>
                                          <p:attrName>style.visibility</p:attrName>
                                        </p:attrNameLst>
                                      </p:cBhvr>
                                      <p:to>
                                        <p:strVal val="visible"/>
                                      </p:to>
                                    </p:set>
                                    <p:anim calcmode="lin" valueType="num">
                                      <p:cBhvr additive="base">
                                        <p:cTn id="139" dur="500" fill="hold"/>
                                        <p:tgtEl>
                                          <p:spTgt spid="39"/>
                                        </p:tgtEl>
                                        <p:attrNameLst>
                                          <p:attrName>ppt_x</p:attrName>
                                        </p:attrNameLst>
                                      </p:cBhvr>
                                      <p:tavLst>
                                        <p:tav tm="0">
                                          <p:val>
                                            <p:strVal val="1+#ppt_w/2"/>
                                          </p:val>
                                        </p:tav>
                                        <p:tav tm="100000">
                                          <p:val>
                                            <p:strVal val="#ppt_x"/>
                                          </p:val>
                                        </p:tav>
                                      </p:tavLst>
                                    </p:anim>
                                    <p:anim calcmode="lin" valueType="num">
                                      <p:cBhvr additive="base">
                                        <p:cTn id="140" dur="500" fill="hold"/>
                                        <p:tgtEl>
                                          <p:spTgt spid="39"/>
                                        </p:tgtEl>
                                        <p:attrNameLst>
                                          <p:attrName>ppt_y</p:attrName>
                                        </p:attrNameLst>
                                      </p:cBhvr>
                                      <p:tavLst>
                                        <p:tav tm="0">
                                          <p:val>
                                            <p:strVal val="1+#ppt_h/2"/>
                                          </p:val>
                                        </p:tav>
                                        <p:tav tm="100000">
                                          <p:val>
                                            <p:strVal val="#ppt_y"/>
                                          </p:val>
                                        </p:tav>
                                      </p:tavLst>
                                    </p:anim>
                                  </p:childTnLst>
                                </p:cTn>
                              </p:par>
                              <p:par>
                                <p:cTn id="141" presetID="2" presetClass="entr" presetSubtype="6" fill="hold" nodeType="withEffect">
                                  <p:stCondLst>
                                    <p:cond delay="0"/>
                                  </p:stCondLst>
                                  <p:childTnLst>
                                    <p:set>
                                      <p:cBhvr>
                                        <p:cTn id="142" dur="1" fill="hold">
                                          <p:stCondLst>
                                            <p:cond delay="0"/>
                                          </p:stCondLst>
                                        </p:cTn>
                                        <p:tgtEl>
                                          <p:spTgt spid="40"/>
                                        </p:tgtEl>
                                        <p:attrNameLst>
                                          <p:attrName>style.visibility</p:attrName>
                                        </p:attrNameLst>
                                      </p:cBhvr>
                                      <p:to>
                                        <p:strVal val="visible"/>
                                      </p:to>
                                    </p:set>
                                    <p:anim calcmode="lin" valueType="num">
                                      <p:cBhvr additive="base">
                                        <p:cTn id="143" dur="500" fill="hold"/>
                                        <p:tgtEl>
                                          <p:spTgt spid="40"/>
                                        </p:tgtEl>
                                        <p:attrNameLst>
                                          <p:attrName>ppt_x</p:attrName>
                                        </p:attrNameLst>
                                      </p:cBhvr>
                                      <p:tavLst>
                                        <p:tav tm="0">
                                          <p:val>
                                            <p:strVal val="1+#ppt_w/2"/>
                                          </p:val>
                                        </p:tav>
                                        <p:tav tm="100000">
                                          <p:val>
                                            <p:strVal val="#ppt_x"/>
                                          </p:val>
                                        </p:tav>
                                      </p:tavLst>
                                    </p:anim>
                                    <p:anim calcmode="lin" valueType="num">
                                      <p:cBhvr additive="base">
                                        <p:cTn id="144" dur="500" fill="hold"/>
                                        <p:tgtEl>
                                          <p:spTgt spid="40"/>
                                        </p:tgtEl>
                                        <p:attrNameLst>
                                          <p:attrName>ppt_y</p:attrName>
                                        </p:attrNameLst>
                                      </p:cBhvr>
                                      <p:tavLst>
                                        <p:tav tm="0">
                                          <p:val>
                                            <p:strVal val="1+#ppt_h/2"/>
                                          </p:val>
                                        </p:tav>
                                        <p:tav tm="100000">
                                          <p:val>
                                            <p:strVal val="#ppt_y"/>
                                          </p:val>
                                        </p:tav>
                                      </p:tavLst>
                                    </p:anim>
                                  </p:childTnLst>
                                </p:cTn>
                              </p:par>
                              <p:par>
                                <p:cTn id="145" presetID="2" presetClass="entr" presetSubtype="6" fill="hold" nodeType="withEffect">
                                  <p:stCondLst>
                                    <p:cond delay="0"/>
                                  </p:stCondLst>
                                  <p:childTnLst>
                                    <p:set>
                                      <p:cBhvr>
                                        <p:cTn id="146" dur="1" fill="hold">
                                          <p:stCondLst>
                                            <p:cond delay="0"/>
                                          </p:stCondLst>
                                        </p:cTn>
                                        <p:tgtEl>
                                          <p:spTgt spid="41"/>
                                        </p:tgtEl>
                                        <p:attrNameLst>
                                          <p:attrName>style.visibility</p:attrName>
                                        </p:attrNameLst>
                                      </p:cBhvr>
                                      <p:to>
                                        <p:strVal val="visible"/>
                                      </p:to>
                                    </p:set>
                                    <p:anim calcmode="lin" valueType="num">
                                      <p:cBhvr additive="base">
                                        <p:cTn id="147" dur="500" fill="hold"/>
                                        <p:tgtEl>
                                          <p:spTgt spid="41"/>
                                        </p:tgtEl>
                                        <p:attrNameLst>
                                          <p:attrName>ppt_x</p:attrName>
                                        </p:attrNameLst>
                                      </p:cBhvr>
                                      <p:tavLst>
                                        <p:tav tm="0">
                                          <p:val>
                                            <p:strVal val="1+#ppt_w/2"/>
                                          </p:val>
                                        </p:tav>
                                        <p:tav tm="100000">
                                          <p:val>
                                            <p:strVal val="#ppt_x"/>
                                          </p:val>
                                        </p:tav>
                                      </p:tavLst>
                                    </p:anim>
                                    <p:anim calcmode="lin" valueType="num">
                                      <p:cBhvr additive="base">
                                        <p:cTn id="148" dur="500" fill="hold"/>
                                        <p:tgtEl>
                                          <p:spTgt spid="41"/>
                                        </p:tgtEl>
                                        <p:attrNameLst>
                                          <p:attrName>ppt_y</p:attrName>
                                        </p:attrNameLst>
                                      </p:cBhvr>
                                      <p:tavLst>
                                        <p:tav tm="0">
                                          <p:val>
                                            <p:strVal val="1+#ppt_h/2"/>
                                          </p:val>
                                        </p:tav>
                                        <p:tav tm="100000">
                                          <p:val>
                                            <p:strVal val="#ppt_y"/>
                                          </p:val>
                                        </p:tav>
                                      </p:tavLst>
                                    </p:anim>
                                  </p:childTnLst>
                                </p:cTn>
                              </p:par>
                              <p:par>
                                <p:cTn id="149" presetID="2" presetClass="entr" presetSubtype="2" fill="hold" nodeType="withEffect">
                                  <p:stCondLst>
                                    <p:cond delay="0"/>
                                  </p:stCondLst>
                                  <p:childTnLst>
                                    <p:set>
                                      <p:cBhvr>
                                        <p:cTn id="150" dur="1" fill="hold">
                                          <p:stCondLst>
                                            <p:cond delay="0"/>
                                          </p:stCondLst>
                                        </p:cTn>
                                        <p:tgtEl>
                                          <p:spTgt spid="37"/>
                                        </p:tgtEl>
                                        <p:attrNameLst>
                                          <p:attrName>style.visibility</p:attrName>
                                        </p:attrNameLst>
                                      </p:cBhvr>
                                      <p:to>
                                        <p:strVal val="visible"/>
                                      </p:to>
                                    </p:set>
                                    <p:anim calcmode="lin" valueType="num">
                                      <p:cBhvr additive="base">
                                        <p:cTn id="151" dur="500" fill="hold"/>
                                        <p:tgtEl>
                                          <p:spTgt spid="37"/>
                                        </p:tgtEl>
                                        <p:attrNameLst>
                                          <p:attrName>ppt_x</p:attrName>
                                        </p:attrNameLst>
                                      </p:cBhvr>
                                      <p:tavLst>
                                        <p:tav tm="0">
                                          <p:val>
                                            <p:strVal val="1+#ppt_w/2"/>
                                          </p:val>
                                        </p:tav>
                                        <p:tav tm="100000">
                                          <p:val>
                                            <p:strVal val="#ppt_x"/>
                                          </p:val>
                                        </p:tav>
                                      </p:tavLst>
                                    </p:anim>
                                    <p:anim calcmode="lin" valueType="num">
                                      <p:cBhvr additive="base">
                                        <p:cTn id="152" dur="500" fill="hold"/>
                                        <p:tgtEl>
                                          <p:spTgt spid="3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A15FBA7-4496-4ED4-86F0-A3DBBF6CF9DD}"/>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4BFBCF3B-C6BC-4E25-82CB-7AD7F6E9A202}"/>
              </a:ext>
            </a:extLst>
          </p:cNvPr>
          <p:cNvSpPr>
            <a:spLocks noGrp="1"/>
          </p:cNvSpPr>
          <p:nvPr>
            <p:ph type="title"/>
          </p:nvPr>
        </p:nvSpPr>
        <p:spPr>
          <a:xfrm>
            <a:off x="838200" y="530613"/>
            <a:ext cx="10515600" cy="467820"/>
          </a:xfrm>
        </p:spPr>
        <p:txBody>
          <a:bodyPr/>
          <a:lstStyle/>
          <a:p>
            <a:r>
              <a:rPr lang="en-GB" dirty="0"/>
              <a:t>Imputation</a:t>
            </a:r>
          </a:p>
        </p:txBody>
      </p:sp>
      <p:sp>
        <p:nvSpPr>
          <p:cNvPr id="4" name="Content Placeholder 3">
            <a:extLst>
              <a:ext uri="{FF2B5EF4-FFF2-40B4-BE49-F238E27FC236}">
                <a16:creationId xmlns:a16="http://schemas.microsoft.com/office/drawing/2014/main" id="{C677F9E5-AA61-4A15-A274-7BA6927981C4}"/>
              </a:ext>
            </a:extLst>
          </p:cNvPr>
          <p:cNvSpPr>
            <a:spLocks noGrp="1"/>
          </p:cNvSpPr>
          <p:nvPr>
            <p:ph idx="1"/>
          </p:nvPr>
        </p:nvSpPr>
        <p:spPr>
          <a:xfrm>
            <a:off x="838200" y="1245542"/>
            <a:ext cx="10515600" cy="4666470"/>
          </a:xfrm>
        </p:spPr>
        <p:txBody>
          <a:bodyPr/>
          <a:lstStyle/>
          <a:p>
            <a:pPr>
              <a:lnSpc>
                <a:spcPct val="100000"/>
              </a:lnSpc>
            </a:pPr>
            <a:r>
              <a:rPr lang="en-GB" sz="2400" b="1" dirty="0"/>
              <a:t>Rolled forward imputation</a:t>
            </a:r>
          </a:p>
          <a:p>
            <a:pPr marL="342900" indent="-342900">
              <a:lnSpc>
                <a:spcPct val="100000"/>
              </a:lnSpc>
              <a:buFontTx/>
              <a:buChar char="•"/>
            </a:pPr>
            <a:r>
              <a:rPr lang="en-GB" sz="2000" dirty="0"/>
              <a:t>A successful interview at one wave followed by a </a:t>
            </a:r>
            <a:br>
              <a:rPr lang="en-GB" sz="2000" dirty="0"/>
            </a:br>
            <a:r>
              <a:rPr lang="en-GB" sz="2000" dirty="0"/>
              <a:t>non-response at the next </a:t>
            </a:r>
            <a:endParaRPr lang="en-GB" sz="2000" b="1" u="sng" dirty="0"/>
          </a:p>
          <a:p>
            <a:pPr marL="342900" indent="-342900">
              <a:lnSpc>
                <a:spcPct val="100000"/>
              </a:lnSpc>
              <a:buFontTx/>
              <a:buChar char="•"/>
            </a:pPr>
            <a:r>
              <a:rPr lang="en-GB" sz="2000" dirty="0"/>
              <a:t>Rolled forward cases appear as IOUTCOME = 6 </a:t>
            </a:r>
            <a:br>
              <a:rPr lang="en-GB" sz="2000" dirty="0"/>
            </a:br>
            <a:r>
              <a:rPr lang="en-GB" sz="2000" dirty="0"/>
              <a:t>on LFS and APS ‘person’ and ‘household’ micro </a:t>
            </a:r>
            <a:br>
              <a:rPr lang="en-GB" sz="2000" dirty="0"/>
            </a:br>
            <a:r>
              <a:rPr lang="en-GB" sz="2000" dirty="0"/>
              <a:t>data</a:t>
            </a:r>
          </a:p>
          <a:p>
            <a:pPr marL="342900" indent="-342900">
              <a:lnSpc>
                <a:spcPct val="100000"/>
              </a:lnSpc>
              <a:buFontTx/>
              <a:buChar char="•"/>
            </a:pPr>
            <a:r>
              <a:rPr lang="en-GB" sz="2000" dirty="0"/>
              <a:t>Rolled forward imputation only occurs once and </a:t>
            </a:r>
            <a:br>
              <a:rPr lang="en-GB" sz="2000" dirty="0"/>
            </a:br>
            <a:r>
              <a:rPr lang="en-GB" sz="2000" dirty="0"/>
              <a:t>only for LFS main cases</a:t>
            </a:r>
          </a:p>
          <a:p>
            <a:pPr>
              <a:lnSpc>
                <a:spcPct val="100000"/>
              </a:lnSpc>
            </a:pPr>
            <a:r>
              <a:rPr lang="en-GB" sz="2400" b="1" dirty="0"/>
              <a:t>Donor imputation (employment focused)</a:t>
            </a:r>
          </a:p>
          <a:p>
            <a:pPr marL="342900" indent="-342900">
              <a:lnSpc>
                <a:spcPct val="100000"/>
              </a:lnSpc>
              <a:buFontTx/>
              <a:buChar char="•"/>
            </a:pPr>
            <a:r>
              <a:rPr lang="en-GB" sz="2000" dirty="0"/>
              <a:t>Non-response at wave 1 or a second consecutive wave of non-response</a:t>
            </a:r>
            <a:endParaRPr lang="en-GB" sz="2000" b="1" u="sng" dirty="0"/>
          </a:p>
          <a:p>
            <a:pPr marL="342900" indent="-342900">
              <a:lnSpc>
                <a:spcPct val="100000"/>
              </a:lnSpc>
              <a:buFontTx/>
              <a:buChar char="•"/>
            </a:pPr>
            <a:r>
              <a:rPr lang="en-GB" sz="2000" dirty="0"/>
              <a:t>Non-responder cases appear as IOUTCOME = 3 only on LFS and APS ‘household’ micro data  </a:t>
            </a:r>
          </a:p>
          <a:p>
            <a:pPr marL="342900" indent="-342900">
              <a:lnSpc>
                <a:spcPct val="100000"/>
              </a:lnSpc>
              <a:buFontTx/>
              <a:buChar char="•"/>
            </a:pPr>
            <a:r>
              <a:rPr lang="en-GB" sz="2000" dirty="0"/>
              <a:t>Donor imputation occurs for LFS and APS cases</a:t>
            </a:r>
            <a:endParaRPr lang="en-GB" sz="2400" dirty="0"/>
          </a:p>
        </p:txBody>
      </p:sp>
      <p:pic>
        <p:nvPicPr>
          <p:cNvPr id="4098" name="Picture 2" descr="Missing puzzle piece">
            <a:extLst>
              <a:ext uri="{FF2B5EF4-FFF2-40B4-BE49-F238E27FC236}">
                <a16:creationId xmlns:a16="http://schemas.microsoft.com/office/drawing/2014/main" id="{341FC113-06AC-4980-8EFF-ED54E0B723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22080" y="1438327"/>
            <a:ext cx="5057696" cy="28449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9691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03ED042-64D4-418D-8D48-5DC58E72EB12}"/>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C056CD05-65FA-4394-8E15-F96666CE2DAD}"/>
              </a:ext>
            </a:extLst>
          </p:cNvPr>
          <p:cNvSpPr>
            <a:spLocks noGrp="1"/>
          </p:cNvSpPr>
          <p:nvPr>
            <p:ph type="title"/>
          </p:nvPr>
        </p:nvSpPr>
        <p:spPr/>
        <p:txBody>
          <a:bodyPr/>
          <a:lstStyle/>
          <a:p>
            <a:r>
              <a:rPr lang="en-GB" dirty="0"/>
              <a:t>Data collection (pre-COVID)</a:t>
            </a:r>
          </a:p>
        </p:txBody>
      </p:sp>
      <p:sp>
        <p:nvSpPr>
          <p:cNvPr id="5" name="Rectangle 3">
            <a:extLst>
              <a:ext uri="{FF2B5EF4-FFF2-40B4-BE49-F238E27FC236}">
                <a16:creationId xmlns:a16="http://schemas.microsoft.com/office/drawing/2014/main" id="{22355EED-6931-474E-A883-C7A51E3B0015}"/>
              </a:ext>
            </a:extLst>
          </p:cNvPr>
          <p:cNvSpPr>
            <a:spLocks noChangeArrowheads="1"/>
          </p:cNvSpPr>
          <p:nvPr/>
        </p:nvSpPr>
        <p:spPr bwMode="auto">
          <a:xfrm>
            <a:off x="771524" y="1466850"/>
            <a:ext cx="10239375" cy="4572000"/>
          </a:xfrm>
          <a:prstGeom prst="rect">
            <a:avLst/>
          </a:prstGeom>
          <a:noFill/>
          <a:ln w="9525">
            <a:noFill/>
            <a:miter lim="800000"/>
            <a:headEnd/>
            <a:tailEnd/>
          </a:ln>
        </p:spPr>
        <p:txBody>
          <a:bodyPr/>
          <a:lstStyle/>
          <a:p>
            <a:pPr marL="342900" indent="-342900" eaLnBrk="1" hangingPunct="1">
              <a:spcBef>
                <a:spcPct val="20000"/>
              </a:spcBef>
              <a:buFontTx/>
              <a:buChar char="•"/>
            </a:pPr>
            <a:r>
              <a:rPr lang="en-GB" sz="2000" dirty="0"/>
              <a:t>CAPI (Computer Assisted Personal Interviewing)</a:t>
            </a:r>
          </a:p>
          <a:p>
            <a:pPr marL="342900" indent="-342900" eaLnBrk="1" hangingPunct="1">
              <a:spcBef>
                <a:spcPct val="20000"/>
              </a:spcBef>
              <a:buFontTx/>
              <a:buChar char="•"/>
            </a:pPr>
            <a:endParaRPr lang="en-GB" sz="2000" dirty="0"/>
          </a:p>
          <a:p>
            <a:pPr marL="342900" indent="-342900" eaLnBrk="1" hangingPunct="1">
              <a:spcBef>
                <a:spcPct val="20000"/>
              </a:spcBef>
              <a:buFontTx/>
              <a:buChar char="•"/>
            </a:pPr>
            <a:endParaRPr lang="en-GB" sz="2000" dirty="0"/>
          </a:p>
          <a:p>
            <a:pPr marL="342900" indent="-342900" eaLnBrk="1" hangingPunct="1">
              <a:spcBef>
                <a:spcPct val="20000"/>
              </a:spcBef>
              <a:buFontTx/>
              <a:buChar char="•"/>
            </a:pPr>
            <a:endParaRPr lang="en-GB" sz="2000" dirty="0"/>
          </a:p>
          <a:p>
            <a:pPr marL="342900" indent="-342900" eaLnBrk="1" hangingPunct="1">
              <a:spcBef>
                <a:spcPct val="20000"/>
              </a:spcBef>
              <a:buFontTx/>
              <a:buChar char="•"/>
            </a:pPr>
            <a:endParaRPr lang="en-GB" sz="2000" dirty="0"/>
          </a:p>
          <a:p>
            <a:pPr marL="342900" indent="-342900" eaLnBrk="1" hangingPunct="1">
              <a:spcBef>
                <a:spcPct val="20000"/>
              </a:spcBef>
              <a:buFontTx/>
              <a:buChar char="•"/>
            </a:pPr>
            <a:endParaRPr lang="en-GB" sz="2000" dirty="0"/>
          </a:p>
          <a:p>
            <a:pPr marL="342900" indent="-342900" eaLnBrk="1" hangingPunct="1">
              <a:spcBef>
                <a:spcPct val="20000"/>
              </a:spcBef>
              <a:buFontTx/>
              <a:buChar char="•"/>
            </a:pPr>
            <a:r>
              <a:rPr lang="en-GB" sz="2000" dirty="0"/>
              <a:t>Scotland north of Caledonian Canal all done by telephone unit</a:t>
            </a:r>
          </a:p>
          <a:p>
            <a:pPr marL="342900" indent="-342900" eaLnBrk="1" hangingPunct="1">
              <a:spcBef>
                <a:spcPct val="20000"/>
              </a:spcBef>
              <a:buFontTx/>
              <a:buChar char="•"/>
            </a:pPr>
            <a:r>
              <a:rPr lang="en-GB" sz="2000" dirty="0"/>
              <a:t>Approximately 600 field interviewers and 200 telephone interviewers</a:t>
            </a:r>
          </a:p>
          <a:p>
            <a:pPr marL="342900" indent="-342900" eaLnBrk="1" hangingPunct="1">
              <a:spcBef>
                <a:spcPct val="20000"/>
              </a:spcBef>
              <a:buFontTx/>
              <a:buChar char="•"/>
            </a:pPr>
            <a:r>
              <a:rPr lang="en-GB" sz="2000" dirty="0"/>
              <a:t>Respondents can answer for others in the household = </a:t>
            </a:r>
            <a:r>
              <a:rPr lang="en-GB" sz="2000" b="1" u="sng" dirty="0"/>
              <a:t>Proxy Interviews</a:t>
            </a:r>
          </a:p>
          <a:p>
            <a:pPr marL="342900" indent="-342900" eaLnBrk="1" hangingPunct="1">
              <a:spcBef>
                <a:spcPct val="20000"/>
              </a:spcBef>
              <a:buFontTx/>
              <a:buChar char="•"/>
            </a:pPr>
            <a:r>
              <a:rPr lang="en-GB" sz="2000" dirty="0"/>
              <a:t>Around </a:t>
            </a:r>
            <a:r>
              <a:rPr lang="en-GB" sz="2000" b="1" u="sng" dirty="0"/>
              <a:t>1/3</a:t>
            </a:r>
            <a:r>
              <a:rPr lang="en-GB" sz="2000" dirty="0"/>
              <a:t> of LFS data collected in this way</a:t>
            </a:r>
          </a:p>
          <a:p>
            <a:pPr marL="342900" indent="-342900" eaLnBrk="1" hangingPunct="1">
              <a:spcBef>
                <a:spcPct val="20000"/>
              </a:spcBef>
            </a:pPr>
            <a:endParaRPr lang="en-GB" sz="2000" dirty="0">
              <a:solidFill>
                <a:schemeClr val="bg1"/>
              </a:solidFill>
            </a:endParaRPr>
          </a:p>
          <a:p>
            <a:pPr marL="763588" lvl="1" indent="-285750" eaLnBrk="1" hangingPunct="1">
              <a:spcBef>
                <a:spcPct val="20000"/>
              </a:spcBef>
              <a:buFontTx/>
              <a:buChar char="-"/>
            </a:pPr>
            <a:endParaRPr lang="en-GB" sz="2000" dirty="0">
              <a:solidFill>
                <a:schemeClr val="bg1"/>
              </a:solidFill>
            </a:endParaRPr>
          </a:p>
        </p:txBody>
      </p:sp>
      <p:sp>
        <p:nvSpPr>
          <p:cNvPr id="7" name="AutoShape 4">
            <a:extLst>
              <a:ext uri="{FF2B5EF4-FFF2-40B4-BE49-F238E27FC236}">
                <a16:creationId xmlns:a16="http://schemas.microsoft.com/office/drawing/2014/main" id="{CE01840A-7436-41BE-8F49-E1EBE22752EE}"/>
              </a:ext>
            </a:extLst>
          </p:cNvPr>
          <p:cNvSpPr>
            <a:spLocks noChangeArrowheads="1"/>
          </p:cNvSpPr>
          <p:nvPr/>
        </p:nvSpPr>
        <p:spPr bwMode="auto">
          <a:xfrm>
            <a:off x="1181101" y="1989137"/>
            <a:ext cx="2952750" cy="1368425"/>
          </a:xfrm>
          <a:prstGeom prst="roundRect">
            <a:avLst>
              <a:gd name="adj" fmla="val 16667"/>
            </a:avLst>
          </a:prstGeom>
          <a:solidFill>
            <a:srgbClr val="BECE70"/>
          </a:solidFill>
          <a:ln w="9525">
            <a:noFill/>
            <a:round/>
            <a:headEnd/>
            <a:tailEnd/>
          </a:ln>
        </p:spPr>
        <p:txBody>
          <a:bodyPr wrap="none"/>
          <a:lstStyle/>
          <a:p>
            <a:pPr algn="ctr"/>
            <a:r>
              <a:rPr lang="en-GB" dirty="0">
                <a:solidFill>
                  <a:schemeClr val="tx2"/>
                </a:solidFill>
              </a:rPr>
              <a:t>Wave 1</a:t>
            </a:r>
          </a:p>
        </p:txBody>
      </p:sp>
      <p:sp>
        <p:nvSpPr>
          <p:cNvPr id="8" name="AutoShape 5">
            <a:extLst>
              <a:ext uri="{FF2B5EF4-FFF2-40B4-BE49-F238E27FC236}">
                <a16:creationId xmlns:a16="http://schemas.microsoft.com/office/drawing/2014/main" id="{37C84380-73F9-4B08-9DD4-47E21F95201D}"/>
              </a:ext>
            </a:extLst>
          </p:cNvPr>
          <p:cNvSpPr>
            <a:spLocks noChangeArrowheads="1"/>
          </p:cNvSpPr>
          <p:nvPr/>
        </p:nvSpPr>
        <p:spPr bwMode="auto">
          <a:xfrm>
            <a:off x="4565651" y="1989137"/>
            <a:ext cx="2952750" cy="1368425"/>
          </a:xfrm>
          <a:prstGeom prst="roundRect">
            <a:avLst>
              <a:gd name="adj" fmla="val 16667"/>
            </a:avLst>
          </a:prstGeom>
          <a:solidFill>
            <a:srgbClr val="A8BD3A"/>
          </a:solidFill>
          <a:ln w="9525">
            <a:noFill/>
            <a:round/>
            <a:headEnd/>
            <a:tailEnd/>
          </a:ln>
        </p:spPr>
        <p:txBody>
          <a:bodyPr wrap="none"/>
          <a:lstStyle/>
          <a:p>
            <a:pPr algn="ctr"/>
            <a:r>
              <a:rPr lang="en-GB" dirty="0">
                <a:solidFill>
                  <a:schemeClr val="tx2"/>
                </a:solidFill>
              </a:rPr>
              <a:t>Waves 2-5</a:t>
            </a:r>
          </a:p>
        </p:txBody>
      </p:sp>
      <p:sp>
        <p:nvSpPr>
          <p:cNvPr id="9" name="AutoShape 6">
            <a:extLst>
              <a:ext uri="{FF2B5EF4-FFF2-40B4-BE49-F238E27FC236}">
                <a16:creationId xmlns:a16="http://schemas.microsoft.com/office/drawing/2014/main" id="{100E96C8-25FC-4417-A897-DAF49F8454C5}"/>
              </a:ext>
            </a:extLst>
          </p:cNvPr>
          <p:cNvSpPr>
            <a:spLocks noChangeArrowheads="1"/>
          </p:cNvSpPr>
          <p:nvPr/>
        </p:nvSpPr>
        <p:spPr bwMode="auto">
          <a:xfrm>
            <a:off x="1397001" y="2588259"/>
            <a:ext cx="2520950" cy="576263"/>
          </a:xfrm>
          <a:prstGeom prst="flowChartAlternateProcess">
            <a:avLst/>
          </a:prstGeom>
          <a:solidFill>
            <a:schemeClr val="accent3"/>
          </a:solidFill>
          <a:ln w="9525">
            <a:noFill/>
            <a:miter lim="800000"/>
            <a:headEnd/>
            <a:tailEnd/>
          </a:ln>
        </p:spPr>
        <p:txBody>
          <a:bodyPr wrap="none" anchor="ctr"/>
          <a:lstStyle/>
          <a:p>
            <a:pPr algn="ctr"/>
            <a:r>
              <a:rPr lang="en-GB" dirty="0">
                <a:solidFill>
                  <a:schemeClr val="bg1"/>
                </a:solidFill>
              </a:rPr>
              <a:t>Face-to-Face</a:t>
            </a:r>
          </a:p>
        </p:txBody>
      </p:sp>
      <p:sp>
        <p:nvSpPr>
          <p:cNvPr id="10" name="AutoShape 7">
            <a:extLst>
              <a:ext uri="{FF2B5EF4-FFF2-40B4-BE49-F238E27FC236}">
                <a16:creationId xmlns:a16="http://schemas.microsoft.com/office/drawing/2014/main" id="{31078DC2-71FC-4763-829F-B2CF20E32ADF}"/>
              </a:ext>
            </a:extLst>
          </p:cNvPr>
          <p:cNvSpPr>
            <a:spLocks noChangeArrowheads="1"/>
          </p:cNvSpPr>
          <p:nvPr/>
        </p:nvSpPr>
        <p:spPr bwMode="auto">
          <a:xfrm>
            <a:off x="4781551" y="2598419"/>
            <a:ext cx="2520950" cy="576263"/>
          </a:xfrm>
          <a:prstGeom prst="flowChartAlternateProcess">
            <a:avLst/>
          </a:prstGeom>
          <a:solidFill>
            <a:schemeClr val="accent5"/>
          </a:solidFill>
          <a:ln w="9525">
            <a:noFill/>
            <a:miter lim="800000"/>
            <a:headEnd/>
            <a:tailEnd/>
          </a:ln>
        </p:spPr>
        <p:txBody>
          <a:bodyPr wrap="none" anchor="ctr"/>
          <a:lstStyle/>
          <a:p>
            <a:pPr algn="ctr"/>
            <a:r>
              <a:rPr lang="en-GB" dirty="0">
                <a:solidFill>
                  <a:schemeClr val="bg1"/>
                </a:solidFill>
              </a:rPr>
              <a:t>Telephone</a:t>
            </a:r>
          </a:p>
        </p:txBody>
      </p:sp>
    </p:spTree>
    <p:extLst>
      <p:ext uri="{BB962C8B-B14F-4D97-AF65-F5344CB8AC3E}">
        <p14:creationId xmlns:p14="http://schemas.microsoft.com/office/powerpoint/2010/main" val="19362060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Oval 62">
            <a:extLst>
              <a:ext uri="{FF2B5EF4-FFF2-40B4-BE49-F238E27FC236}">
                <a16:creationId xmlns:a16="http://schemas.microsoft.com/office/drawing/2014/main" id="{7A212D81-83ED-441A-8C61-82F0F1749C7E}"/>
              </a:ext>
            </a:extLst>
          </p:cNvPr>
          <p:cNvSpPr>
            <a:spLocks noChangeArrowheads="1"/>
          </p:cNvSpPr>
          <p:nvPr/>
        </p:nvSpPr>
        <p:spPr bwMode="auto">
          <a:xfrm>
            <a:off x="6221015" y="1618788"/>
            <a:ext cx="1330487" cy="1358056"/>
          </a:xfrm>
          <a:prstGeom prst="ellipse">
            <a:avLst/>
          </a:prstGeom>
          <a:solidFill>
            <a:srgbClr val="B2C553"/>
          </a:solidFill>
          <a:ln>
            <a:noFill/>
          </a:ln>
        </p:spPr>
        <p:txBody>
          <a:bodyPr vert="horz" wrap="square" lIns="121920" tIns="60960" rIns="121920" bIns="60960" numCol="1" anchor="t" anchorCtr="0" compatLnSpc="1">
            <a:prstTxWarp prst="textNoShape">
              <a:avLst/>
            </a:prstTxWarp>
          </a:bodyPr>
          <a:lstStyle/>
          <a:p>
            <a:endParaRPr lang="en-US" sz="3200"/>
          </a:p>
        </p:txBody>
      </p:sp>
      <p:sp>
        <p:nvSpPr>
          <p:cNvPr id="86" name="Oval 85">
            <a:extLst>
              <a:ext uri="{FF2B5EF4-FFF2-40B4-BE49-F238E27FC236}">
                <a16:creationId xmlns:a16="http://schemas.microsoft.com/office/drawing/2014/main" id="{3BB56AE5-8257-46D2-B06F-5A3CAB5845FF}"/>
              </a:ext>
            </a:extLst>
          </p:cNvPr>
          <p:cNvSpPr/>
          <p:nvPr/>
        </p:nvSpPr>
        <p:spPr>
          <a:xfrm>
            <a:off x="4519881" y="2649836"/>
            <a:ext cx="1330487" cy="1358056"/>
          </a:xfrm>
          <a:prstGeom prst="ellipse">
            <a:avLst/>
          </a:prstGeom>
          <a:solidFill>
            <a:srgbClr val="4289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Oval 83">
            <a:extLst>
              <a:ext uri="{FF2B5EF4-FFF2-40B4-BE49-F238E27FC236}">
                <a16:creationId xmlns:a16="http://schemas.microsoft.com/office/drawing/2014/main" id="{28942975-990D-4967-9A4A-8274A004D939}"/>
              </a:ext>
            </a:extLst>
          </p:cNvPr>
          <p:cNvSpPr/>
          <p:nvPr/>
        </p:nvSpPr>
        <p:spPr>
          <a:xfrm>
            <a:off x="2801626" y="3562273"/>
            <a:ext cx="1330487" cy="1358056"/>
          </a:xfrm>
          <a:prstGeom prst="ellipse">
            <a:avLst/>
          </a:prstGeom>
          <a:solidFill>
            <a:schemeClr val="accent5">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Oval 2">
            <a:extLst>
              <a:ext uri="{FF2B5EF4-FFF2-40B4-BE49-F238E27FC236}">
                <a16:creationId xmlns:a16="http://schemas.microsoft.com/office/drawing/2014/main" id="{16157E53-5A6D-4073-9781-382896652FFB}"/>
              </a:ext>
            </a:extLst>
          </p:cNvPr>
          <p:cNvSpPr/>
          <p:nvPr/>
        </p:nvSpPr>
        <p:spPr>
          <a:xfrm>
            <a:off x="7876990" y="654044"/>
            <a:ext cx="1330487" cy="1358056"/>
          </a:xfrm>
          <a:prstGeom prst="ellipse">
            <a:avLst/>
          </a:prstGeom>
          <a:solidFill>
            <a:srgbClr val="902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7" name="Group 76">
            <a:extLst>
              <a:ext uri="{FF2B5EF4-FFF2-40B4-BE49-F238E27FC236}">
                <a16:creationId xmlns:a16="http://schemas.microsoft.com/office/drawing/2014/main" id="{24AD5E47-CF84-4331-908D-BF1E1EB5C84A}"/>
              </a:ext>
            </a:extLst>
          </p:cNvPr>
          <p:cNvGrpSpPr/>
          <p:nvPr/>
        </p:nvGrpSpPr>
        <p:grpSpPr>
          <a:xfrm>
            <a:off x="1096958" y="4500743"/>
            <a:ext cx="1370229" cy="1368972"/>
            <a:chOff x="4753596" y="4704312"/>
            <a:chExt cx="609600" cy="609600"/>
          </a:xfrm>
        </p:grpSpPr>
        <p:sp>
          <p:nvSpPr>
            <p:cNvPr id="78" name="Oval 21">
              <a:extLst>
                <a:ext uri="{FF2B5EF4-FFF2-40B4-BE49-F238E27FC236}">
                  <a16:creationId xmlns:a16="http://schemas.microsoft.com/office/drawing/2014/main" id="{885F3D3A-B4B1-4914-93B5-4C37B57A86AE}"/>
                </a:ext>
              </a:extLst>
            </p:cNvPr>
            <p:cNvSpPr>
              <a:spLocks noChangeArrowheads="1"/>
            </p:cNvSpPr>
            <p:nvPr/>
          </p:nvSpPr>
          <p:spPr bwMode="auto">
            <a:xfrm>
              <a:off x="4753596" y="4704312"/>
              <a:ext cx="609600" cy="609600"/>
            </a:xfrm>
            <a:prstGeom prst="ellipse">
              <a:avLst/>
            </a:prstGeom>
            <a:solidFill>
              <a:schemeClr val="accent3"/>
            </a:solidFill>
            <a:ln w="19050" cap="rnd" cmpd="sng">
              <a:noFill/>
              <a:prstDash val="solid"/>
              <a:round/>
              <a:headEnd/>
              <a:tailEnd/>
            </a:ln>
          </p:spPr>
          <p:txBody>
            <a:bodyPr vert="horz" wrap="square" lIns="121920" tIns="60960" rIns="121920" bIns="60960" numCol="1" anchor="t" anchorCtr="0" compatLnSpc="1">
              <a:prstTxWarp prst="textNoShape">
                <a:avLst/>
              </a:prstTxWarp>
            </a:bodyPr>
            <a:lstStyle/>
            <a:p>
              <a:endParaRPr lang="en-US" sz="3200"/>
            </a:p>
          </p:txBody>
        </p:sp>
        <p:grpSp>
          <p:nvGrpSpPr>
            <p:cNvPr id="79" name="Group 78">
              <a:extLst>
                <a:ext uri="{FF2B5EF4-FFF2-40B4-BE49-F238E27FC236}">
                  <a16:creationId xmlns:a16="http://schemas.microsoft.com/office/drawing/2014/main" id="{22E494CB-D355-43BD-8AF8-CCCFBBB69E83}"/>
                </a:ext>
              </a:extLst>
            </p:cNvPr>
            <p:cNvGrpSpPr/>
            <p:nvPr/>
          </p:nvGrpSpPr>
          <p:grpSpPr>
            <a:xfrm>
              <a:off x="4946197" y="4781240"/>
              <a:ext cx="223865" cy="456277"/>
              <a:chOff x="3973513" y="2216150"/>
              <a:chExt cx="1192212" cy="2428875"/>
            </a:xfrm>
          </p:grpSpPr>
          <p:sp>
            <p:nvSpPr>
              <p:cNvPr id="80" name="Oval 22">
                <a:extLst>
                  <a:ext uri="{FF2B5EF4-FFF2-40B4-BE49-F238E27FC236}">
                    <a16:creationId xmlns:a16="http://schemas.microsoft.com/office/drawing/2014/main" id="{C35FB3AD-89F8-44A1-8345-8D6B9EE0236C}"/>
                  </a:ext>
                </a:extLst>
              </p:cNvPr>
              <p:cNvSpPr>
                <a:spLocks noChangeArrowheads="1"/>
              </p:cNvSpPr>
              <p:nvPr/>
            </p:nvSpPr>
            <p:spPr bwMode="auto">
              <a:xfrm>
                <a:off x="4359275" y="2216150"/>
                <a:ext cx="420687" cy="419100"/>
              </a:xfrm>
              <a:prstGeom prst="ellipse">
                <a:avLst/>
              </a:prstGeom>
              <a:noFill/>
              <a:ln w="15875" cap="rnd" cmpd="sng">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3200"/>
              </a:p>
            </p:txBody>
          </p:sp>
          <p:sp>
            <p:nvSpPr>
              <p:cNvPr id="81" name="Freeform 23">
                <a:extLst>
                  <a:ext uri="{FF2B5EF4-FFF2-40B4-BE49-F238E27FC236}">
                    <a16:creationId xmlns:a16="http://schemas.microsoft.com/office/drawing/2014/main" id="{F66A67B6-74DA-4779-93F7-8381428AC5FB}"/>
                  </a:ext>
                </a:extLst>
              </p:cNvPr>
              <p:cNvSpPr>
                <a:spLocks/>
              </p:cNvSpPr>
              <p:nvPr/>
            </p:nvSpPr>
            <p:spPr bwMode="auto">
              <a:xfrm>
                <a:off x="3973513" y="2736850"/>
                <a:ext cx="1192212" cy="1908175"/>
              </a:xfrm>
              <a:custGeom>
                <a:avLst/>
                <a:gdLst>
                  <a:gd name="T0" fmla="*/ 159 w 318"/>
                  <a:gd name="T1" fmla="*/ 0 h 509"/>
                  <a:gd name="T2" fmla="*/ 67 w 318"/>
                  <a:gd name="T3" fmla="*/ 37 h 509"/>
                  <a:gd name="T4" fmla="*/ 2 w 318"/>
                  <a:gd name="T5" fmla="*/ 227 h 509"/>
                  <a:gd name="T6" fmla="*/ 15 w 318"/>
                  <a:gd name="T7" fmla="*/ 247 h 509"/>
                  <a:gd name="T8" fmla="*/ 37 w 318"/>
                  <a:gd name="T9" fmla="*/ 239 h 509"/>
                  <a:gd name="T10" fmla="*/ 95 w 318"/>
                  <a:gd name="T11" fmla="*/ 110 h 509"/>
                  <a:gd name="T12" fmla="*/ 86 w 318"/>
                  <a:gd name="T13" fmla="*/ 490 h 509"/>
                  <a:gd name="T14" fmla="*/ 109 w 318"/>
                  <a:gd name="T15" fmla="*/ 509 h 509"/>
                  <a:gd name="T16" fmla="*/ 133 w 318"/>
                  <a:gd name="T17" fmla="*/ 490 h 509"/>
                  <a:gd name="T18" fmla="*/ 159 w 318"/>
                  <a:gd name="T19" fmla="*/ 267 h 509"/>
                  <a:gd name="T20" fmla="*/ 185 w 318"/>
                  <a:gd name="T21" fmla="*/ 490 h 509"/>
                  <a:gd name="T22" fmla="*/ 209 w 318"/>
                  <a:gd name="T23" fmla="*/ 509 h 509"/>
                  <a:gd name="T24" fmla="*/ 233 w 318"/>
                  <a:gd name="T25" fmla="*/ 490 h 509"/>
                  <a:gd name="T26" fmla="*/ 223 w 318"/>
                  <a:gd name="T27" fmla="*/ 110 h 509"/>
                  <a:gd name="T28" fmla="*/ 281 w 318"/>
                  <a:gd name="T29" fmla="*/ 239 h 509"/>
                  <a:gd name="T30" fmla="*/ 304 w 318"/>
                  <a:gd name="T31" fmla="*/ 247 h 509"/>
                  <a:gd name="T32" fmla="*/ 316 w 318"/>
                  <a:gd name="T33" fmla="*/ 227 h 509"/>
                  <a:gd name="T34" fmla="*/ 252 w 318"/>
                  <a:gd name="T35" fmla="*/ 37 h 509"/>
                  <a:gd name="T36" fmla="*/ 159 w 318"/>
                  <a:gd name="T37" fmla="*/ 0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8" h="509">
                    <a:moveTo>
                      <a:pt x="159" y="0"/>
                    </a:moveTo>
                    <a:cubicBezTo>
                      <a:pt x="104" y="0"/>
                      <a:pt x="79" y="13"/>
                      <a:pt x="67" y="37"/>
                    </a:cubicBezTo>
                    <a:cubicBezTo>
                      <a:pt x="56" y="60"/>
                      <a:pt x="3" y="227"/>
                      <a:pt x="2" y="227"/>
                    </a:cubicBezTo>
                    <a:cubicBezTo>
                      <a:pt x="0" y="235"/>
                      <a:pt x="6" y="244"/>
                      <a:pt x="15" y="247"/>
                    </a:cubicBezTo>
                    <a:cubicBezTo>
                      <a:pt x="24" y="250"/>
                      <a:pt x="34" y="246"/>
                      <a:pt x="37" y="239"/>
                    </a:cubicBezTo>
                    <a:cubicBezTo>
                      <a:pt x="95" y="110"/>
                      <a:pt x="95" y="110"/>
                      <a:pt x="95" y="110"/>
                    </a:cubicBezTo>
                    <a:cubicBezTo>
                      <a:pt x="95" y="110"/>
                      <a:pt x="86" y="490"/>
                      <a:pt x="86" y="490"/>
                    </a:cubicBezTo>
                    <a:cubicBezTo>
                      <a:pt x="87" y="501"/>
                      <a:pt x="97" y="509"/>
                      <a:pt x="109" y="509"/>
                    </a:cubicBezTo>
                    <a:cubicBezTo>
                      <a:pt x="121" y="509"/>
                      <a:pt x="132" y="501"/>
                      <a:pt x="133" y="490"/>
                    </a:cubicBezTo>
                    <a:cubicBezTo>
                      <a:pt x="159" y="267"/>
                      <a:pt x="159" y="267"/>
                      <a:pt x="159" y="267"/>
                    </a:cubicBezTo>
                    <a:cubicBezTo>
                      <a:pt x="185" y="490"/>
                      <a:pt x="185" y="490"/>
                      <a:pt x="185" y="490"/>
                    </a:cubicBezTo>
                    <a:cubicBezTo>
                      <a:pt x="186" y="501"/>
                      <a:pt x="197" y="509"/>
                      <a:pt x="209" y="509"/>
                    </a:cubicBezTo>
                    <a:cubicBezTo>
                      <a:pt x="221" y="509"/>
                      <a:pt x="232" y="501"/>
                      <a:pt x="233" y="490"/>
                    </a:cubicBezTo>
                    <a:cubicBezTo>
                      <a:pt x="232" y="490"/>
                      <a:pt x="223" y="110"/>
                      <a:pt x="223" y="110"/>
                    </a:cubicBezTo>
                    <a:cubicBezTo>
                      <a:pt x="281" y="239"/>
                      <a:pt x="281" y="239"/>
                      <a:pt x="281" y="239"/>
                    </a:cubicBezTo>
                    <a:cubicBezTo>
                      <a:pt x="285" y="246"/>
                      <a:pt x="295" y="250"/>
                      <a:pt x="304" y="247"/>
                    </a:cubicBezTo>
                    <a:cubicBezTo>
                      <a:pt x="312" y="244"/>
                      <a:pt x="318" y="235"/>
                      <a:pt x="316" y="227"/>
                    </a:cubicBezTo>
                    <a:cubicBezTo>
                      <a:pt x="316" y="227"/>
                      <a:pt x="262" y="60"/>
                      <a:pt x="252" y="37"/>
                    </a:cubicBezTo>
                    <a:cubicBezTo>
                      <a:pt x="240" y="13"/>
                      <a:pt x="215" y="0"/>
                      <a:pt x="159" y="0"/>
                    </a:cubicBezTo>
                    <a:close/>
                  </a:path>
                </a:pathLst>
              </a:custGeom>
              <a:noFill/>
              <a:ln w="15875" cap="rnd" cmpd="sng">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3200"/>
              </a:p>
            </p:txBody>
          </p:sp>
        </p:grpSp>
      </p:grpSp>
      <p:sp>
        <p:nvSpPr>
          <p:cNvPr id="52" name="Rectangle 51"/>
          <p:cNvSpPr/>
          <p:nvPr/>
        </p:nvSpPr>
        <p:spPr>
          <a:xfrm>
            <a:off x="2349500" y="5443352"/>
            <a:ext cx="4836227" cy="600805"/>
          </a:xfrm>
          <a:prstGeom prst="rect">
            <a:avLst/>
          </a:prstGeom>
        </p:spPr>
        <p:txBody>
          <a:bodyPr wrap="square" lIns="243840" rIns="243840" bIns="60960">
            <a:spAutoFit/>
          </a:bodyPr>
          <a:lstStyle/>
          <a:p>
            <a:pPr>
              <a:lnSpc>
                <a:spcPct val="89000"/>
              </a:lnSpc>
            </a:pPr>
            <a:r>
              <a:rPr lang="en-US" dirty="0"/>
              <a:t>Sample drawn for each quarter separately three months in advance of the field work.</a:t>
            </a:r>
          </a:p>
        </p:txBody>
      </p:sp>
      <p:sp>
        <p:nvSpPr>
          <p:cNvPr id="57" name="Rectangle 56"/>
          <p:cNvSpPr/>
          <p:nvPr/>
        </p:nvSpPr>
        <p:spPr>
          <a:xfrm>
            <a:off x="4043945" y="4469685"/>
            <a:ext cx="5579026" cy="847348"/>
          </a:xfrm>
          <a:prstGeom prst="rect">
            <a:avLst/>
          </a:prstGeom>
        </p:spPr>
        <p:txBody>
          <a:bodyPr wrap="square" lIns="243840" rIns="243840" bIns="60960">
            <a:spAutoFit/>
          </a:bodyPr>
          <a:lstStyle/>
          <a:p>
            <a:pPr>
              <a:lnSpc>
                <a:spcPct val="89000"/>
              </a:lnSpc>
            </a:pPr>
            <a:r>
              <a:rPr lang="en-US" dirty="0"/>
              <a:t>Sampled addresses get divided into 13 weekly stints and allocated to interviewers across GB (NISRA conducts fieldwork for NI)</a:t>
            </a:r>
          </a:p>
        </p:txBody>
      </p:sp>
      <p:sp>
        <p:nvSpPr>
          <p:cNvPr id="58" name="Rectangle 57"/>
          <p:cNvSpPr/>
          <p:nvPr/>
        </p:nvSpPr>
        <p:spPr>
          <a:xfrm>
            <a:off x="5738391" y="3496019"/>
            <a:ext cx="5061953" cy="847348"/>
          </a:xfrm>
          <a:prstGeom prst="rect">
            <a:avLst/>
          </a:prstGeom>
        </p:spPr>
        <p:txBody>
          <a:bodyPr wrap="square" lIns="243840" rIns="243840" bIns="60960">
            <a:spAutoFit/>
          </a:bodyPr>
          <a:lstStyle/>
          <a:p>
            <a:pPr>
              <a:lnSpc>
                <a:spcPct val="89000"/>
              </a:lnSpc>
            </a:pPr>
            <a:r>
              <a:rPr lang="en-US" dirty="0"/>
              <a:t>First advance letter and unconditional incentive sent out centrally approx. 10 days before the start of the field period</a:t>
            </a:r>
          </a:p>
        </p:txBody>
      </p:sp>
      <p:sp>
        <p:nvSpPr>
          <p:cNvPr id="59" name="Rectangle 58"/>
          <p:cNvSpPr/>
          <p:nvPr/>
        </p:nvSpPr>
        <p:spPr>
          <a:xfrm>
            <a:off x="7432836" y="2522352"/>
            <a:ext cx="4076993" cy="600805"/>
          </a:xfrm>
          <a:prstGeom prst="rect">
            <a:avLst/>
          </a:prstGeom>
        </p:spPr>
        <p:txBody>
          <a:bodyPr wrap="square" lIns="243840" rIns="243840" bIns="60960">
            <a:spAutoFit/>
          </a:bodyPr>
          <a:lstStyle/>
          <a:p>
            <a:pPr>
              <a:lnSpc>
                <a:spcPct val="89000"/>
              </a:lnSpc>
            </a:pPr>
            <a:r>
              <a:rPr lang="en-US" dirty="0"/>
              <a:t>Second advance letter sent out by interviewers locally</a:t>
            </a:r>
          </a:p>
        </p:txBody>
      </p:sp>
      <p:sp>
        <p:nvSpPr>
          <p:cNvPr id="60" name="Rectangle 59"/>
          <p:cNvSpPr/>
          <p:nvPr/>
        </p:nvSpPr>
        <p:spPr>
          <a:xfrm>
            <a:off x="9127283" y="1548685"/>
            <a:ext cx="3064717" cy="354264"/>
          </a:xfrm>
          <a:prstGeom prst="rect">
            <a:avLst/>
          </a:prstGeom>
        </p:spPr>
        <p:txBody>
          <a:bodyPr wrap="square" lIns="243840" rIns="243840" bIns="60960">
            <a:spAutoFit/>
          </a:bodyPr>
          <a:lstStyle/>
          <a:p>
            <a:pPr>
              <a:lnSpc>
                <a:spcPct val="89000"/>
              </a:lnSpc>
            </a:pPr>
            <a:r>
              <a:rPr lang="en-US" dirty="0"/>
              <a:t>Start of data collection</a:t>
            </a:r>
          </a:p>
        </p:txBody>
      </p:sp>
      <p:sp>
        <p:nvSpPr>
          <p:cNvPr id="61" name="Oval 60"/>
          <p:cNvSpPr/>
          <p:nvPr/>
        </p:nvSpPr>
        <p:spPr>
          <a:xfrm>
            <a:off x="1009920" y="4511997"/>
            <a:ext cx="513387" cy="513387"/>
          </a:xfrm>
          <a:prstGeom prst="ellipse">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US" sz="2133" dirty="0"/>
              <a:t>01</a:t>
            </a:r>
          </a:p>
        </p:txBody>
      </p:sp>
      <p:sp>
        <p:nvSpPr>
          <p:cNvPr id="62" name="Oval 61"/>
          <p:cNvSpPr/>
          <p:nvPr/>
        </p:nvSpPr>
        <p:spPr>
          <a:xfrm>
            <a:off x="2769856" y="3484221"/>
            <a:ext cx="513387" cy="513387"/>
          </a:xfrm>
          <a:prstGeom prst="ellipse">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US" sz="2133" dirty="0"/>
              <a:t>02</a:t>
            </a:r>
          </a:p>
        </p:txBody>
      </p:sp>
      <p:sp>
        <p:nvSpPr>
          <p:cNvPr id="63" name="Oval 62"/>
          <p:cNvSpPr/>
          <p:nvPr/>
        </p:nvSpPr>
        <p:spPr>
          <a:xfrm>
            <a:off x="4455847" y="2477971"/>
            <a:ext cx="513387" cy="513387"/>
          </a:xfrm>
          <a:prstGeom prst="ellipse">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US" sz="2133" dirty="0"/>
              <a:t>03</a:t>
            </a:r>
          </a:p>
        </p:txBody>
      </p:sp>
      <p:sp>
        <p:nvSpPr>
          <p:cNvPr id="65" name="Oval 64"/>
          <p:cNvSpPr/>
          <p:nvPr/>
        </p:nvSpPr>
        <p:spPr>
          <a:xfrm>
            <a:off x="7792341" y="571403"/>
            <a:ext cx="513387" cy="513387"/>
          </a:xfrm>
          <a:prstGeom prst="ellipse">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US" sz="2133" dirty="0"/>
              <a:t>05</a:t>
            </a:r>
          </a:p>
        </p:txBody>
      </p:sp>
      <p:cxnSp>
        <p:nvCxnSpPr>
          <p:cNvPr id="42" name="Straight Arrow Connector 41"/>
          <p:cNvCxnSpPr/>
          <p:nvPr/>
        </p:nvCxnSpPr>
        <p:spPr>
          <a:xfrm flipV="1">
            <a:off x="2371121" y="4612421"/>
            <a:ext cx="495451" cy="256948"/>
          </a:xfrm>
          <a:prstGeom prst="straightConnector1">
            <a:avLst/>
          </a:prstGeom>
          <a:ln>
            <a:solidFill>
              <a:schemeClr val="tx1">
                <a:alpha val="34000"/>
              </a:schemeClr>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66" name="Straight Arrow Connector 65"/>
          <p:cNvCxnSpPr/>
          <p:nvPr/>
        </p:nvCxnSpPr>
        <p:spPr>
          <a:xfrm flipV="1">
            <a:off x="4070503" y="3632706"/>
            <a:ext cx="495451" cy="256948"/>
          </a:xfrm>
          <a:prstGeom prst="straightConnector1">
            <a:avLst/>
          </a:prstGeom>
          <a:ln>
            <a:solidFill>
              <a:schemeClr val="tx1">
                <a:alpha val="34000"/>
              </a:schemeClr>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67" name="Straight Arrow Connector 66"/>
          <p:cNvCxnSpPr/>
          <p:nvPr/>
        </p:nvCxnSpPr>
        <p:spPr>
          <a:xfrm flipV="1">
            <a:off x="5744241" y="2648154"/>
            <a:ext cx="495451" cy="256948"/>
          </a:xfrm>
          <a:prstGeom prst="straightConnector1">
            <a:avLst/>
          </a:prstGeom>
          <a:ln>
            <a:solidFill>
              <a:schemeClr val="tx1">
                <a:alpha val="34000"/>
              </a:schemeClr>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68" name="Straight Arrow Connector 67"/>
          <p:cNvCxnSpPr/>
          <p:nvPr/>
        </p:nvCxnSpPr>
        <p:spPr>
          <a:xfrm flipV="1">
            <a:off x="7443623" y="1668439"/>
            <a:ext cx="495451" cy="256948"/>
          </a:xfrm>
          <a:prstGeom prst="straightConnector1">
            <a:avLst/>
          </a:prstGeom>
          <a:ln>
            <a:solidFill>
              <a:schemeClr val="tx1">
                <a:alpha val="34000"/>
              </a:schemeClr>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sp>
        <p:nvSpPr>
          <p:cNvPr id="69" name="Rectangle 68"/>
          <p:cNvSpPr/>
          <p:nvPr/>
        </p:nvSpPr>
        <p:spPr>
          <a:xfrm>
            <a:off x="481178" y="529390"/>
            <a:ext cx="4577355" cy="545983"/>
          </a:xfrm>
          <a:prstGeom prst="rect">
            <a:avLst/>
          </a:prstGeom>
        </p:spPr>
        <p:txBody>
          <a:bodyPr wrap="square" lIns="121920" rIns="121920" bIns="60960">
            <a:spAutoFit/>
          </a:bodyPr>
          <a:lstStyle/>
          <a:p>
            <a:pPr>
              <a:lnSpc>
                <a:spcPct val="89000"/>
              </a:lnSpc>
            </a:pPr>
            <a:r>
              <a:rPr lang="en-US" sz="3200" dirty="0"/>
              <a:t>Field process</a:t>
            </a:r>
          </a:p>
        </p:txBody>
      </p:sp>
      <p:sp>
        <p:nvSpPr>
          <p:cNvPr id="64" name="Oval 63"/>
          <p:cNvSpPr/>
          <p:nvPr/>
        </p:nvSpPr>
        <p:spPr>
          <a:xfrm>
            <a:off x="6073921" y="1499600"/>
            <a:ext cx="513387" cy="513387"/>
          </a:xfrm>
          <a:prstGeom prst="ellipse">
            <a:avLst/>
          </a:prstGeom>
          <a:solidFill>
            <a:schemeClr val="accent4">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US" sz="2133" dirty="0"/>
              <a:t>04</a:t>
            </a:r>
          </a:p>
        </p:txBody>
      </p:sp>
      <p:sp>
        <p:nvSpPr>
          <p:cNvPr id="82" name="Freeform 136">
            <a:extLst>
              <a:ext uri="{FF2B5EF4-FFF2-40B4-BE49-F238E27FC236}">
                <a16:creationId xmlns:a16="http://schemas.microsoft.com/office/drawing/2014/main" id="{C458151A-F2FD-47D9-9B5F-A9204FAA9028}"/>
              </a:ext>
            </a:extLst>
          </p:cNvPr>
          <p:cNvSpPr>
            <a:spLocks noEditPoints="1"/>
          </p:cNvSpPr>
          <p:nvPr/>
        </p:nvSpPr>
        <p:spPr bwMode="auto">
          <a:xfrm>
            <a:off x="8253061" y="1067526"/>
            <a:ext cx="636399" cy="525979"/>
          </a:xfrm>
          <a:custGeom>
            <a:avLst/>
            <a:gdLst>
              <a:gd name="T0" fmla="*/ 100 w 616"/>
              <a:gd name="T1" fmla="*/ 285 h 509"/>
              <a:gd name="T2" fmla="*/ 323 w 616"/>
              <a:gd name="T3" fmla="*/ 422 h 509"/>
              <a:gd name="T4" fmla="*/ 323 w 616"/>
              <a:gd name="T5" fmla="*/ 278 h 509"/>
              <a:gd name="T6" fmla="*/ 114 w 616"/>
              <a:gd name="T7" fmla="*/ 292 h 509"/>
              <a:gd name="T8" fmla="*/ 612 w 616"/>
              <a:gd name="T9" fmla="*/ 188 h 509"/>
              <a:gd name="T10" fmla="*/ 555 w 616"/>
              <a:gd name="T11" fmla="*/ 4 h 509"/>
              <a:gd name="T12" fmla="*/ 554 w 616"/>
              <a:gd name="T13" fmla="*/ 3 h 509"/>
              <a:gd name="T14" fmla="*/ 553 w 616"/>
              <a:gd name="T15" fmla="*/ 1 h 509"/>
              <a:gd name="T16" fmla="*/ 551 w 616"/>
              <a:gd name="T17" fmla="*/ 1 h 509"/>
              <a:gd name="T18" fmla="*/ 549 w 616"/>
              <a:gd name="T19" fmla="*/ 0 h 509"/>
              <a:gd name="T20" fmla="*/ 308 w 616"/>
              <a:gd name="T21" fmla="*/ 0 h 509"/>
              <a:gd name="T22" fmla="*/ 147 w 616"/>
              <a:gd name="T23" fmla="*/ 0 h 509"/>
              <a:gd name="T24" fmla="*/ 66 w 616"/>
              <a:gd name="T25" fmla="*/ 0 h 509"/>
              <a:gd name="T26" fmla="*/ 64 w 616"/>
              <a:gd name="T27" fmla="*/ 1 h 509"/>
              <a:gd name="T28" fmla="*/ 62 w 616"/>
              <a:gd name="T29" fmla="*/ 2 h 509"/>
              <a:gd name="T30" fmla="*/ 61 w 616"/>
              <a:gd name="T31" fmla="*/ 4 h 509"/>
              <a:gd name="T32" fmla="*/ 60 w 616"/>
              <a:gd name="T33" fmla="*/ 5 h 509"/>
              <a:gd name="T34" fmla="*/ 27 w 616"/>
              <a:gd name="T35" fmla="*/ 242 h 509"/>
              <a:gd name="T36" fmla="*/ 582 w 616"/>
              <a:gd name="T37" fmla="*/ 509 h 509"/>
              <a:gd name="T38" fmla="*/ 606 w 616"/>
              <a:gd name="T39" fmla="*/ 229 h 509"/>
              <a:gd name="T40" fmla="*/ 464 w 616"/>
              <a:gd name="T41" fmla="*/ 232 h 509"/>
              <a:gd name="T42" fmla="*/ 463 w 616"/>
              <a:gd name="T43" fmla="*/ 14 h 509"/>
              <a:gd name="T44" fmla="*/ 391 w 616"/>
              <a:gd name="T45" fmla="*/ 219 h 509"/>
              <a:gd name="T46" fmla="*/ 315 w 616"/>
              <a:gd name="T47" fmla="*/ 14 h 509"/>
              <a:gd name="T48" fmla="*/ 391 w 616"/>
              <a:gd name="T49" fmla="*/ 219 h 509"/>
              <a:gd name="T50" fmla="*/ 257 w 616"/>
              <a:gd name="T51" fmla="*/ 232 h 509"/>
              <a:gd name="T52" fmla="*/ 234 w 616"/>
              <a:gd name="T53" fmla="*/ 14 h 509"/>
              <a:gd name="T54" fmla="*/ 117 w 616"/>
              <a:gd name="T55" fmla="*/ 192 h 509"/>
              <a:gd name="T56" fmla="*/ 202 w 616"/>
              <a:gd name="T57" fmla="*/ 190 h 509"/>
              <a:gd name="T58" fmla="*/ 117 w 616"/>
              <a:gd name="T59" fmla="*/ 192 h 509"/>
              <a:gd name="T60" fmla="*/ 72 w 616"/>
              <a:gd name="T61" fmla="*/ 14 h 509"/>
              <a:gd name="T62" fmla="*/ 48 w 616"/>
              <a:gd name="T63" fmla="*/ 232 h 509"/>
              <a:gd name="T64" fmla="*/ 392 w 616"/>
              <a:gd name="T65" fmla="*/ 495 h 509"/>
              <a:gd name="T66" fmla="*/ 503 w 616"/>
              <a:gd name="T67" fmla="*/ 495 h 509"/>
              <a:gd name="T68" fmla="*/ 517 w 616"/>
              <a:gd name="T69" fmla="*/ 285 h 509"/>
              <a:gd name="T70" fmla="*/ 378 w 616"/>
              <a:gd name="T71" fmla="*/ 285 h 509"/>
              <a:gd name="T72" fmla="*/ 41 w 616"/>
              <a:gd name="T73" fmla="*/ 246 h 509"/>
              <a:gd name="T74" fmla="*/ 113 w 616"/>
              <a:gd name="T75" fmla="*/ 229 h 509"/>
              <a:gd name="T76" fmla="*/ 215 w 616"/>
              <a:gd name="T77" fmla="*/ 229 h 509"/>
              <a:gd name="T78" fmla="*/ 308 w 616"/>
              <a:gd name="T79" fmla="*/ 217 h 509"/>
              <a:gd name="T80" fmla="*/ 410 w 616"/>
              <a:gd name="T81" fmla="*/ 217 h 509"/>
              <a:gd name="T82" fmla="*/ 511 w 616"/>
              <a:gd name="T83" fmla="*/ 217 h 509"/>
              <a:gd name="T84" fmla="*/ 575 w 616"/>
              <a:gd name="T85" fmla="*/ 495 h 509"/>
              <a:gd name="T86" fmla="*/ 513 w 616"/>
              <a:gd name="T87" fmla="*/ 189 h 509"/>
              <a:gd name="T88" fmla="*/ 598 w 616"/>
              <a:gd name="T89" fmla="*/ 192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6" h="509">
                <a:moveTo>
                  <a:pt x="323" y="278"/>
                </a:moveTo>
                <a:cubicBezTo>
                  <a:pt x="107" y="278"/>
                  <a:pt x="107" y="278"/>
                  <a:pt x="107" y="278"/>
                </a:cubicBezTo>
                <a:cubicBezTo>
                  <a:pt x="104" y="278"/>
                  <a:pt x="100" y="282"/>
                  <a:pt x="100" y="285"/>
                </a:cubicBezTo>
                <a:cubicBezTo>
                  <a:pt x="100" y="415"/>
                  <a:pt x="100" y="415"/>
                  <a:pt x="100" y="415"/>
                </a:cubicBezTo>
                <a:cubicBezTo>
                  <a:pt x="100" y="419"/>
                  <a:pt x="104" y="422"/>
                  <a:pt x="107" y="422"/>
                </a:cubicBezTo>
                <a:cubicBezTo>
                  <a:pt x="323" y="422"/>
                  <a:pt x="323" y="422"/>
                  <a:pt x="323" y="422"/>
                </a:cubicBezTo>
                <a:cubicBezTo>
                  <a:pt x="327" y="422"/>
                  <a:pt x="330" y="419"/>
                  <a:pt x="330" y="415"/>
                </a:cubicBezTo>
                <a:cubicBezTo>
                  <a:pt x="330" y="285"/>
                  <a:pt x="330" y="285"/>
                  <a:pt x="330" y="285"/>
                </a:cubicBezTo>
                <a:cubicBezTo>
                  <a:pt x="330" y="282"/>
                  <a:pt x="327" y="278"/>
                  <a:pt x="323" y="278"/>
                </a:cubicBezTo>
                <a:close/>
                <a:moveTo>
                  <a:pt x="316" y="408"/>
                </a:moveTo>
                <a:cubicBezTo>
                  <a:pt x="114" y="408"/>
                  <a:pt x="114" y="408"/>
                  <a:pt x="114" y="408"/>
                </a:cubicBezTo>
                <a:cubicBezTo>
                  <a:pt x="114" y="292"/>
                  <a:pt x="114" y="292"/>
                  <a:pt x="114" y="292"/>
                </a:cubicBezTo>
                <a:cubicBezTo>
                  <a:pt x="316" y="292"/>
                  <a:pt x="316" y="292"/>
                  <a:pt x="316" y="292"/>
                </a:cubicBezTo>
                <a:lnTo>
                  <a:pt x="316" y="408"/>
                </a:lnTo>
                <a:close/>
                <a:moveTo>
                  <a:pt x="612" y="188"/>
                </a:moveTo>
                <a:cubicBezTo>
                  <a:pt x="556" y="5"/>
                  <a:pt x="556" y="5"/>
                  <a:pt x="556" y="5"/>
                </a:cubicBezTo>
                <a:cubicBezTo>
                  <a:pt x="556" y="5"/>
                  <a:pt x="556" y="5"/>
                  <a:pt x="556" y="5"/>
                </a:cubicBezTo>
                <a:cubicBezTo>
                  <a:pt x="556" y="5"/>
                  <a:pt x="555" y="4"/>
                  <a:pt x="555" y="4"/>
                </a:cubicBezTo>
                <a:cubicBezTo>
                  <a:pt x="555" y="4"/>
                  <a:pt x="555" y="4"/>
                  <a:pt x="555" y="4"/>
                </a:cubicBezTo>
                <a:cubicBezTo>
                  <a:pt x="555" y="3"/>
                  <a:pt x="555" y="3"/>
                  <a:pt x="555" y="3"/>
                </a:cubicBezTo>
                <a:cubicBezTo>
                  <a:pt x="555" y="3"/>
                  <a:pt x="554" y="3"/>
                  <a:pt x="554" y="3"/>
                </a:cubicBezTo>
                <a:cubicBezTo>
                  <a:pt x="554" y="2"/>
                  <a:pt x="554" y="2"/>
                  <a:pt x="554" y="2"/>
                </a:cubicBezTo>
                <a:cubicBezTo>
                  <a:pt x="554" y="2"/>
                  <a:pt x="553" y="2"/>
                  <a:pt x="553" y="2"/>
                </a:cubicBezTo>
                <a:cubicBezTo>
                  <a:pt x="553" y="2"/>
                  <a:pt x="553" y="1"/>
                  <a:pt x="553" y="1"/>
                </a:cubicBezTo>
                <a:cubicBezTo>
                  <a:pt x="552" y="1"/>
                  <a:pt x="552" y="1"/>
                  <a:pt x="552" y="1"/>
                </a:cubicBezTo>
                <a:cubicBezTo>
                  <a:pt x="552" y="1"/>
                  <a:pt x="552" y="1"/>
                  <a:pt x="551" y="1"/>
                </a:cubicBezTo>
                <a:cubicBezTo>
                  <a:pt x="551" y="1"/>
                  <a:pt x="551" y="1"/>
                  <a:pt x="551" y="1"/>
                </a:cubicBezTo>
                <a:cubicBezTo>
                  <a:pt x="551" y="0"/>
                  <a:pt x="550" y="0"/>
                  <a:pt x="550" y="0"/>
                </a:cubicBezTo>
                <a:cubicBezTo>
                  <a:pt x="550" y="0"/>
                  <a:pt x="550" y="0"/>
                  <a:pt x="549" y="0"/>
                </a:cubicBezTo>
                <a:cubicBezTo>
                  <a:pt x="549" y="0"/>
                  <a:pt x="549" y="0"/>
                  <a:pt x="549" y="0"/>
                </a:cubicBezTo>
                <a:cubicBezTo>
                  <a:pt x="469" y="0"/>
                  <a:pt x="469" y="0"/>
                  <a:pt x="469" y="0"/>
                </a:cubicBezTo>
                <a:cubicBezTo>
                  <a:pt x="469" y="0"/>
                  <a:pt x="469" y="0"/>
                  <a:pt x="469" y="0"/>
                </a:cubicBezTo>
                <a:cubicBezTo>
                  <a:pt x="308" y="0"/>
                  <a:pt x="308" y="0"/>
                  <a:pt x="308" y="0"/>
                </a:cubicBezTo>
                <a:cubicBezTo>
                  <a:pt x="308" y="0"/>
                  <a:pt x="308" y="0"/>
                  <a:pt x="308" y="0"/>
                </a:cubicBezTo>
                <a:cubicBezTo>
                  <a:pt x="147" y="0"/>
                  <a:pt x="147" y="0"/>
                  <a:pt x="147" y="0"/>
                </a:cubicBezTo>
                <a:cubicBezTo>
                  <a:pt x="147" y="0"/>
                  <a:pt x="147" y="0"/>
                  <a:pt x="147" y="0"/>
                </a:cubicBezTo>
                <a:cubicBezTo>
                  <a:pt x="67" y="0"/>
                  <a:pt x="67" y="0"/>
                  <a:pt x="67" y="0"/>
                </a:cubicBezTo>
                <a:cubicBezTo>
                  <a:pt x="67" y="0"/>
                  <a:pt x="67" y="0"/>
                  <a:pt x="67" y="0"/>
                </a:cubicBezTo>
                <a:cubicBezTo>
                  <a:pt x="67" y="0"/>
                  <a:pt x="66" y="0"/>
                  <a:pt x="66" y="0"/>
                </a:cubicBezTo>
                <a:cubicBezTo>
                  <a:pt x="66" y="0"/>
                  <a:pt x="66" y="0"/>
                  <a:pt x="65" y="1"/>
                </a:cubicBezTo>
                <a:cubicBezTo>
                  <a:pt x="65" y="1"/>
                  <a:pt x="65" y="1"/>
                  <a:pt x="65" y="1"/>
                </a:cubicBezTo>
                <a:cubicBezTo>
                  <a:pt x="65" y="1"/>
                  <a:pt x="64" y="1"/>
                  <a:pt x="64" y="1"/>
                </a:cubicBezTo>
                <a:cubicBezTo>
                  <a:pt x="64" y="1"/>
                  <a:pt x="64" y="1"/>
                  <a:pt x="64" y="1"/>
                </a:cubicBezTo>
                <a:cubicBezTo>
                  <a:pt x="63" y="1"/>
                  <a:pt x="63" y="2"/>
                  <a:pt x="63" y="2"/>
                </a:cubicBezTo>
                <a:cubicBezTo>
                  <a:pt x="63" y="2"/>
                  <a:pt x="63" y="2"/>
                  <a:pt x="62" y="2"/>
                </a:cubicBezTo>
                <a:cubicBezTo>
                  <a:pt x="62" y="2"/>
                  <a:pt x="62" y="2"/>
                  <a:pt x="62" y="3"/>
                </a:cubicBezTo>
                <a:cubicBezTo>
                  <a:pt x="62" y="3"/>
                  <a:pt x="62" y="3"/>
                  <a:pt x="62" y="3"/>
                </a:cubicBezTo>
                <a:cubicBezTo>
                  <a:pt x="61" y="3"/>
                  <a:pt x="61" y="3"/>
                  <a:pt x="61" y="4"/>
                </a:cubicBezTo>
                <a:cubicBezTo>
                  <a:pt x="61" y="4"/>
                  <a:pt x="61" y="4"/>
                  <a:pt x="61" y="4"/>
                </a:cubicBezTo>
                <a:cubicBezTo>
                  <a:pt x="61" y="4"/>
                  <a:pt x="61" y="5"/>
                  <a:pt x="61" y="5"/>
                </a:cubicBezTo>
                <a:cubicBezTo>
                  <a:pt x="61" y="5"/>
                  <a:pt x="60" y="5"/>
                  <a:pt x="60" y="5"/>
                </a:cubicBezTo>
                <a:cubicBezTo>
                  <a:pt x="5" y="188"/>
                  <a:pt x="5" y="188"/>
                  <a:pt x="5" y="188"/>
                </a:cubicBezTo>
                <a:cubicBezTo>
                  <a:pt x="0" y="203"/>
                  <a:pt x="2" y="218"/>
                  <a:pt x="10" y="229"/>
                </a:cubicBezTo>
                <a:cubicBezTo>
                  <a:pt x="15" y="235"/>
                  <a:pt x="20" y="239"/>
                  <a:pt x="27" y="242"/>
                </a:cubicBezTo>
                <a:cubicBezTo>
                  <a:pt x="27" y="502"/>
                  <a:pt x="27" y="502"/>
                  <a:pt x="27" y="502"/>
                </a:cubicBezTo>
                <a:cubicBezTo>
                  <a:pt x="27" y="506"/>
                  <a:pt x="30" y="509"/>
                  <a:pt x="34" y="509"/>
                </a:cubicBezTo>
                <a:cubicBezTo>
                  <a:pt x="582" y="509"/>
                  <a:pt x="582" y="509"/>
                  <a:pt x="582" y="509"/>
                </a:cubicBezTo>
                <a:cubicBezTo>
                  <a:pt x="586" y="509"/>
                  <a:pt x="589" y="506"/>
                  <a:pt x="589" y="502"/>
                </a:cubicBezTo>
                <a:cubicBezTo>
                  <a:pt x="589" y="242"/>
                  <a:pt x="589" y="242"/>
                  <a:pt x="589" y="242"/>
                </a:cubicBezTo>
                <a:cubicBezTo>
                  <a:pt x="596" y="239"/>
                  <a:pt x="602" y="235"/>
                  <a:pt x="606" y="229"/>
                </a:cubicBezTo>
                <a:cubicBezTo>
                  <a:pt x="614" y="218"/>
                  <a:pt x="616" y="203"/>
                  <a:pt x="612" y="188"/>
                </a:cubicBezTo>
                <a:close/>
                <a:moveTo>
                  <a:pt x="493" y="220"/>
                </a:moveTo>
                <a:cubicBezTo>
                  <a:pt x="486" y="228"/>
                  <a:pt x="476" y="232"/>
                  <a:pt x="464" y="232"/>
                </a:cubicBezTo>
                <a:cubicBezTo>
                  <a:pt x="439" y="232"/>
                  <a:pt x="417" y="213"/>
                  <a:pt x="414" y="190"/>
                </a:cubicBezTo>
                <a:cubicBezTo>
                  <a:pt x="396" y="14"/>
                  <a:pt x="396" y="14"/>
                  <a:pt x="396" y="14"/>
                </a:cubicBezTo>
                <a:cubicBezTo>
                  <a:pt x="463" y="14"/>
                  <a:pt x="463" y="14"/>
                  <a:pt x="463" y="14"/>
                </a:cubicBezTo>
                <a:cubicBezTo>
                  <a:pt x="499" y="192"/>
                  <a:pt x="499" y="192"/>
                  <a:pt x="499" y="192"/>
                </a:cubicBezTo>
                <a:cubicBezTo>
                  <a:pt x="501" y="202"/>
                  <a:pt x="499" y="212"/>
                  <a:pt x="493" y="220"/>
                </a:cubicBezTo>
                <a:close/>
                <a:moveTo>
                  <a:pt x="391" y="219"/>
                </a:moveTo>
                <a:cubicBezTo>
                  <a:pt x="383" y="228"/>
                  <a:pt x="373" y="232"/>
                  <a:pt x="360" y="232"/>
                </a:cubicBezTo>
                <a:cubicBezTo>
                  <a:pt x="336" y="232"/>
                  <a:pt x="315" y="213"/>
                  <a:pt x="315" y="190"/>
                </a:cubicBezTo>
                <a:cubicBezTo>
                  <a:pt x="315" y="14"/>
                  <a:pt x="315" y="14"/>
                  <a:pt x="315" y="14"/>
                </a:cubicBezTo>
                <a:cubicBezTo>
                  <a:pt x="382" y="14"/>
                  <a:pt x="382" y="14"/>
                  <a:pt x="382" y="14"/>
                </a:cubicBezTo>
                <a:cubicBezTo>
                  <a:pt x="400" y="191"/>
                  <a:pt x="400" y="191"/>
                  <a:pt x="400" y="191"/>
                </a:cubicBezTo>
                <a:cubicBezTo>
                  <a:pt x="401" y="201"/>
                  <a:pt x="398" y="211"/>
                  <a:pt x="391" y="219"/>
                </a:cubicBezTo>
                <a:close/>
                <a:moveTo>
                  <a:pt x="301" y="190"/>
                </a:moveTo>
                <a:cubicBezTo>
                  <a:pt x="301" y="201"/>
                  <a:pt x="297" y="212"/>
                  <a:pt x="288" y="220"/>
                </a:cubicBezTo>
                <a:cubicBezTo>
                  <a:pt x="280" y="228"/>
                  <a:pt x="269" y="232"/>
                  <a:pt x="257" y="232"/>
                </a:cubicBezTo>
                <a:cubicBezTo>
                  <a:pt x="244" y="232"/>
                  <a:pt x="233" y="228"/>
                  <a:pt x="226" y="219"/>
                </a:cubicBezTo>
                <a:cubicBezTo>
                  <a:pt x="219" y="211"/>
                  <a:pt x="216" y="201"/>
                  <a:pt x="217" y="191"/>
                </a:cubicBezTo>
                <a:cubicBezTo>
                  <a:pt x="234" y="14"/>
                  <a:pt x="234" y="14"/>
                  <a:pt x="234" y="14"/>
                </a:cubicBezTo>
                <a:cubicBezTo>
                  <a:pt x="301" y="14"/>
                  <a:pt x="301" y="14"/>
                  <a:pt x="301" y="14"/>
                </a:cubicBezTo>
                <a:lnTo>
                  <a:pt x="301" y="190"/>
                </a:lnTo>
                <a:close/>
                <a:moveTo>
                  <a:pt x="117" y="192"/>
                </a:moveTo>
                <a:cubicBezTo>
                  <a:pt x="153" y="14"/>
                  <a:pt x="153" y="14"/>
                  <a:pt x="153" y="14"/>
                </a:cubicBezTo>
                <a:cubicBezTo>
                  <a:pt x="220" y="14"/>
                  <a:pt x="220" y="14"/>
                  <a:pt x="220" y="14"/>
                </a:cubicBezTo>
                <a:cubicBezTo>
                  <a:pt x="202" y="190"/>
                  <a:pt x="202" y="190"/>
                  <a:pt x="202" y="190"/>
                </a:cubicBezTo>
                <a:cubicBezTo>
                  <a:pt x="200" y="213"/>
                  <a:pt x="177" y="232"/>
                  <a:pt x="152" y="232"/>
                </a:cubicBezTo>
                <a:cubicBezTo>
                  <a:pt x="140" y="232"/>
                  <a:pt x="130" y="228"/>
                  <a:pt x="123" y="220"/>
                </a:cubicBezTo>
                <a:cubicBezTo>
                  <a:pt x="117" y="212"/>
                  <a:pt x="115" y="202"/>
                  <a:pt x="117" y="192"/>
                </a:cubicBezTo>
                <a:close/>
                <a:moveTo>
                  <a:pt x="22" y="220"/>
                </a:moveTo>
                <a:cubicBezTo>
                  <a:pt x="16" y="213"/>
                  <a:pt x="15" y="203"/>
                  <a:pt x="18" y="192"/>
                </a:cubicBezTo>
                <a:cubicBezTo>
                  <a:pt x="72" y="14"/>
                  <a:pt x="72" y="14"/>
                  <a:pt x="72" y="14"/>
                </a:cubicBezTo>
                <a:cubicBezTo>
                  <a:pt x="139" y="14"/>
                  <a:pt x="139" y="14"/>
                  <a:pt x="139" y="14"/>
                </a:cubicBezTo>
                <a:cubicBezTo>
                  <a:pt x="103" y="189"/>
                  <a:pt x="103" y="189"/>
                  <a:pt x="103" y="189"/>
                </a:cubicBezTo>
                <a:cubicBezTo>
                  <a:pt x="99" y="212"/>
                  <a:pt x="73" y="232"/>
                  <a:pt x="48" y="232"/>
                </a:cubicBezTo>
                <a:cubicBezTo>
                  <a:pt x="37" y="232"/>
                  <a:pt x="27" y="228"/>
                  <a:pt x="22" y="220"/>
                </a:cubicBezTo>
                <a:close/>
                <a:moveTo>
                  <a:pt x="503" y="495"/>
                </a:moveTo>
                <a:cubicBezTo>
                  <a:pt x="392" y="495"/>
                  <a:pt x="392" y="495"/>
                  <a:pt x="392" y="495"/>
                </a:cubicBezTo>
                <a:cubicBezTo>
                  <a:pt x="392" y="292"/>
                  <a:pt x="392" y="292"/>
                  <a:pt x="392" y="292"/>
                </a:cubicBezTo>
                <a:cubicBezTo>
                  <a:pt x="503" y="292"/>
                  <a:pt x="503" y="292"/>
                  <a:pt x="503" y="292"/>
                </a:cubicBezTo>
                <a:lnTo>
                  <a:pt x="503" y="495"/>
                </a:lnTo>
                <a:close/>
                <a:moveTo>
                  <a:pt x="575" y="495"/>
                </a:moveTo>
                <a:cubicBezTo>
                  <a:pt x="517" y="495"/>
                  <a:pt x="517" y="495"/>
                  <a:pt x="517" y="495"/>
                </a:cubicBezTo>
                <a:cubicBezTo>
                  <a:pt x="517" y="285"/>
                  <a:pt x="517" y="285"/>
                  <a:pt x="517" y="285"/>
                </a:cubicBezTo>
                <a:cubicBezTo>
                  <a:pt x="517" y="282"/>
                  <a:pt x="514" y="278"/>
                  <a:pt x="510" y="278"/>
                </a:cubicBezTo>
                <a:cubicBezTo>
                  <a:pt x="385" y="278"/>
                  <a:pt x="385" y="278"/>
                  <a:pt x="385" y="278"/>
                </a:cubicBezTo>
                <a:cubicBezTo>
                  <a:pt x="381" y="278"/>
                  <a:pt x="378" y="282"/>
                  <a:pt x="378" y="285"/>
                </a:cubicBezTo>
                <a:cubicBezTo>
                  <a:pt x="378" y="495"/>
                  <a:pt x="378" y="495"/>
                  <a:pt x="378" y="495"/>
                </a:cubicBezTo>
                <a:cubicBezTo>
                  <a:pt x="41" y="495"/>
                  <a:pt x="41" y="495"/>
                  <a:pt x="41" y="495"/>
                </a:cubicBezTo>
                <a:cubicBezTo>
                  <a:pt x="41" y="246"/>
                  <a:pt x="41" y="246"/>
                  <a:pt x="41" y="246"/>
                </a:cubicBezTo>
                <a:cubicBezTo>
                  <a:pt x="43" y="246"/>
                  <a:pt x="46" y="246"/>
                  <a:pt x="48" y="246"/>
                </a:cubicBezTo>
                <a:cubicBezTo>
                  <a:pt x="71" y="246"/>
                  <a:pt x="92" y="234"/>
                  <a:pt x="106" y="217"/>
                </a:cubicBezTo>
                <a:cubicBezTo>
                  <a:pt x="107" y="221"/>
                  <a:pt x="110" y="225"/>
                  <a:pt x="113" y="229"/>
                </a:cubicBezTo>
                <a:cubicBezTo>
                  <a:pt x="122" y="240"/>
                  <a:pt x="136" y="246"/>
                  <a:pt x="152" y="246"/>
                </a:cubicBezTo>
                <a:cubicBezTo>
                  <a:pt x="175" y="246"/>
                  <a:pt x="196" y="234"/>
                  <a:pt x="207" y="216"/>
                </a:cubicBezTo>
                <a:cubicBezTo>
                  <a:pt x="209" y="221"/>
                  <a:pt x="212" y="225"/>
                  <a:pt x="215" y="229"/>
                </a:cubicBezTo>
                <a:cubicBezTo>
                  <a:pt x="226" y="240"/>
                  <a:pt x="241" y="246"/>
                  <a:pt x="257" y="246"/>
                </a:cubicBezTo>
                <a:cubicBezTo>
                  <a:pt x="272" y="246"/>
                  <a:pt x="287" y="240"/>
                  <a:pt x="298" y="230"/>
                </a:cubicBezTo>
                <a:cubicBezTo>
                  <a:pt x="302" y="226"/>
                  <a:pt x="306" y="221"/>
                  <a:pt x="308" y="217"/>
                </a:cubicBezTo>
                <a:cubicBezTo>
                  <a:pt x="318" y="234"/>
                  <a:pt x="338" y="246"/>
                  <a:pt x="360" y="246"/>
                </a:cubicBezTo>
                <a:cubicBezTo>
                  <a:pt x="376" y="246"/>
                  <a:pt x="391" y="240"/>
                  <a:pt x="401" y="229"/>
                </a:cubicBezTo>
                <a:cubicBezTo>
                  <a:pt x="405" y="225"/>
                  <a:pt x="407" y="221"/>
                  <a:pt x="410" y="217"/>
                </a:cubicBezTo>
                <a:cubicBezTo>
                  <a:pt x="421" y="234"/>
                  <a:pt x="442" y="246"/>
                  <a:pt x="464" y="246"/>
                </a:cubicBezTo>
                <a:cubicBezTo>
                  <a:pt x="480" y="246"/>
                  <a:pt x="495" y="240"/>
                  <a:pt x="504" y="229"/>
                </a:cubicBezTo>
                <a:cubicBezTo>
                  <a:pt x="507" y="225"/>
                  <a:pt x="509" y="221"/>
                  <a:pt x="511" y="217"/>
                </a:cubicBezTo>
                <a:cubicBezTo>
                  <a:pt x="524" y="234"/>
                  <a:pt x="546" y="246"/>
                  <a:pt x="568" y="246"/>
                </a:cubicBezTo>
                <a:cubicBezTo>
                  <a:pt x="570" y="246"/>
                  <a:pt x="573" y="246"/>
                  <a:pt x="575" y="246"/>
                </a:cubicBezTo>
                <a:lnTo>
                  <a:pt x="575" y="495"/>
                </a:lnTo>
                <a:close/>
                <a:moveTo>
                  <a:pt x="595" y="220"/>
                </a:moveTo>
                <a:cubicBezTo>
                  <a:pt x="589" y="228"/>
                  <a:pt x="579" y="232"/>
                  <a:pt x="568" y="232"/>
                </a:cubicBezTo>
                <a:cubicBezTo>
                  <a:pt x="543" y="232"/>
                  <a:pt x="518" y="212"/>
                  <a:pt x="513" y="189"/>
                </a:cubicBezTo>
                <a:cubicBezTo>
                  <a:pt x="477" y="14"/>
                  <a:pt x="477" y="14"/>
                  <a:pt x="477" y="14"/>
                </a:cubicBezTo>
                <a:cubicBezTo>
                  <a:pt x="544" y="14"/>
                  <a:pt x="544" y="14"/>
                  <a:pt x="544" y="14"/>
                </a:cubicBezTo>
                <a:cubicBezTo>
                  <a:pt x="598" y="192"/>
                  <a:pt x="598" y="192"/>
                  <a:pt x="598" y="192"/>
                </a:cubicBezTo>
                <a:cubicBezTo>
                  <a:pt x="601" y="203"/>
                  <a:pt x="600" y="213"/>
                  <a:pt x="595" y="2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pic>
        <p:nvPicPr>
          <p:cNvPr id="83" name="Picture 82">
            <a:extLst>
              <a:ext uri="{FF2B5EF4-FFF2-40B4-BE49-F238E27FC236}">
                <a16:creationId xmlns:a16="http://schemas.microsoft.com/office/drawing/2014/main" id="{99C39AA5-3CE1-4A35-8C9C-1E8515CB754C}"/>
              </a:ext>
            </a:extLst>
          </p:cNvPr>
          <p:cNvPicPr>
            <a:picLocks noChangeAspect="1"/>
          </p:cNvPicPr>
          <p:nvPr/>
        </p:nvPicPr>
        <p:blipFill>
          <a:blip r:embed="rId2"/>
          <a:stretch>
            <a:fillRect/>
          </a:stretch>
        </p:blipFill>
        <p:spPr>
          <a:xfrm>
            <a:off x="3148496" y="3904168"/>
            <a:ext cx="656209" cy="656209"/>
          </a:xfrm>
          <a:prstGeom prst="rect">
            <a:avLst/>
          </a:prstGeom>
        </p:spPr>
      </p:pic>
      <p:sp>
        <p:nvSpPr>
          <p:cNvPr id="85" name="Freeform 105">
            <a:extLst>
              <a:ext uri="{FF2B5EF4-FFF2-40B4-BE49-F238E27FC236}">
                <a16:creationId xmlns:a16="http://schemas.microsoft.com/office/drawing/2014/main" id="{BB317425-AAF8-4AAA-A911-8B5D954FA325}"/>
              </a:ext>
            </a:extLst>
          </p:cNvPr>
          <p:cNvSpPr>
            <a:spLocks noEditPoints="1"/>
          </p:cNvSpPr>
          <p:nvPr/>
        </p:nvSpPr>
        <p:spPr bwMode="auto">
          <a:xfrm>
            <a:off x="4903812" y="3007283"/>
            <a:ext cx="564033" cy="703271"/>
          </a:xfrm>
          <a:custGeom>
            <a:avLst/>
            <a:gdLst>
              <a:gd name="T0" fmla="*/ 473 w 478"/>
              <a:gd name="T1" fmla="*/ 39 h 633"/>
              <a:gd name="T2" fmla="*/ 239 w 478"/>
              <a:gd name="T3" fmla="*/ 0 h 633"/>
              <a:gd name="T4" fmla="*/ 239 w 478"/>
              <a:gd name="T5" fmla="*/ 0 h 633"/>
              <a:gd name="T6" fmla="*/ 239 w 478"/>
              <a:gd name="T7" fmla="*/ 0 h 633"/>
              <a:gd name="T8" fmla="*/ 239 w 478"/>
              <a:gd name="T9" fmla="*/ 0 h 633"/>
              <a:gd name="T10" fmla="*/ 193 w 478"/>
              <a:gd name="T11" fmla="*/ 2 h 633"/>
              <a:gd name="T12" fmla="*/ 192 w 478"/>
              <a:gd name="T13" fmla="*/ 2 h 633"/>
              <a:gd name="T14" fmla="*/ 192 w 478"/>
              <a:gd name="T15" fmla="*/ 2 h 633"/>
              <a:gd name="T16" fmla="*/ 191 w 478"/>
              <a:gd name="T17" fmla="*/ 2 h 633"/>
              <a:gd name="T18" fmla="*/ 145 w 478"/>
              <a:gd name="T19" fmla="*/ 7 h 633"/>
              <a:gd name="T20" fmla="*/ 144 w 478"/>
              <a:gd name="T21" fmla="*/ 7 h 633"/>
              <a:gd name="T22" fmla="*/ 98 w 478"/>
              <a:gd name="T23" fmla="*/ 15 h 633"/>
              <a:gd name="T24" fmla="*/ 98 w 478"/>
              <a:gd name="T25" fmla="*/ 15 h 633"/>
              <a:gd name="T26" fmla="*/ 52 w 478"/>
              <a:gd name="T27" fmla="*/ 26 h 633"/>
              <a:gd name="T28" fmla="*/ 51 w 478"/>
              <a:gd name="T29" fmla="*/ 26 h 633"/>
              <a:gd name="T30" fmla="*/ 4 w 478"/>
              <a:gd name="T31" fmla="*/ 39 h 633"/>
              <a:gd name="T32" fmla="*/ 0 w 478"/>
              <a:gd name="T33" fmla="*/ 46 h 633"/>
              <a:gd name="T34" fmla="*/ 0 w 478"/>
              <a:gd name="T35" fmla="*/ 435 h 633"/>
              <a:gd name="T36" fmla="*/ 102 w 478"/>
              <a:gd name="T37" fmla="*/ 553 h 633"/>
              <a:gd name="T38" fmla="*/ 142 w 478"/>
              <a:gd name="T39" fmla="*/ 582 h 633"/>
              <a:gd name="T40" fmla="*/ 142 w 478"/>
              <a:gd name="T41" fmla="*/ 582 h 633"/>
              <a:gd name="T42" fmla="*/ 238 w 478"/>
              <a:gd name="T43" fmla="*/ 633 h 633"/>
              <a:gd name="T44" fmla="*/ 238 w 478"/>
              <a:gd name="T45" fmla="*/ 633 h 633"/>
              <a:gd name="T46" fmla="*/ 239 w 478"/>
              <a:gd name="T47" fmla="*/ 633 h 633"/>
              <a:gd name="T48" fmla="*/ 239 w 478"/>
              <a:gd name="T49" fmla="*/ 633 h 633"/>
              <a:gd name="T50" fmla="*/ 239 w 478"/>
              <a:gd name="T51" fmla="*/ 633 h 633"/>
              <a:gd name="T52" fmla="*/ 239 w 478"/>
              <a:gd name="T53" fmla="*/ 633 h 633"/>
              <a:gd name="T54" fmla="*/ 241 w 478"/>
              <a:gd name="T55" fmla="*/ 633 h 633"/>
              <a:gd name="T56" fmla="*/ 373 w 478"/>
              <a:gd name="T57" fmla="*/ 560 h 633"/>
              <a:gd name="T58" fmla="*/ 478 w 478"/>
              <a:gd name="T59" fmla="*/ 435 h 633"/>
              <a:gd name="T60" fmla="*/ 478 w 478"/>
              <a:gd name="T61" fmla="*/ 46 h 633"/>
              <a:gd name="T62" fmla="*/ 473 w 478"/>
              <a:gd name="T63" fmla="*/ 39 h 633"/>
              <a:gd name="T64" fmla="*/ 199 w 478"/>
              <a:gd name="T65" fmla="*/ 15 h 633"/>
              <a:gd name="T66" fmla="*/ 232 w 478"/>
              <a:gd name="T67" fmla="*/ 14 h 633"/>
              <a:gd name="T68" fmla="*/ 232 w 478"/>
              <a:gd name="T69" fmla="*/ 617 h 633"/>
              <a:gd name="T70" fmla="*/ 200 w 478"/>
              <a:gd name="T71" fmla="*/ 601 h 633"/>
              <a:gd name="T72" fmla="*/ 199 w 478"/>
              <a:gd name="T73" fmla="*/ 15 h 633"/>
              <a:gd name="T74" fmla="*/ 186 w 478"/>
              <a:gd name="T75" fmla="*/ 593 h 633"/>
              <a:gd name="T76" fmla="*/ 153 w 478"/>
              <a:gd name="T77" fmla="*/ 572 h 633"/>
              <a:gd name="T78" fmla="*/ 153 w 478"/>
              <a:gd name="T79" fmla="*/ 20 h 633"/>
              <a:gd name="T80" fmla="*/ 185 w 478"/>
              <a:gd name="T81" fmla="*/ 17 h 633"/>
              <a:gd name="T82" fmla="*/ 186 w 478"/>
              <a:gd name="T83" fmla="*/ 593 h 633"/>
              <a:gd name="T84" fmla="*/ 60 w 478"/>
              <a:gd name="T85" fmla="*/ 38 h 633"/>
              <a:gd name="T86" fmla="*/ 92 w 478"/>
              <a:gd name="T87" fmla="*/ 31 h 633"/>
              <a:gd name="T88" fmla="*/ 93 w 478"/>
              <a:gd name="T89" fmla="*/ 528 h 633"/>
              <a:gd name="T90" fmla="*/ 60 w 478"/>
              <a:gd name="T91" fmla="*/ 500 h 633"/>
              <a:gd name="T92" fmla="*/ 60 w 478"/>
              <a:gd name="T93" fmla="*/ 38 h 633"/>
              <a:gd name="T94" fmla="*/ 14 w 478"/>
              <a:gd name="T95" fmla="*/ 435 h 633"/>
              <a:gd name="T96" fmla="*/ 14 w 478"/>
              <a:gd name="T97" fmla="*/ 51 h 633"/>
              <a:gd name="T98" fmla="*/ 46 w 478"/>
              <a:gd name="T99" fmla="*/ 42 h 633"/>
              <a:gd name="T100" fmla="*/ 46 w 478"/>
              <a:gd name="T101" fmla="*/ 487 h 633"/>
              <a:gd name="T102" fmla="*/ 14 w 478"/>
              <a:gd name="T103" fmla="*/ 435 h 633"/>
              <a:gd name="T104" fmla="*/ 107 w 478"/>
              <a:gd name="T105" fmla="*/ 539 h 633"/>
              <a:gd name="T106" fmla="*/ 106 w 478"/>
              <a:gd name="T107" fmla="*/ 28 h 633"/>
              <a:gd name="T108" fmla="*/ 139 w 478"/>
              <a:gd name="T109" fmla="*/ 22 h 633"/>
              <a:gd name="T110" fmla="*/ 139 w 478"/>
              <a:gd name="T111" fmla="*/ 563 h 633"/>
              <a:gd name="T112" fmla="*/ 111 w 478"/>
              <a:gd name="T113" fmla="*/ 542 h 633"/>
              <a:gd name="T114" fmla="*/ 107 w 478"/>
              <a:gd name="T115" fmla="*/ 539 h 633"/>
              <a:gd name="T116" fmla="*/ 464 w 478"/>
              <a:gd name="T117" fmla="*/ 435 h 633"/>
              <a:gd name="T118" fmla="*/ 246 w 478"/>
              <a:gd name="T119" fmla="*/ 617 h 633"/>
              <a:gd name="T120" fmla="*/ 246 w 478"/>
              <a:gd name="T121" fmla="*/ 14 h 633"/>
              <a:gd name="T122" fmla="*/ 464 w 478"/>
              <a:gd name="T123" fmla="*/ 51 h 633"/>
              <a:gd name="T124" fmla="*/ 464 w 478"/>
              <a:gd name="T125" fmla="*/ 435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8" h="633">
                <a:moveTo>
                  <a:pt x="473" y="39"/>
                </a:moveTo>
                <a:cubicBezTo>
                  <a:pt x="414" y="21"/>
                  <a:pt x="326" y="0"/>
                  <a:pt x="239" y="0"/>
                </a:cubicBezTo>
                <a:cubicBezTo>
                  <a:pt x="239" y="0"/>
                  <a:pt x="239" y="0"/>
                  <a:pt x="239" y="0"/>
                </a:cubicBezTo>
                <a:cubicBezTo>
                  <a:pt x="239" y="0"/>
                  <a:pt x="239" y="0"/>
                  <a:pt x="239" y="0"/>
                </a:cubicBezTo>
                <a:cubicBezTo>
                  <a:pt x="239" y="0"/>
                  <a:pt x="239" y="0"/>
                  <a:pt x="239" y="0"/>
                </a:cubicBezTo>
                <a:cubicBezTo>
                  <a:pt x="224" y="0"/>
                  <a:pt x="208" y="1"/>
                  <a:pt x="193" y="2"/>
                </a:cubicBezTo>
                <a:cubicBezTo>
                  <a:pt x="193" y="2"/>
                  <a:pt x="192" y="2"/>
                  <a:pt x="192" y="2"/>
                </a:cubicBezTo>
                <a:cubicBezTo>
                  <a:pt x="192" y="2"/>
                  <a:pt x="192" y="2"/>
                  <a:pt x="192" y="2"/>
                </a:cubicBezTo>
                <a:cubicBezTo>
                  <a:pt x="192" y="2"/>
                  <a:pt x="192" y="2"/>
                  <a:pt x="191" y="2"/>
                </a:cubicBezTo>
                <a:cubicBezTo>
                  <a:pt x="176" y="3"/>
                  <a:pt x="160" y="5"/>
                  <a:pt x="145" y="7"/>
                </a:cubicBezTo>
                <a:cubicBezTo>
                  <a:pt x="145" y="7"/>
                  <a:pt x="145" y="7"/>
                  <a:pt x="144" y="7"/>
                </a:cubicBezTo>
                <a:cubicBezTo>
                  <a:pt x="129" y="9"/>
                  <a:pt x="114" y="12"/>
                  <a:pt x="98" y="15"/>
                </a:cubicBezTo>
                <a:cubicBezTo>
                  <a:pt x="98" y="15"/>
                  <a:pt x="98" y="15"/>
                  <a:pt x="98" y="15"/>
                </a:cubicBezTo>
                <a:cubicBezTo>
                  <a:pt x="83" y="18"/>
                  <a:pt x="67" y="22"/>
                  <a:pt x="52" y="26"/>
                </a:cubicBezTo>
                <a:cubicBezTo>
                  <a:pt x="51" y="26"/>
                  <a:pt x="51" y="26"/>
                  <a:pt x="51" y="26"/>
                </a:cubicBezTo>
                <a:cubicBezTo>
                  <a:pt x="36" y="30"/>
                  <a:pt x="20" y="34"/>
                  <a:pt x="4" y="39"/>
                </a:cubicBezTo>
                <a:cubicBezTo>
                  <a:pt x="2" y="40"/>
                  <a:pt x="0" y="43"/>
                  <a:pt x="0" y="46"/>
                </a:cubicBezTo>
                <a:cubicBezTo>
                  <a:pt x="0" y="435"/>
                  <a:pt x="0" y="435"/>
                  <a:pt x="0" y="435"/>
                </a:cubicBezTo>
                <a:cubicBezTo>
                  <a:pt x="0" y="450"/>
                  <a:pt x="13" y="486"/>
                  <a:pt x="102" y="553"/>
                </a:cubicBezTo>
                <a:cubicBezTo>
                  <a:pt x="115" y="563"/>
                  <a:pt x="129" y="573"/>
                  <a:pt x="142" y="582"/>
                </a:cubicBezTo>
                <a:cubicBezTo>
                  <a:pt x="142" y="582"/>
                  <a:pt x="142" y="582"/>
                  <a:pt x="142" y="582"/>
                </a:cubicBezTo>
                <a:cubicBezTo>
                  <a:pt x="182" y="609"/>
                  <a:pt x="220" y="629"/>
                  <a:pt x="238" y="633"/>
                </a:cubicBezTo>
                <a:cubicBezTo>
                  <a:pt x="238" y="633"/>
                  <a:pt x="238" y="633"/>
                  <a:pt x="238" y="633"/>
                </a:cubicBezTo>
                <a:cubicBezTo>
                  <a:pt x="238" y="633"/>
                  <a:pt x="239" y="633"/>
                  <a:pt x="239" y="633"/>
                </a:cubicBezTo>
                <a:cubicBezTo>
                  <a:pt x="239" y="633"/>
                  <a:pt x="239" y="633"/>
                  <a:pt x="239" y="633"/>
                </a:cubicBezTo>
                <a:cubicBezTo>
                  <a:pt x="239" y="633"/>
                  <a:pt x="239" y="633"/>
                  <a:pt x="239" y="633"/>
                </a:cubicBezTo>
                <a:cubicBezTo>
                  <a:pt x="239" y="633"/>
                  <a:pt x="239" y="633"/>
                  <a:pt x="239" y="633"/>
                </a:cubicBezTo>
                <a:cubicBezTo>
                  <a:pt x="240" y="633"/>
                  <a:pt x="240" y="633"/>
                  <a:pt x="241" y="633"/>
                </a:cubicBezTo>
                <a:cubicBezTo>
                  <a:pt x="261" y="629"/>
                  <a:pt x="320" y="598"/>
                  <a:pt x="373" y="560"/>
                </a:cubicBezTo>
                <a:cubicBezTo>
                  <a:pt x="421" y="526"/>
                  <a:pt x="478" y="477"/>
                  <a:pt x="478" y="435"/>
                </a:cubicBezTo>
                <a:cubicBezTo>
                  <a:pt x="478" y="46"/>
                  <a:pt x="478" y="46"/>
                  <a:pt x="478" y="46"/>
                </a:cubicBezTo>
                <a:cubicBezTo>
                  <a:pt x="478" y="43"/>
                  <a:pt x="476" y="40"/>
                  <a:pt x="473" y="39"/>
                </a:cubicBezTo>
                <a:close/>
                <a:moveTo>
                  <a:pt x="199" y="15"/>
                </a:moveTo>
                <a:cubicBezTo>
                  <a:pt x="210" y="15"/>
                  <a:pt x="221" y="14"/>
                  <a:pt x="232" y="14"/>
                </a:cubicBezTo>
                <a:cubicBezTo>
                  <a:pt x="232" y="617"/>
                  <a:pt x="232" y="617"/>
                  <a:pt x="232" y="617"/>
                </a:cubicBezTo>
                <a:cubicBezTo>
                  <a:pt x="224" y="614"/>
                  <a:pt x="213" y="608"/>
                  <a:pt x="200" y="601"/>
                </a:cubicBezTo>
                <a:lnTo>
                  <a:pt x="199" y="15"/>
                </a:lnTo>
                <a:close/>
                <a:moveTo>
                  <a:pt x="186" y="593"/>
                </a:moveTo>
                <a:cubicBezTo>
                  <a:pt x="175" y="587"/>
                  <a:pt x="165" y="580"/>
                  <a:pt x="153" y="572"/>
                </a:cubicBezTo>
                <a:cubicBezTo>
                  <a:pt x="153" y="20"/>
                  <a:pt x="153" y="20"/>
                  <a:pt x="153" y="20"/>
                </a:cubicBezTo>
                <a:cubicBezTo>
                  <a:pt x="164" y="19"/>
                  <a:pt x="175" y="17"/>
                  <a:pt x="185" y="17"/>
                </a:cubicBezTo>
                <a:lnTo>
                  <a:pt x="186" y="593"/>
                </a:lnTo>
                <a:close/>
                <a:moveTo>
                  <a:pt x="60" y="38"/>
                </a:moveTo>
                <a:cubicBezTo>
                  <a:pt x="71" y="35"/>
                  <a:pt x="82" y="33"/>
                  <a:pt x="92" y="31"/>
                </a:cubicBezTo>
                <a:cubicBezTo>
                  <a:pt x="93" y="528"/>
                  <a:pt x="93" y="528"/>
                  <a:pt x="93" y="528"/>
                </a:cubicBezTo>
                <a:cubicBezTo>
                  <a:pt x="81" y="518"/>
                  <a:pt x="70" y="509"/>
                  <a:pt x="60" y="500"/>
                </a:cubicBezTo>
                <a:lnTo>
                  <a:pt x="60" y="38"/>
                </a:lnTo>
                <a:close/>
                <a:moveTo>
                  <a:pt x="14" y="435"/>
                </a:moveTo>
                <a:cubicBezTo>
                  <a:pt x="14" y="51"/>
                  <a:pt x="14" y="51"/>
                  <a:pt x="14" y="51"/>
                </a:cubicBezTo>
                <a:cubicBezTo>
                  <a:pt x="24" y="48"/>
                  <a:pt x="35" y="45"/>
                  <a:pt x="46" y="42"/>
                </a:cubicBezTo>
                <a:cubicBezTo>
                  <a:pt x="46" y="487"/>
                  <a:pt x="46" y="487"/>
                  <a:pt x="46" y="487"/>
                </a:cubicBezTo>
                <a:cubicBezTo>
                  <a:pt x="25" y="465"/>
                  <a:pt x="14" y="447"/>
                  <a:pt x="14" y="435"/>
                </a:cubicBezTo>
                <a:close/>
                <a:moveTo>
                  <a:pt x="107" y="539"/>
                </a:moveTo>
                <a:cubicBezTo>
                  <a:pt x="106" y="28"/>
                  <a:pt x="106" y="28"/>
                  <a:pt x="106" y="28"/>
                </a:cubicBezTo>
                <a:cubicBezTo>
                  <a:pt x="117" y="26"/>
                  <a:pt x="128" y="24"/>
                  <a:pt x="139" y="22"/>
                </a:cubicBezTo>
                <a:cubicBezTo>
                  <a:pt x="139" y="563"/>
                  <a:pt x="139" y="563"/>
                  <a:pt x="139" y="563"/>
                </a:cubicBezTo>
                <a:cubicBezTo>
                  <a:pt x="130" y="556"/>
                  <a:pt x="120" y="549"/>
                  <a:pt x="111" y="542"/>
                </a:cubicBezTo>
                <a:cubicBezTo>
                  <a:pt x="109" y="541"/>
                  <a:pt x="108" y="540"/>
                  <a:pt x="107" y="539"/>
                </a:cubicBezTo>
                <a:close/>
                <a:moveTo>
                  <a:pt x="464" y="435"/>
                </a:moveTo>
                <a:cubicBezTo>
                  <a:pt x="464" y="496"/>
                  <a:pt x="297" y="598"/>
                  <a:pt x="246" y="617"/>
                </a:cubicBezTo>
                <a:cubicBezTo>
                  <a:pt x="246" y="14"/>
                  <a:pt x="246" y="14"/>
                  <a:pt x="246" y="14"/>
                </a:cubicBezTo>
                <a:cubicBezTo>
                  <a:pt x="327" y="15"/>
                  <a:pt x="408" y="34"/>
                  <a:pt x="464" y="51"/>
                </a:cubicBezTo>
                <a:lnTo>
                  <a:pt x="464" y="43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89" name="Group 88">
            <a:extLst>
              <a:ext uri="{FF2B5EF4-FFF2-40B4-BE49-F238E27FC236}">
                <a16:creationId xmlns:a16="http://schemas.microsoft.com/office/drawing/2014/main" id="{28961A61-DE4A-49D4-BDC4-3E5C8F20542D}"/>
              </a:ext>
            </a:extLst>
          </p:cNvPr>
          <p:cNvGrpSpPr/>
          <p:nvPr/>
        </p:nvGrpSpPr>
        <p:grpSpPr>
          <a:xfrm>
            <a:off x="6523465" y="1879109"/>
            <a:ext cx="743282" cy="769045"/>
            <a:chOff x="2908300" y="-1620838"/>
            <a:chExt cx="1228725" cy="1236663"/>
          </a:xfrm>
        </p:grpSpPr>
        <p:sp>
          <p:nvSpPr>
            <p:cNvPr id="90" name="Freeform 79">
              <a:extLst>
                <a:ext uri="{FF2B5EF4-FFF2-40B4-BE49-F238E27FC236}">
                  <a16:creationId xmlns:a16="http://schemas.microsoft.com/office/drawing/2014/main" id="{AC14F325-7968-4B9B-959F-1126DF36B9DC}"/>
                </a:ext>
              </a:extLst>
            </p:cNvPr>
            <p:cNvSpPr>
              <a:spLocks noEditPoints="1"/>
            </p:cNvSpPr>
            <p:nvPr/>
          </p:nvSpPr>
          <p:spPr bwMode="auto">
            <a:xfrm>
              <a:off x="3055938" y="-1620838"/>
              <a:ext cx="234950" cy="234950"/>
            </a:xfrm>
            <a:custGeom>
              <a:avLst/>
              <a:gdLst>
                <a:gd name="T0" fmla="*/ 22 w 43"/>
                <a:gd name="T1" fmla="*/ 43 h 43"/>
                <a:gd name="T2" fmla="*/ 43 w 43"/>
                <a:gd name="T3" fmla="*/ 21 h 43"/>
                <a:gd name="T4" fmla="*/ 22 w 43"/>
                <a:gd name="T5" fmla="*/ 0 h 43"/>
                <a:gd name="T6" fmla="*/ 0 w 43"/>
                <a:gd name="T7" fmla="*/ 21 h 43"/>
                <a:gd name="T8" fmla="*/ 22 w 43"/>
                <a:gd name="T9" fmla="*/ 43 h 43"/>
                <a:gd name="T10" fmla="*/ 22 w 43"/>
                <a:gd name="T11" fmla="*/ 5 h 43"/>
                <a:gd name="T12" fmla="*/ 39 w 43"/>
                <a:gd name="T13" fmla="*/ 21 h 43"/>
                <a:gd name="T14" fmla="*/ 22 w 43"/>
                <a:gd name="T15" fmla="*/ 38 h 43"/>
                <a:gd name="T16" fmla="*/ 5 w 43"/>
                <a:gd name="T17" fmla="*/ 21 h 43"/>
                <a:gd name="T18" fmla="*/ 22 w 43"/>
                <a:gd name="T1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34" y="43"/>
                    <a:pt x="43" y="33"/>
                    <a:pt x="43" y="21"/>
                  </a:cubicBezTo>
                  <a:cubicBezTo>
                    <a:pt x="43" y="10"/>
                    <a:pt x="34" y="0"/>
                    <a:pt x="22" y="0"/>
                  </a:cubicBezTo>
                  <a:cubicBezTo>
                    <a:pt x="10" y="0"/>
                    <a:pt x="0" y="10"/>
                    <a:pt x="0" y="21"/>
                  </a:cubicBezTo>
                  <a:cubicBezTo>
                    <a:pt x="0" y="33"/>
                    <a:pt x="10" y="43"/>
                    <a:pt x="22" y="43"/>
                  </a:cubicBezTo>
                  <a:close/>
                  <a:moveTo>
                    <a:pt x="22" y="5"/>
                  </a:moveTo>
                  <a:cubicBezTo>
                    <a:pt x="31" y="5"/>
                    <a:pt x="39" y="12"/>
                    <a:pt x="39" y="21"/>
                  </a:cubicBezTo>
                  <a:cubicBezTo>
                    <a:pt x="39" y="31"/>
                    <a:pt x="31" y="38"/>
                    <a:pt x="22" y="38"/>
                  </a:cubicBezTo>
                  <a:cubicBezTo>
                    <a:pt x="12" y="38"/>
                    <a:pt x="5" y="31"/>
                    <a:pt x="5" y="21"/>
                  </a:cubicBezTo>
                  <a:cubicBezTo>
                    <a:pt x="5" y="12"/>
                    <a:pt x="12" y="5"/>
                    <a:pt x="2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91" name="Freeform 80">
              <a:extLst>
                <a:ext uri="{FF2B5EF4-FFF2-40B4-BE49-F238E27FC236}">
                  <a16:creationId xmlns:a16="http://schemas.microsoft.com/office/drawing/2014/main" id="{E0B20AB6-39C1-4047-B27B-01A86D24D173}"/>
                </a:ext>
              </a:extLst>
            </p:cNvPr>
            <p:cNvSpPr>
              <a:spLocks noEditPoints="1"/>
            </p:cNvSpPr>
            <p:nvPr/>
          </p:nvSpPr>
          <p:spPr bwMode="auto">
            <a:xfrm>
              <a:off x="3749675" y="-1620838"/>
              <a:ext cx="234950" cy="234950"/>
            </a:xfrm>
            <a:custGeom>
              <a:avLst/>
              <a:gdLst>
                <a:gd name="T0" fmla="*/ 22 w 43"/>
                <a:gd name="T1" fmla="*/ 43 h 43"/>
                <a:gd name="T2" fmla="*/ 43 w 43"/>
                <a:gd name="T3" fmla="*/ 21 h 43"/>
                <a:gd name="T4" fmla="*/ 22 w 43"/>
                <a:gd name="T5" fmla="*/ 0 h 43"/>
                <a:gd name="T6" fmla="*/ 0 w 43"/>
                <a:gd name="T7" fmla="*/ 21 h 43"/>
                <a:gd name="T8" fmla="*/ 22 w 43"/>
                <a:gd name="T9" fmla="*/ 43 h 43"/>
                <a:gd name="T10" fmla="*/ 22 w 43"/>
                <a:gd name="T11" fmla="*/ 5 h 43"/>
                <a:gd name="T12" fmla="*/ 39 w 43"/>
                <a:gd name="T13" fmla="*/ 21 h 43"/>
                <a:gd name="T14" fmla="*/ 22 w 43"/>
                <a:gd name="T15" fmla="*/ 38 h 43"/>
                <a:gd name="T16" fmla="*/ 5 w 43"/>
                <a:gd name="T17" fmla="*/ 21 h 43"/>
                <a:gd name="T18" fmla="*/ 22 w 43"/>
                <a:gd name="T1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34" y="43"/>
                    <a:pt x="43" y="33"/>
                    <a:pt x="43" y="21"/>
                  </a:cubicBezTo>
                  <a:cubicBezTo>
                    <a:pt x="43" y="10"/>
                    <a:pt x="34" y="0"/>
                    <a:pt x="22" y="0"/>
                  </a:cubicBezTo>
                  <a:cubicBezTo>
                    <a:pt x="10" y="0"/>
                    <a:pt x="0" y="10"/>
                    <a:pt x="0" y="21"/>
                  </a:cubicBezTo>
                  <a:cubicBezTo>
                    <a:pt x="0" y="33"/>
                    <a:pt x="10" y="43"/>
                    <a:pt x="22" y="43"/>
                  </a:cubicBezTo>
                  <a:close/>
                  <a:moveTo>
                    <a:pt x="22" y="5"/>
                  </a:moveTo>
                  <a:cubicBezTo>
                    <a:pt x="31" y="5"/>
                    <a:pt x="39" y="12"/>
                    <a:pt x="39" y="21"/>
                  </a:cubicBezTo>
                  <a:cubicBezTo>
                    <a:pt x="39" y="31"/>
                    <a:pt x="31" y="38"/>
                    <a:pt x="22" y="38"/>
                  </a:cubicBezTo>
                  <a:cubicBezTo>
                    <a:pt x="13" y="38"/>
                    <a:pt x="5" y="31"/>
                    <a:pt x="5" y="21"/>
                  </a:cubicBezTo>
                  <a:cubicBezTo>
                    <a:pt x="5" y="12"/>
                    <a:pt x="13" y="5"/>
                    <a:pt x="2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92" name="Freeform 81">
              <a:extLst>
                <a:ext uri="{FF2B5EF4-FFF2-40B4-BE49-F238E27FC236}">
                  <a16:creationId xmlns:a16="http://schemas.microsoft.com/office/drawing/2014/main" id="{812B436D-102A-456C-89BB-81FB995B30F6}"/>
                </a:ext>
              </a:extLst>
            </p:cNvPr>
            <p:cNvSpPr>
              <a:spLocks noEditPoints="1"/>
            </p:cNvSpPr>
            <p:nvPr/>
          </p:nvSpPr>
          <p:spPr bwMode="auto">
            <a:xfrm>
              <a:off x="2908300" y="-1358900"/>
              <a:ext cx="1228725" cy="974725"/>
            </a:xfrm>
            <a:custGeom>
              <a:avLst/>
              <a:gdLst>
                <a:gd name="T0" fmla="*/ 205 w 225"/>
                <a:gd name="T1" fmla="*/ 13 h 178"/>
                <a:gd name="T2" fmla="*/ 151 w 225"/>
                <a:gd name="T3" fmla="*/ 13 h 178"/>
                <a:gd name="T4" fmla="*/ 112 w 225"/>
                <a:gd name="T5" fmla="*/ 60 h 178"/>
                <a:gd name="T6" fmla="*/ 74 w 225"/>
                <a:gd name="T7" fmla="*/ 13 h 178"/>
                <a:gd name="T8" fmla="*/ 19 w 225"/>
                <a:gd name="T9" fmla="*/ 13 h 178"/>
                <a:gd name="T10" fmla="*/ 2 w 225"/>
                <a:gd name="T11" fmla="*/ 54 h 178"/>
                <a:gd name="T12" fmla="*/ 26 w 225"/>
                <a:gd name="T13" fmla="*/ 94 h 178"/>
                <a:gd name="T14" fmla="*/ 36 w 225"/>
                <a:gd name="T15" fmla="*/ 178 h 178"/>
                <a:gd name="T16" fmla="*/ 53 w 225"/>
                <a:gd name="T17" fmla="*/ 169 h 178"/>
                <a:gd name="T18" fmla="*/ 74 w 225"/>
                <a:gd name="T19" fmla="*/ 169 h 178"/>
                <a:gd name="T20" fmla="*/ 77 w 225"/>
                <a:gd name="T21" fmla="*/ 60 h 178"/>
                <a:gd name="T22" fmla="*/ 112 w 225"/>
                <a:gd name="T23" fmla="*/ 78 h 178"/>
                <a:gd name="T24" fmla="*/ 147 w 225"/>
                <a:gd name="T25" fmla="*/ 61 h 178"/>
                <a:gd name="T26" fmla="*/ 151 w 225"/>
                <a:gd name="T27" fmla="*/ 169 h 178"/>
                <a:gd name="T28" fmla="*/ 171 w 225"/>
                <a:gd name="T29" fmla="*/ 169 h 178"/>
                <a:gd name="T30" fmla="*/ 189 w 225"/>
                <a:gd name="T31" fmla="*/ 178 h 178"/>
                <a:gd name="T32" fmla="*/ 199 w 225"/>
                <a:gd name="T33" fmla="*/ 169 h 178"/>
                <a:gd name="T34" fmla="*/ 207 w 225"/>
                <a:gd name="T35" fmla="*/ 90 h 178"/>
                <a:gd name="T36" fmla="*/ 81 w 225"/>
                <a:gd name="T37" fmla="*/ 57 h 178"/>
                <a:gd name="T38" fmla="*/ 68 w 225"/>
                <a:gd name="T39" fmla="*/ 24 h 178"/>
                <a:gd name="T40" fmla="*/ 66 w 225"/>
                <a:gd name="T41" fmla="*/ 44 h 178"/>
                <a:gd name="T42" fmla="*/ 69 w 225"/>
                <a:gd name="T43" fmla="*/ 147 h 178"/>
                <a:gd name="T44" fmla="*/ 69 w 225"/>
                <a:gd name="T45" fmla="*/ 169 h 178"/>
                <a:gd name="T46" fmla="*/ 52 w 225"/>
                <a:gd name="T47" fmla="*/ 92 h 178"/>
                <a:gd name="T48" fmla="*/ 41 w 225"/>
                <a:gd name="T49" fmla="*/ 168 h 178"/>
                <a:gd name="T50" fmla="*/ 30 w 225"/>
                <a:gd name="T51" fmla="*/ 169 h 178"/>
                <a:gd name="T52" fmla="*/ 31 w 225"/>
                <a:gd name="T53" fmla="*/ 92 h 178"/>
                <a:gd name="T54" fmla="*/ 31 w 225"/>
                <a:gd name="T55" fmla="*/ 76 h 178"/>
                <a:gd name="T56" fmla="*/ 27 w 225"/>
                <a:gd name="T57" fmla="*/ 35 h 178"/>
                <a:gd name="T58" fmla="*/ 23 w 225"/>
                <a:gd name="T59" fmla="*/ 68 h 178"/>
                <a:gd name="T60" fmla="*/ 27 w 225"/>
                <a:gd name="T61" fmla="*/ 80 h 178"/>
                <a:gd name="T62" fmla="*/ 26 w 225"/>
                <a:gd name="T63" fmla="*/ 89 h 178"/>
                <a:gd name="T64" fmla="*/ 6 w 225"/>
                <a:gd name="T65" fmla="*/ 42 h 178"/>
                <a:gd name="T66" fmla="*/ 48 w 225"/>
                <a:gd name="T67" fmla="*/ 4 h 178"/>
                <a:gd name="T68" fmla="*/ 88 w 225"/>
                <a:gd name="T69" fmla="*/ 47 h 178"/>
                <a:gd name="T70" fmla="*/ 110 w 225"/>
                <a:gd name="T71" fmla="*/ 64 h 178"/>
                <a:gd name="T72" fmla="*/ 114 w 225"/>
                <a:gd name="T73" fmla="*/ 72 h 178"/>
                <a:gd name="T74" fmla="*/ 26 w 225"/>
                <a:gd name="T75" fmla="*/ 43 h 178"/>
                <a:gd name="T76" fmla="*/ 26 w 225"/>
                <a:gd name="T77" fmla="*/ 43 h 178"/>
                <a:gd name="T78" fmla="*/ 198 w 225"/>
                <a:gd name="T79" fmla="*/ 89 h 178"/>
                <a:gd name="T80" fmla="*/ 198 w 225"/>
                <a:gd name="T81" fmla="*/ 80 h 178"/>
                <a:gd name="T82" fmla="*/ 202 w 225"/>
                <a:gd name="T83" fmla="*/ 68 h 178"/>
                <a:gd name="T84" fmla="*/ 198 w 225"/>
                <a:gd name="T85" fmla="*/ 35 h 178"/>
                <a:gd name="T86" fmla="*/ 194 w 225"/>
                <a:gd name="T87" fmla="*/ 76 h 178"/>
                <a:gd name="T88" fmla="*/ 194 w 225"/>
                <a:gd name="T89" fmla="*/ 92 h 178"/>
                <a:gd name="T90" fmla="*/ 195 w 225"/>
                <a:gd name="T91" fmla="*/ 169 h 178"/>
                <a:gd name="T92" fmla="*/ 183 w 225"/>
                <a:gd name="T93" fmla="*/ 168 h 178"/>
                <a:gd name="T94" fmla="*/ 173 w 225"/>
                <a:gd name="T95" fmla="*/ 92 h 178"/>
                <a:gd name="T96" fmla="*/ 155 w 225"/>
                <a:gd name="T97" fmla="*/ 169 h 178"/>
                <a:gd name="T98" fmla="*/ 156 w 225"/>
                <a:gd name="T99" fmla="*/ 147 h 178"/>
                <a:gd name="T100" fmla="*/ 159 w 225"/>
                <a:gd name="T101" fmla="*/ 44 h 178"/>
                <a:gd name="T102" fmla="*/ 157 w 225"/>
                <a:gd name="T103" fmla="*/ 24 h 178"/>
                <a:gd name="T104" fmla="*/ 144 w 225"/>
                <a:gd name="T105" fmla="*/ 57 h 178"/>
                <a:gd name="T106" fmla="*/ 117 w 225"/>
                <a:gd name="T107" fmla="*/ 63 h 178"/>
                <a:gd name="T108" fmla="*/ 137 w 225"/>
                <a:gd name="T109" fmla="*/ 47 h 178"/>
                <a:gd name="T110" fmla="*/ 177 w 225"/>
                <a:gd name="T111" fmla="*/ 4 h 178"/>
                <a:gd name="T112" fmla="*/ 218 w 225"/>
                <a:gd name="T113" fmla="*/ 42 h 178"/>
                <a:gd name="T114" fmla="*/ 203 w 225"/>
                <a:gd name="T115" fmla="*/ 5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5" h="178">
                  <a:moveTo>
                    <a:pt x="222" y="40"/>
                  </a:moveTo>
                  <a:cubicBezTo>
                    <a:pt x="222" y="40"/>
                    <a:pt x="222" y="40"/>
                    <a:pt x="222" y="40"/>
                  </a:cubicBezTo>
                  <a:cubicBezTo>
                    <a:pt x="205" y="13"/>
                    <a:pt x="205" y="13"/>
                    <a:pt x="205" y="13"/>
                  </a:cubicBezTo>
                  <a:cubicBezTo>
                    <a:pt x="199" y="4"/>
                    <a:pt x="195" y="0"/>
                    <a:pt x="177" y="0"/>
                  </a:cubicBezTo>
                  <a:cubicBezTo>
                    <a:pt x="177" y="0"/>
                    <a:pt x="177" y="0"/>
                    <a:pt x="177" y="0"/>
                  </a:cubicBezTo>
                  <a:cubicBezTo>
                    <a:pt x="158" y="0"/>
                    <a:pt x="154" y="8"/>
                    <a:pt x="151" y="13"/>
                  </a:cubicBezTo>
                  <a:cubicBezTo>
                    <a:pt x="151" y="13"/>
                    <a:pt x="151" y="13"/>
                    <a:pt x="151" y="13"/>
                  </a:cubicBezTo>
                  <a:cubicBezTo>
                    <a:pt x="147" y="20"/>
                    <a:pt x="135" y="41"/>
                    <a:pt x="133" y="44"/>
                  </a:cubicBezTo>
                  <a:cubicBezTo>
                    <a:pt x="131" y="46"/>
                    <a:pt x="119" y="55"/>
                    <a:pt x="112" y="60"/>
                  </a:cubicBezTo>
                  <a:cubicBezTo>
                    <a:pt x="107" y="56"/>
                    <a:pt x="98" y="49"/>
                    <a:pt x="92" y="44"/>
                  </a:cubicBezTo>
                  <a:cubicBezTo>
                    <a:pt x="90" y="41"/>
                    <a:pt x="77" y="20"/>
                    <a:pt x="74" y="13"/>
                  </a:cubicBezTo>
                  <a:cubicBezTo>
                    <a:pt x="74" y="13"/>
                    <a:pt x="74" y="13"/>
                    <a:pt x="74" y="13"/>
                  </a:cubicBezTo>
                  <a:cubicBezTo>
                    <a:pt x="71" y="8"/>
                    <a:pt x="66" y="0"/>
                    <a:pt x="48" y="0"/>
                  </a:cubicBezTo>
                  <a:cubicBezTo>
                    <a:pt x="48" y="0"/>
                    <a:pt x="48" y="0"/>
                    <a:pt x="48" y="0"/>
                  </a:cubicBezTo>
                  <a:cubicBezTo>
                    <a:pt x="29" y="0"/>
                    <a:pt x="26" y="4"/>
                    <a:pt x="19" y="13"/>
                  </a:cubicBezTo>
                  <a:cubicBezTo>
                    <a:pt x="2" y="40"/>
                    <a:pt x="2" y="40"/>
                    <a:pt x="2" y="40"/>
                  </a:cubicBezTo>
                  <a:cubicBezTo>
                    <a:pt x="2" y="40"/>
                    <a:pt x="2" y="40"/>
                    <a:pt x="2" y="40"/>
                  </a:cubicBezTo>
                  <a:cubicBezTo>
                    <a:pt x="0" y="44"/>
                    <a:pt x="0" y="49"/>
                    <a:pt x="2" y="54"/>
                  </a:cubicBezTo>
                  <a:cubicBezTo>
                    <a:pt x="17" y="90"/>
                    <a:pt x="17" y="90"/>
                    <a:pt x="17" y="90"/>
                  </a:cubicBezTo>
                  <a:cubicBezTo>
                    <a:pt x="19" y="92"/>
                    <a:pt x="21" y="94"/>
                    <a:pt x="25" y="94"/>
                  </a:cubicBezTo>
                  <a:cubicBezTo>
                    <a:pt x="25" y="94"/>
                    <a:pt x="25" y="94"/>
                    <a:pt x="26" y="94"/>
                  </a:cubicBezTo>
                  <a:cubicBezTo>
                    <a:pt x="25" y="153"/>
                    <a:pt x="25" y="167"/>
                    <a:pt x="25" y="169"/>
                  </a:cubicBezTo>
                  <a:cubicBezTo>
                    <a:pt x="25" y="169"/>
                    <a:pt x="25" y="169"/>
                    <a:pt x="25" y="169"/>
                  </a:cubicBezTo>
                  <a:cubicBezTo>
                    <a:pt x="26" y="174"/>
                    <a:pt x="30" y="178"/>
                    <a:pt x="36" y="178"/>
                  </a:cubicBezTo>
                  <a:cubicBezTo>
                    <a:pt x="41" y="177"/>
                    <a:pt x="46" y="173"/>
                    <a:pt x="46" y="169"/>
                  </a:cubicBezTo>
                  <a:cubicBezTo>
                    <a:pt x="50" y="122"/>
                    <a:pt x="50" y="122"/>
                    <a:pt x="50" y="122"/>
                  </a:cubicBezTo>
                  <a:cubicBezTo>
                    <a:pt x="53" y="169"/>
                    <a:pt x="53" y="169"/>
                    <a:pt x="53" y="169"/>
                  </a:cubicBezTo>
                  <a:cubicBezTo>
                    <a:pt x="54" y="173"/>
                    <a:pt x="58" y="177"/>
                    <a:pt x="63" y="178"/>
                  </a:cubicBezTo>
                  <a:cubicBezTo>
                    <a:pt x="64" y="178"/>
                    <a:pt x="64" y="178"/>
                    <a:pt x="64" y="178"/>
                  </a:cubicBezTo>
                  <a:cubicBezTo>
                    <a:pt x="69" y="178"/>
                    <a:pt x="73" y="174"/>
                    <a:pt x="74" y="169"/>
                  </a:cubicBezTo>
                  <a:cubicBezTo>
                    <a:pt x="74" y="169"/>
                    <a:pt x="74" y="169"/>
                    <a:pt x="74" y="169"/>
                  </a:cubicBezTo>
                  <a:cubicBezTo>
                    <a:pt x="74" y="166"/>
                    <a:pt x="72" y="100"/>
                    <a:pt x="71" y="51"/>
                  </a:cubicBezTo>
                  <a:cubicBezTo>
                    <a:pt x="77" y="60"/>
                    <a:pt x="77" y="60"/>
                    <a:pt x="77" y="60"/>
                  </a:cubicBezTo>
                  <a:cubicBezTo>
                    <a:pt x="77" y="60"/>
                    <a:pt x="78" y="61"/>
                    <a:pt x="78" y="61"/>
                  </a:cubicBezTo>
                  <a:cubicBezTo>
                    <a:pt x="107" y="77"/>
                    <a:pt x="107" y="77"/>
                    <a:pt x="107" y="77"/>
                  </a:cubicBezTo>
                  <a:cubicBezTo>
                    <a:pt x="108" y="78"/>
                    <a:pt x="110" y="78"/>
                    <a:pt x="112" y="78"/>
                  </a:cubicBezTo>
                  <a:cubicBezTo>
                    <a:pt x="113" y="78"/>
                    <a:pt x="113" y="78"/>
                    <a:pt x="114" y="78"/>
                  </a:cubicBezTo>
                  <a:cubicBezTo>
                    <a:pt x="115" y="78"/>
                    <a:pt x="117" y="78"/>
                    <a:pt x="118" y="77"/>
                  </a:cubicBezTo>
                  <a:cubicBezTo>
                    <a:pt x="147" y="61"/>
                    <a:pt x="147" y="61"/>
                    <a:pt x="147" y="61"/>
                  </a:cubicBezTo>
                  <a:cubicBezTo>
                    <a:pt x="147" y="61"/>
                    <a:pt x="147" y="60"/>
                    <a:pt x="147" y="60"/>
                  </a:cubicBezTo>
                  <a:cubicBezTo>
                    <a:pt x="154" y="51"/>
                    <a:pt x="154" y="51"/>
                    <a:pt x="154" y="51"/>
                  </a:cubicBezTo>
                  <a:cubicBezTo>
                    <a:pt x="152" y="100"/>
                    <a:pt x="151" y="166"/>
                    <a:pt x="151" y="169"/>
                  </a:cubicBezTo>
                  <a:cubicBezTo>
                    <a:pt x="151" y="169"/>
                    <a:pt x="151" y="169"/>
                    <a:pt x="151" y="169"/>
                  </a:cubicBezTo>
                  <a:cubicBezTo>
                    <a:pt x="151" y="174"/>
                    <a:pt x="156" y="178"/>
                    <a:pt x="161" y="178"/>
                  </a:cubicBezTo>
                  <a:cubicBezTo>
                    <a:pt x="167" y="177"/>
                    <a:pt x="171" y="173"/>
                    <a:pt x="171" y="169"/>
                  </a:cubicBezTo>
                  <a:cubicBezTo>
                    <a:pt x="175" y="122"/>
                    <a:pt x="175" y="122"/>
                    <a:pt x="175" y="122"/>
                  </a:cubicBezTo>
                  <a:cubicBezTo>
                    <a:pt x="179" y="169"/>
                    <a:pt x="179" y="169"/>
                    <a:pt x="179" y="169"/>
                  </a:cubicBezTo>
                  <a:cubicBezTo>
                    <a:pt x="179" y="173"/>
                    <a:pt x="183" y="177"/>
                    <a:pt x="189" y="178"/>
                  </a:cubicBezTo>
                  <a:cubicBezTo>
                    <a:pt x="189" y="178"/>
                    <a:pt x="189" y="178"/>
                    <a:pt x="189" y="178"/>
                  </a:cubicBezTo>
                  <a:cubicBezTo>
                    <a:pt x="194" y="178"/>
                    <a:pt x="199" y="174"/>
                    <a:pt x="199" y="169"/>
                  </a:cubicBezTo>
                  <a:cubicBezTo>
                    <a:pt x="199" y="169"/>
                    <a:pt x="199" y="169"/>
                    <a:pt x="199" y="169"/>
                  </a:cubicBezTo>
                  <a:cubicBezTo>
                    <a:pt x="199" y="167"/>
                    <a:pt x="199" y="153"/>
                    <a:pt x="199" y="94"/>
                  </a:cubicBezTo>
                  <a:cubicBezTo>
                    <a:pt x="199" y="94"/>
                    <a:pt x="200" y="94"/>
                    <a:pt x="200" y="94"/>
                  </a:cubicBezTo>
                  <a:cubicBezTo>
                    <a:pt x="203" y="94"/>
                    <a:pt x="206" y="92"/>
                    <a:pt x="207" y="90"/>
                  </a:cubicBezTo>
                  <a:cubicBezTo>
                    <a:pt x="223" y="54"/>
                    <a:pt x="223" y="54"/>
                    <a:pt x="223" y="54"/>
                  </a:cubicBezTo>
                  <a:cubicBezTo>
                    <a:pt x="225" y="49"/>
                    <a:pt x="225" y="44"/>
                    <a:pt x="222" y="40"/>
                  </a:cubicBezTo>
                  <a:close/>
                  <a:moveTo>
                    <a:pt x="81" y="57"/>
                  </a:moveTo>
                  <a:cubicBezTo>
                    <a:pt x="71" y="43"/>
                    <a:pt x="71" y="43"/>
                    <a:pt x="71" y="43"/>
                  </a:cubicBezTo>
                  <a:cubicBezTo>
                    <a:pt x="71" y="37"/>
                    <a:pt x="70" y="32"/>
                    <a:pt x="70" y="27"/>
                  </a:cubicBezTo>
                  <a:cubicBezTo>
                    <a:pt x="70" y="25"/>
                    <a:pt x="69" y="24"/>
                    <a:pt x="68" y="24"/>
                  </a:cubicBezTo>
                  <a:cubicBezTo>
                    <a:pt x="68" y="24"/>
                    <a:pt x="68" y="24"/>
                    <a:pt x="68" y="24"/>
                  </a:cubicBezTo>
                  <a:cubicBezTo>
                    <a:pt x="67" y="24"/>
                    <a:pt x="66" y="25"/>
                    <a:pt x="66" y="27"/>
                  </a:cubicBezTo>
                  <a:cubicBezTo>
                    <a:pt x="66" y="27"/>
                    <a:pt x="66" y="33"/>
                    <a:pt x="66" y="44"/>
                  </a:cubicBezTo>
                  <a:cubicBezTo>
                    <a:pt x="66" y="44"/>
                    <a:pt x="66" y="44"/>
                    <a:pt x="66" y="44"/>
                  </a:cubicBezTo>
                  <a:cubicBezTo>
                    <a:pt x="66" y="58"/>
                    <a:pt x="67" y="78"/>
                    <a:pt x="67" y="98"/>
                  </a:cubicBezTo>
                  <a:cubicBezTo>
                    <a:pt x="68" y="116"/>
                    <a:pt x="68" y="133"/>
                    <a:pt x="69" y="147"/>
                  </a:cubicBezTo>
                  <a:cubicBezTo>
                    <a:pt x="69" y="153"/>
                    <a:pt x="69" y="159"/>
                    <a:pt x="69" y="163"/>
                  </a:cubicBezTo>
                  <a:cubicBezTo>
                    <a:pt x="69" y="166"/>
                    <a:pt x="69" y="167"/>
                    <a:pt x="69" y="169"/>
                  </a:cubicBezTo>
                  <a:cubicBezTo>
                    <a:pt x="69" y="169"/>
                    <a:pt x="69" y="169"/>
                    <a:pt x="69" y="169"/>
                  </a:cubicBezTo>
                  <a:cubicBezTo>
                    <a:pt x="69" y="171"/>
                    <a:pt x="67" y="173"/>
                    <a:pt x="64" y="173"/>
                  </a:cubicBezTo>
                  <a:cubicBezTo>
                    <a:pt x="61" y="173"/>
                    <a:pt x="58" y="171"/>
                    <a:pt x="58" y="168"/>
                  </a:cubicBezTo>
                  <a:cubicBezTo>
                    <a:pt x="52" y="92"/>
                    <a:pt x="52" y="92"/>
                    <a:pt x="52" y="92"/>
                  </a:cubicBezTo>
                  <a:cubicBezTo>
                    <a:pt x="52" y="91"/>
                    <a:pt x="51" y="90"/>
                    <a:pt x="50" y="90"/>
                  </a:cubicBezTo>
                  <a:cubicBezTo>
                    <a:pt x="48" y="90"/>
                    <a:pt x="47" y="91"/>
                    <a:pt x="47" y="92"/>
                  </a:cubicBezTo>
                  <a:cubicBezTo>
                    <a:pt x="41" y="168"/>
                    <a:pt x="41" y="168"/>
                    <a:pt x="41" y="168"/>
                  </a:cubicBezTo>
                  <a:cubicBezTo>
                    <a:pt x="41" y="171"/>
                    <a:pt x="39" y="173"/>
                    <a:pt x="36" y="173"/>
                  </a:cubicBezTo>
                  <a:cubicBezTo>
                    <a:pt x="33" y="173"/>
                    <a:pt x="30" y="171"/>
                    <a:pt x="30" y="169"/>
                  </a:cubicBezTo>
                  <a:cubicBezTo>
                    <a:pt x="30" y="169"/>
                    <a:pt x="30" y="169"/>
                    <a:pt x="30" y="169"/>
                  </a:cubicBezTo>
                  <a:cubicBezTo>
                    <a:pt x="30" y="167"/>
                    <a:pt x="30" y="165"/>
                    <a:pt x="30" y="162"/>
                  </a:cubicBezTo>
                  <a:cubicBezTo>
                    <a:pt x="30" y="157"/>
                    <a:pt x="30" y="151"/>
                    <a:pt x="30" y="144"/>
                  </a:cubicBezTo>
                  <a:cubicBezTo>
                    <a:pt x="30" y="129"/>
                    <a:pt x="30" y="110"/>
                    <a:pt x="31" y="92"/>
                  </a:cubicBezTo>
                  <a:cubicBezTo>
                    <a:pt x="33" y="90"/>
                    <a:pt x="34" y="87"/>
                    <a:pt x="33" y="84"/>
                  </a:cubicBezTo>
                  <a:cubicBezTo>
                    <a:pt x="33" y="84"/>
                    <a:pt x="33" y="84"/>
                    <a:pt x="33" y="83"/>
                  </a:cubicBezTo>
                  <a:cubicBezTo>
                    <a:pt x="33" y="83"/>
                    <a:pt x="32" y="80"/>
                    <a:pt x="31" y="76"/>
                  </a:cubicBezTo>
                  <a:cubicBezTo>
                    <a:pt x="31" y="50"/>
                    <a:pt x="31" y="36"/>
                    <a:pt x="31" y="36"/>
                  </a:cubicBezTo>
                  <a:cubicBezTo>
                    <a:pt x="31" y="35"/>
                    <a:pt x="30" y="34"/>
                    <a:pt x="29" y="34"/>
                  </a:cubicBezTo>
                  <a:cubicBezTo>
                    <a:pt x="28" y="34"/>
                    <a:pt x="27" y="34"/>
                    <a:pt x="27" y="35"/>
                  </a:cubicBezTo>
                  <a:cubicBezTo>
                    <a:pt x="17" y="48"/>
                    <a:pt x="17" y="48"/>
                    <a:pt x="17" y="48"/>
                  </a:cubicBezTo>
                  <a:cubicBezTo>
                    <a:pt x="17" y="48"/>
                    <a:pt x="17" y="49"/>
                    <a:pt x="17" y="50"/>
                  </a:cubicBezTo>
                  <a:cubicBezTo>
                    <a:pt x="17" y="50"/>
                    <a:pt x="20" y="59"/>
                    <a:pt x="23" y="68"/>
                  </a:cubicBezTo>
                  <a:cubicBezTo>
                    <a:pt x="24" y="71"/>
                    <a:pt x="25" y="74"/>
                    <a:pt x="26" y="77"/>
                  </a:cubicBezTo>
                  <a:cubicBezTo>
                    <a:pt x="26" y="77"/>
                    <a:pt x="26" y="77"/>
                    <a:pt x="26" y="77"/>
                  </a:cubicBezTo>
                  <a:cubicBezTo>
                    <a:pt x="26" y="78"/>
                    <a:pt x="27" y="79"/>
                    <a:pt x="27" y="80"/>
                  </a:cubicBezTo>
                  <a:cubicBezTo>
                    <a:pt x="28" y="82"/>
                    <a:pt x="28" y="84"/>
                    <a:pt x="29" y="85"/>
                  </a:cubicBezTo>
                  <a:cubicBezTo>
                    <a:pt x="29" y="85"/>
                    <a:pt x="29" y="85"/>
                    <a:pt x="29" y="85"/>
                  </a:cubicBezTo>
                  <a:cubicBezTo>
                    <a:pt x="29" y="87"/>
                    <a:pt x="28" y="88"/>
                    <a:pt x="26" y="89"/>
                  </a:cubicBezTo>
                  <a:cubicBezTo>
                    <a:pt x="24" y="90"/>
                    <a:pt x="22" y="89"/>
                    <a:pt x="21" y="88"/>
                  </a:cubicBezTo>
                  <a:cubicBezTo>
                    <a:pt x="6" y="52"/>
                    <a:pt x="6" y="52"/>
                    <a:pt x="6" y="52"/>
                  </a:cubicBezTo>
                  <a:cubicBezTo>
                    <a:pt x="5" y="49"/>
                    <a:pt x="5" y="45"/>
                    <a:pt x="6" y="42"/>
                  </a:cubicBezTo>
                  <a:cubicBezTo>
                    <a:pt x="23" y="16"/>
                    <a:pt x="23" y="16"/>
                    <a:pt x="23" y="16"/>
                  </a:cubicBezTo>
                  <a:cubicBezTo>
                    <a:pt x="29" y="8"/>
                    <a:pt x="31" y="4"/>
                    <a:pt x="48" y="4"/>
                  </a:cubicBezTo>
                  <a:cubicBezTo>
                    <a:pt x="48" y="4"/>
                    <a:pt x="48" y="4"/>
                    <a:pt x="48" y="4"/>
                  </a:cubicBezTo>
                  <a:cubicBezTo>
                    <a:pt x="64" y="4"/>
                    <a:pt x="67" y="11"/>
                    <a:pt x="69" y="15"/>
                  </a:cubicBezTo>
                  <a:cubicBezTo>
                    <a:pt x="70" y="15"/>
                    <a:pt x="70" y="15"/>
                    <a:pt x="70" y="15"/>
                  </a:cubicBezTo>
                  <a:cubicBezTo>
                    <a:pt x="74" y="22"/>
                    <a:pt x="88" y="47"/>
                    <a:pt x="88" y="47"/>
                  </a:cubicBezTo>
                  <a:cubicBezTo>
                    <a:pt x="88" y="47"/>
                    <a:pt x="88" y="47"/>
                    <a:pt x="88" y="47"/>
                  </a:cubicBezTo>
                  <a:cubicBezTo>
                    <a:pt x="88" y="47"/>
                    <a:pt x="95" y="52"/>
                    <a:pt x="101" y="57"/>
                  </a:cubicBezTo>
                  <a:cubicBezTo>
                    <a:pt x="104" y="60"/>
                    <a:pt x="108" y="62"/>
                    <a:pt x="110" y="64"/>
                  </a:cubicBezTo>
                  <a:cubicBezTo>
                    <a:pt x="112" y="65"/>
                    <a:pt x="113" y="66"/>
                    <a:pt x="114" y="67"/>
                  </a:cubicBezTo>
                  <a:cubicBezTo>
                    <a:pt x="114" y="67"/>
                    <a:pt x="114" y="67"/>
                    <a:pt x="114" y="67"/>
                  </a:cubicBezTo>
                  <a:cubicBezTo>
                    <a:pt x="115" y="68"/>
                    <a:pt x="115" y="70"/>
                    <a:pt x="114" y="72"/>
                  </a:cubicBezTo>
                  <a:cubicBezTo>
                    <a:pt x="113" y="73"/>
                    <a:pt x="111" y="74"/>
                    <a:pt x="109" y="73"/>
                  </a:cubicBezTo>
                  <a:lnTo>
                    <a:pt x="81" y="57"/>
                  </a:lnTo>
                  <a:close/>
                  <a:moveTo>
                    <a:pt x="26" y="43"/>
                  </a:moveTo>
                  <a:cubicBezTo>
                    <a:pt x="26" y="48"/>
                    <a:pt x="26" y="54"/>
                    <a:pt x="26" y="63"/>
                  </a:cubicBezTo>
                  <a:cubicBezTo>
                    <a:pt x="25" y="58"/>
                    <a:pt x="23" y="54"/>
                    <a:pt x="22" y="50"/>
                  </a:cubicBezTo>
                  <a:lnTo>
                    <a:pt x="26" y="43"/>
                  </a:lnTo>
                  <a:close/>
                  <a:moveTo>
                    <a:pt x="219" y="52"/>
                  </a:moveTo>
                  <a:cubicBezTo>
                    <a:pt x="203" y="88"/>
                    <a:pt x="203" y="88"/>
                    <a:pt x="203" y="88"/>
                  </a:cubicBezTo>
                  <a:cubicBezTo>
                    <a:pt x="202" y="89"/>
                    <a:pt x="200" y="90"/>
                    <a:pt x="198" y="89"/>
                  </a:cubicBezTo>
                  <a:cubicBezTo>
                    <a:pt x="196" y="88"/>
                    <a:pt x="195" y="87"/>
                    <a:pt x="196" y="85"/>
                  </a:cubicBezTo>
                  <a:cubicBezTo>
                    <a:pt x="196" y="85"/>
                    <a:pt x="196" y="85"/>
                    <a:pt x="196" y="85"/>
                  </a:cubicBezTo>
                  <a:cubicBezTo>
                    <a:pt x="196" y="84"/>
                    <a:pt x="197" y="82"/>
                    <a:pt x="198" y="80"/>
                  </a:cubicBezTo>
                  <a:cubicBezTo>
                    <a:pt x="198" y="79"/>
                    <a:pt x="198" y="78"/>
                    <a:pt x="198" y="77"/>
                  </a:cubicBezTo>
                  <a:cubicBezTo>
                    <a:pt x="198" y="77"/>
                    <a:pt x="198" y="77"/>
                    <a:pt x="198" y="77"/>
                  </a:cubicBezTo>
                  <a:cubicBezTo>
                    <a:pt x="199" y="74"/>
                    <a:pt x="201" y="71"/>
                    <a:pt x="202" y="68"/>
                  </a:cubicBezTo>
                  <a:cubicBezTo>
                    <a:pt x="205" y="59"/>
                    <a:pt x="208" y="50"/>
                    <a:pt x="208" y="50"/>
                  </a:cubicBezTo>
                  <a:cubicBezTo>
                    <a:pt x="208" y="49"/>
                    <a:pt x="208" y="48"/>
                    <a:pt x="207" y="48"/>
                  </a:cubicBezTo>
                  <a:cubicBezTo>
                    <a:pt x="198" y="35"/>
                    <a:pt x="198" y="35"/>
                    <a:pt x="198" y="35"/>
                  </a:cubicBezTo>
                  <a:cubicBezTo>
                    <a:pt x="197" y="34"/>
                    <a:pt x="196" y="34"/>
                    <a:pt x="195" y="34"/>
                  </a:cubicBezTo>
                  <a:cubicBezTo>
                    <a:pt x="194" y="34"/>
                    <a:pt x="194" y="35"/>
                    <a:pt x="194" y="36"/>
                  </a:cubicBezTo>
                  <a:cubicBezTo>
                    <a:pt x="194" y="36"/>
                    <a:pt x="194" y="50"/>
                    <a:pt x="194" y="76"/>
                  </a:cubicBezTo>
                  <a:cubicBezTo>
                    <a:pt x="193" y="80"/>
                    <a:pt x="192" y="83"/>
                    <a:pt x="191" y="83"/>
                  </a:cubicBezTo>
                  <a:cubicBezTo>
                    <a:pt x="191" y="84"/>
                    <a:pt x="191" y="84"/>
                    <a:pt x="191" y="84"/>
                  </a:cubicBezTo>
                  <a:cubicBezTo>
                    <a:pt x="190" y="87"/>
                    <a:pt x="192" y="90"/>
                    <a:pt x="194" y="92"/>
                  </a:cubicBezTo>
                  <a:cubicBezTo>
                    <a:pt x="194" y="110"/>
                    <a:pt x="194" y="129"/>
                    <a:pt x="194" y="144"/>
                  </a:cubicBezTo>
                  <a:cubicBezTo>
                    <a:pt x="194" y="151"/>
                    <a:pt x="195" y="157"/>
                    <a:pt x="195" y="162"/>
                  </a:cubicBezTo>
                  <a:cubicBezTo>
                    <a:pt x="195" y="165"/>
                    <a:pt x="195" y="167"/>
                    <a:pt x="195" y="169"/>
                  </a:cubicBezTo>
                  <a:cubicBezTo>
                    <a:pt x="195" y="169"/>
                    <a:pt x="195" y="169"/>
                    <a:pt x="195" y="169"/>
                  </a:cubicBezTo>
                  <a:cubicBezTo>
                    <a:pt x="194" y="171"/>
                    <a:pt x="192" y="173"/>
                    <a:pt x="189" y="173"/>
                  </a:cubicBezTo>
                  <a:cubicBezTo>
                    <a:pt x="186" y="173"/>
                    <a:pt x="183" y="171"/>
                    <a:pt x="183" y="168"/>
                  </a:cubicBezTo>
                  <a:cubicBezTo>
                    <a:pt x="177" y="92"/>
                    <a:pt x="177" y="92"/>
                    <a:pt x="177" y="92"/>
                  </a:cubicBezTo>
                  <a:cubicBezTo>
                    <a:pt x="177" y="91"/>
                    <a:pt x="176" y="90"/>
                    <a:pt x="175" y="90"/>
                  </a:cubicBezTo>
                  <a:cubicBezTo>
                    <a:pt x="174" y="90"/>
                    <a:pt x="173" y="91"/>
                    <a:pt x="173" y="92"/>
                  </a:cubicBezTo>
                  <a:cubicBezTo>
                    <a:pt x="167" y="168"/>
                    <a:pt x="167" y="168"/>
                    <a:pt x="167" y="168"/>
                  </a:cubicBezTo>
                  <a:cubicBezTo>
                    <a:pt x="166" y="171"/>
                    <a:pt x="164" y="173"/>
                    <a:pt x="161" y="173"/>
                  </a:cubicBezTo>
                  <a:cubicBezTo>
                    <a:pt x="158" y="173"/>
                    <a:pt x="155" y="171"/>
                    <a:pt x="155" y="169"/>
                  </a:cubicBezTo>
                  <a:cubicBezTo>
                    <a:pt x="155" y="169"/>
                    <a:pt x="155" y="169"/>
                    <a:pt x="155" y="169"/>
                  </a:cubicBezTo>
                  <a:cubicBezTo>
                    <a:pt x="155" y="167"/>
                    <a:pt x="155" y="166"/>
                    <a:pt x="155" y="163"/>
                  </a:cubicBezTo>
                  <a:cubicBezTo>
                    <a:pt x="156" y="159"/>
                    <a:pt x="156" y="153"/>
                    <a:pt x="156" y="147"/>
                  </a:cubicBezTo>
                  <a:cubicBezTo>
                    <a:pt x="156" y="133"/>
                    <a:pt x="157" y="116"/>
                    <a:pt x="157" y="98"/>
                  </a:cubicBezTo>
                  <a:cubicBezTo>
                    <a:pt x="158" y="78"/>
                    <a:pt x="158" y="58"/>
                    <a:pt x="159" y="44"/>
                  </a:cubicBezTo>
                  <a:cubicBezTo>
                    <a:pt x="159" y="44"/>
                    <a:pt x="159" y="44"/>
                    <a:pt x="159" y="44"/>
                  </a:cubicBezTo>
                  <a:cubicBezTo>
                    <a:pt x="159" y="33"/>
                    <a:pt x="159" y="27"/>
                    <a:pt x="159" y="27"/>
                  </a:cubicBezTo>
                  <a:cubicBezTo>
                    <a:pt x="159" y="25"/>
                    <a:pt x="158" y="24"/>
                    <a:pt x="157" y="24"/>
                  </a:cubicBezTo>
                  <a:cubicBezTo>
                    <a:pt x="157" y="24"/>
                    <a:pt x="157" y="24"/>
                    <a:pt x="157" y="24"/>
                  </a:cubicBezTo>
                  <a:cubicBezTo>
                    <a:pt x="155" y="24"/>
                    <a:pt x="154" y="25"/>
                    <a:pt x="154" y="27"/>
                  </a:cubicBezTo>
                  <a:cubicBezTo>
                    <a:pt x="154" y="32"/>
                    <a:pt x="154" y="37"/>
                    <a:pt x="154" y="43"/>
                  </a:cubicBezTo>
                  <a:cubicBezTo>
                    <a:pt x="144" y="57"/>
                    <a:pt x="144" y="57"/>
                    <a:pt x="144" y="57"/>
                  </a:cubicBezTo>
                  <a:cubicBezTo>
                    <a:pt x="119" y="71"/>
                    <a:pt x="119" y="71"/>
                    <a:pt x="119" y="71"/>
                  </a:cubicBezTo>
                  <a:cubicBezTo>
                    <a:pt x="120" y="68"/>
                    <a:pt x="119" y="65"/>
                    <a:pt x="117" y="63"/>
                  </a:cubicBezTo>
                  <a:cubicBezTo>
                    <a:pt x="117" y="63"/>
                    <a:pt x="117" y="63"/>
                    <a:pt x="117" y="63"/>
                  </a:cubicBezTo>
                  <a:cubicBezTo>
                    <a:pt x="117" y="63"/>
                    <a:pt x="116" y="63"/>
                    <a:pt x="116" y="63"/>
                  </a:cubicBezTo>
                  <a:cubicBezTo>
                    <a:pt x="124" y="57"/>
                    <a:pt x="136" y="47"/>
                    <a:pt x="136" y="47"/>
                  </a:cubicBezTo>
                  <a:cubicBezTo>
                    <a:pt x="136" y="47"/>
                    <a:pt x="137" y="47"/>
                    <a:pt x="137" y="47"/>
                  </a:cubicBezTo>
                  <a:cubicBezTo>
                    <a:pt x="137" y="47"/>
                    <a:pt x="151" y="22"/>
                    <a:pt x="155" y="15"/>
                  </a:cubicBezTo>
                  <a:cubicBezTo>
                    <a:pt x="155" y="15"/>
                    <a:pt x="155" y="15"/>
                    <a:pt x="155" y="15"/>
                  </a:cubicBezTo>
                  <a:cubicBezTo>
                    <a:pt x="157" y="11"/>
                    <a:pt x="161" y="4"/>
                    <a:pt x="177" y="4"/>
                  </a:cubicBezTo>
                  <a:cubicBezTo>
                    <a:pt x="177" y="4"/>
                    <a:pt x="177" y="4"/>
                    <a:pt x="177" y="4"/>
                  </a:cubicBezTo>
                  <a:cubicBezTo>
                    <a:pt x="194" y="4"/>
                    <a:pt x="196" y="8"/>
                    <a:pt x="201" y="16"/>
                  </a:cubicBezTo>
                  <a:cubicBezTo>
                    <a:pt x="218" y="42"/>
                    <a:pt x="218" y="42"/>
                    <a:pt x="218" y="42"/>
                  </a:cubicBezTo>
                  <a:cubicBezTo>
                    <a:pt x="220" y="45"/>
                    <a:pt x="220" y="49"/>
                    <a:pt x="219" y="52"/>
                  </a:cubicBezTo>
                  <a:close/>
                  <a:moveTo>
                    <a:pt x="198" y="43"/>
                  </a:moveTo>
                  <a:cubicBezTo>
                    <a:pt x="203" y="50"/>
                    <a:pt x="203" y="50"/>
                    <a:pt x="203" y="50"/>
                  </a:cubicBezTo>
                  <a:cubicBezTo>
                    <a:pt x="202" y="54"/>
                    <a:pt x="200" y="58"/>
                    <a:pt x="198" y="63"/>
                  </a:cubicBezTo>
                  <a:cubicBezTo>
                    <a:pt x="198" y="54"/>
                    <a:pt x="198" y="48"/>
                    <a:pt x="198" y="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grpSp>
    </p:spTree>
    <p:extLst>
      <p:ext uri="{BB962C8B-B14F-4D97-AF65-F5344CB8AC3E}">
        <p14:creationId xmlns:p14="http://schemas.microsoft.com/office/powerpoint/2010/main" val="3078400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250"/>
                                        <p:tgtEl>
                                          <p:spTgt spid="61"/>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250"/>
                                        <p:tgtEl>
                                          <p:spTgt spid="52"/>
                                        </p:tgtEl>
                                      </p:cBhvr>
                                    </p:animEffect>
                                  </p:childTnLst>
                                </p:cTn>
                              </p:par>
                              <p:par>
                                <p:cTn id="11" presetID="22" presetClass="entr" presetSubtype="8" fill="hold" nodeType="withEffect">
                                  <p:stCondLst>
                                    <p:cond delay="500"/>
                                  </p:stCondLst>
                                  <p:childTnLst>
                                    <p:set>
                                      <p:cBhvr>
                                        <p:cTn id="12" dur="1" fill="hold">
                                          <p:stCondLst>
                                            <p:cond delay="0"/>
                                          </p:stCondLst>
                                        </p:cTn>
                                        <p:tgtEl>
                                          <p:spTgt spid="42"/>
                                        </p:tgtEl>
                                        <p:attrNameLst>
                                          <p:attrName>style.visibility</p:attrName>
                                        </p:attrNameLst>
                                      </p:cBhvr>
                                      <p:to>
                                        <p:strVal val="visible"/>
                                      </p:to>
                                    </p:set>
                                    <p:animEffect transition="in" filter="wipe(left)">
                                      <p:cBhvr>
                                        <p:cTn id="13" dur="250"/>
                                        <p:tgtEl>
                                          <p:spTgt spid="42"/>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250"/>
                                        <p:tgtEl>
                                          <p:spTgt spid="62"/>
                                        </p:tgtEl>
                                      </p:cBhvr>
                                    </p:animEffect>
                                  </p:childTnLst>
                                </p:cTn>
                              </p:par>
                              <p:par>
                                <p:cTn id="17" presetID="10" presetClass="entr" presetSubtype="0" fill="hold" grpId="0" nodeType="withEffect">
                                  <p:stCondLst>
                                    <p:cond delay="750"/>
                                  </p:stCondLst>
                                  <p:childTnLst>
                                    <p:set>
                                      <p:cBhvr>
                                        <p:cTn id="18" dur="1" fill="hold">
                                          <p:stCondLst>
                                            <p:cond delay="0"/>
                                          </p:stCondLst>
                                        </p:cTn>
                                        <p:tgtEl>
                                          <p:spTgt spid="57"/>
                                        </p:tgtEl>
                                        <p:attrNameLst>
                                          <p:attrName>style.visibility</p:attrName>
                                        </p:attrNameLst>
                                      </p:cBhvr>
                                      <p:to>
                                        <p:strVal val="visible"/>
                                      </p:to>
                                    </p:set>
                                    <p:animEffect transition="in" filter="fade">
                                      <p:cBhvr>
                                        <p:cTn id="19" dur="250"/>
                                        <p:tgtEl>
                                          <p:spTgt spid="57"/>
                                        </p:tgtEl>
                                      </p:cBhvr>
                                    </p:animEffect>
                                  </p:childTnLst>
                                </p:cTn>
                              </p:par>
                              <p:par>
                                <p:cTn id="20" presetID="22" presetClass="entr" presetSubtype="8" fill="hold" nodeType="withEffect">
                                  <p:stCondLst>
                                    <p:cond delay="1000"/>
                                  </p:stCondLst>
                                  <p:childTnLst>
                                    <p:set>
                                      <p:cBhvr>
                                        <p:cTn id="21" dur="1" fill="hold">
                                          <p:stCondLst>
                                            <p:cond delay="0"/>
                                          </p:stCondLst>
                                        </p:cTn>
                                        <p:tgtEl>
                                          <p:spTgt spid="66"/>
                                        </p:tgtEl>
                                        <p:attrNameLst>
                                          <p:attrName>style.visibility</p:attrName>
                                        </p:attrNameLst>
                                      </p:cBhvr>
                                      <p:to>
                                        <p:strVal val="visible"/>
                                      </p:to>
                                    </p:set>
                                    <p:animEffect transition="in" filter="wipe(left)">
                                      <p:cBhvr>
                                        <p:cTn id="22" dur="250"/>
                                        <p:tgtEl>
                                          <p:spTgt spid="66"/>
                                        </p:tgtEl>
                                      </p:cBhvr>
                                    </p:animEffect>
                                  </p:childTnLst>
                                </p:cTn>
                              </p:par>
                              <p:par>
                                <p:cTn id="23" presetID="10" presetClass="entr" presetSubtype="0" fill="hold" grpId="0" nodeType="withEffect">
                                  <p:stCondLst>
                                    <p:cond delay="1250"/>
                                  </p:stCondLst>
                                  <p:childTnLst>
                                    <p:set>
                                      <p:cBhvr>
                                        <p:cTn id="24" dur="1" fill="hold">
                                          <p:stCondLst>
                                            <p:cond delay="0"/>
                                          </p:stCondLst>
                                        </p:cTn>
                                        <p:tgtEl>
                                          <p:spTgt spid="63"/>
                                        </p:tgtEl>
                                        <p:attrNameLst>
                                          <p:attrName>style.visibility</p:attrName>
                                        </p:attrNameLst>
                                      </p:cBhvr>
                                      <p:to>
                                        <p:strVal val="visible"/>
                                      </p:to>
                                    </p:set>
                                    <p:animEffect transition="in" filter="fade">
                                      <p:cBhvr>
                                        <p:cTn id="25" dur="250"/>
                                        <p:tgtEl>
                                          <p:spTgt spid="63"/>
                                        </p:tgtEl>
                                      </p:cBhvr>
                                    </p:animEffect>
                                  </p:childTnLst>
                                </p:cTn>
                              </p:par>
                              <p:par>
                                <p:cTn id="26" presetID="10" presetClass="entr" presetSubtype="0" fill="hold" grpId="0" nodeType="withEffect">
                                  <p:stCondLst>
                                    <p:cond delay="1500"/>
                                  </p:stCondLst>
                                  <p:childTnLst>
                                    <p:set>
                                      <p:cBhvr>
                                        <p:cTn id="27" dur="1" fill="hold">
                                          <p:stCondLst>
                                            <p:cond delay="0"/>
                                          </p:stCondLst>
                                        </p:cTn>
                                        <p:tgtEl>
                                          <p:spTgt spid="58"/>
                                        </p:tgtEl>
                                        <p:attrNameLst>
                                          <p:attrName>style.visibility</p:attrName>
                                        </p:attrNameLst>
                                      </p:cBhvr>
                                      <p:to>
                                        <p:strVal val="visible"/>
                                      </p:to>
                                    </p:set>
                                    <p:animEffect transition="in" filter="fade">
                                      <p:cBhvr>
                                        <p:cTn id="28" dur="250"/>
                                        <p:tgtEl>
                                          <p:spTgt spid="58"/>
                                        </p:tgtEl>
                                      </p:cBhvr>
                                    </p:animEffect>
                                  </p:childTnLst>
                                </p:cTn>
                              </p:par>
                              <p:par>
                                <p:cTn id="29" presetID="22" presetClass="entr" presetSubtype="8" fill="hold" nodeType="withEffect">
                                  <p:stCondLst>
                                    <p:cond delay="1750"/>
                                  </p:stCondLst>
                                  <p:childTnLst>
                                    <p:set>
                                      <p:cBhvr>
                                        <p:cTn id="30" dur="1" fill="hold">
                                          <p:stCondLst>
                                            <p:cond delay="0"/>
                                          </p:stCondLst>
                                        </p:cTn>
                                        <p:tgtEl>
                                          <p:spTgt spid="67"/>
                                        </p:tgtEl>
                                        <p:attrNameLst>
                                          <p:attrName>style.visibility</p:attrName>
                                        </p:attrNameLst>
                                      </p:cBhvr>
                                      <p:to>
                                        <p:strVal val="visible"/>
                                      </p:to>
                                    </p:set>
                                    <p:animEffect transition="in" filter="wipe(left)">
                                      <p:cBhvr>
                                        <p:cTn id="31" dur="250"/>
                                        <p:tgtEl>
                                          <p:spTgt spid="67"/>
                                        </p:tgtEl>
                                      </p:cBhvr>
                                    </p:animEffect>
                                  </p:childTnLst>
                                </p:cTn>
                              </p:par>
                              <p:par>
                                <p:cTn id="32" presetID="10" presetClass="entr" presetSubtype="0" fill="hold" grpId="0" nodeType="withEffect">
                                  <p:stCondLst>
                                    <p:cond delay="2000"/>
                                  </p:stCondLst>
                                  <p:childTnLst>
                                    <p:set>
                                      <p:cBhvr>
                                        <p:cTn id="33" dur="1" fill="hold">
                                          <p:stCondLst>
                                            <p:cond delay="0"/>
                                          </p:stCondLst>
                                        </p:cTn>
                                        <p:tgtEl>
                                          <p:spTgt spid="64"/>
                                        </p:tgtEl>
                                        <p:attrNameLst>
                                          <p:attrName>style.visibility</p:attrName>
                                        </p:attrNameLst>
                                      </p:cBhvr>
                                      <p:to>
                                        <p:strVal val="visible"/>
                                      </p:to>
                                    </p:set>
                                    <p:animEffect transition="in" filter="fade">
                                      <p:cBhvr>
                                        <p:cTn id="34" dur="250"/>
                                        <p:tgtEl>
                                          <p:spTgt spid="64"/>
                                        </p:tgtEl>
                                      </p:cBhvr>
                                    </p:animEffect>
                                  </p:childTnLst>
                                </p:cTn>
                              </p:par>
                              <p:par>
                                <p:cTn id="35" presetID="10" presetClass="entr" presetSubtype="0" fill="hold" grpId="0" nodeType="withEffect">
                                  <p:stCondLst>
                                    <p:cond delay="225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par>
                                <p:cTn id="38" presetID="22" presetClass="entr" presetSubtype="8" fill="hold" nodeType="withEffect">
                                  <p:stCondLst>
                                    <p:cond delay="2500"/>
                                  </p:stCondLst>
                                  <p:childTnLst>
                                    <p:set>
                                      <p:cBhvr>
                                        <p:cTn id="39" dur="1" fill="hold">
                                          <p:stCondLst>
                                            <p:cond delay="0"/>
                                          </p:stCondLst>
                                        </p:cTn>
                                        <p:tgtEl>
                                          <p:spTgt spid="68"/>
                                        </p:tgtEl>
                                        <p:attrNameLst>
                                          <p:attrName>style.visibility</p:attrName>
                                        </p:attrNameLst>
                                      </p:cBhvr>
                                      <p:to>
                                        <p:strVal val="visible"/>
                                      </p:to>
                                    </p:set>
                                    <p:animEffect transition="in" filter="wipe(left)">
                                      <p:cBhvr>
                                        <p:cTn id="40" dur="250"/>
                                        <p:tgtEl>
                                          <p:spTgt spid="68"/>
                                        </p:tgtEl>
                                      </p:cBhvr>
                                    </p:animEffect>
                                  </p:childTnLst>
                                </p:cTn>
                              </p:par>
                              <p:par>
                                <p:cTn id="41" presetID="10" presetClass="entr" presetSubtype="0" fill="hold" grpId="0" nodeType="withEffect">
                                  <p:stCondLst>
                                    <p:cond delay="2750"/>
                                  </p:stCondLst>
                                  <p:childTnLst>
                                    <p:set>
                                      <p:cBhvr>
                                        <p:cTn id="42" dur="1" fill="hold">
                                          <p:stCondLst>
                                            <p:cond delay="0"/>
                                          </p:stCondLst>
                                        </p:cTn>
                                        <p:tgtEl>
                                          <p:spTgt spid="65"/>
                                        </p:tgtEl>
                                        <p:attrNameLst>
                                          <p:attrName>style.visibility</p:attrName>
                                        </p:attrNameLst>
                                      </p:cBhvr>
                                      <p:to>
                                        <p:strVal val="visible"/>
                                      </p:to>
                                    </p:set>
                                    <p:animEffect transition="in" filter="fade">
                                      <p:cBhvr>
                                        <p:cTn id="43" dur="250"/>
                                        <p:tgtEl>
                                          <p:spTgt spid="65"/>
                                        </p:tgtEl>
                                      </p:cBhvr>
                                    </p:animEffect>
                                  </p:childTnLst>
                                </p:cTn>
                              </p:par>
                              <p:par>
                                <p:cTn id="44" presetID="10" presetClass="entr" presetSubtype="0" fill="hold" grpId="0" nodeType="withEffect">
                                  <p:stCondLst>
                                    <p:cond delay="3000"/>
                                  </p:stCondLst>
                                  <p:childTnLst>
                                    <p:set>
                                      <p:cBhvr>
                                        <p:cTn id="45" dur="1" fill="hold">
                                          <p:stCondLst>
                                            <p:cond delay="0"/>
                                          </p:stCondLst>
                                        </p:cTn>
                                        <p:tgtEl>
                                          <p:spTgt spid="60"/>
                                        </p:tgtEl>
                                        <p:attrNameLst>
                                          <p:attrName>style.visibility</p:attrName>
                                        </p:attrNameLst>
                                      </p:cBhvr>
                                      <p:to>
                                        <p:strVal val="visible"/>
                                      </p:to>
                                    </p:set>
                                    <p:animEffect transition="in" filter="fade">
                                      <p:cBhvr>
                                        <p:cTn id="46" dur="250"/>
                                        <p:tgtEl>
                                          <p:spTgt spid="60"/>
                                        </p:tgtEl>
                                      </p:cBhvr>
                                    </p:animEffect>
                                  </p:childTnLst>
                                </p:cTn>
                              </p:par>
                              <p:par>
                                <p:cTn id="47" presetID="10" presetClass="entr" presetSubtype="0" fill="hold" grpId="0" nodeType="withEffect">
                                  <p:stCondLst>
                                    <p:cond delay="3000"/>
                                  </p:stCondLst>
                                  <p:childTnLst>
                                    <p:set>
                                      <p:cBhvr>
                                        <p:cTn id="48" dur="1" fill="hold">
                                          <p:stCondLst>
                                            <p:cond delay="0"/>
                                          </p:stCondLst>
                                        </p:cTn>
                                        <p:tgtEl>
                                          <p:spTgt spid="69"/>
                                        </p:tgtEl>
                                        <p:attrNameLst>
                                          <p:attrName>style.visibility</p:attrName>
                                        </p:attrNameLst>
                                      </p:cBhvr>
                                      <p:to>
                                        <p:strVal val="visible"/>
                                      </p:to>
                                    </p:set>
                                    <p:animEffect transition="in" filter="fade">
                                      <p:cBhvr>
                                        <p:cTn id="49" dur="250"/>
                                        <p:tgtEl>
                                          <p:spTgt spid="69"/>
                                        </p:tgtEl>
                                      </p:cBhvr>
                                    </p:animEffect>
                                  </p:childTnLst>
                                </p:cTn>
                              </p:par>
                              <p:par>
                                <p:cTn id="50" presetID="10" presetClass="entr" presetSubtype="0" fill="hold" nodeType="withEffect">
                                  <p:stCondLst>
                                    <p:cond delay="1450"/>
                                  </p:stCondLst>
                                  <p:childTnLst>
                                    <p:set>
                                      <p:cBhvr>
                                        <p:cTn id="51" dur="1" fill="hold">
                                          <p:stCondLst>
                                            <p:cond delay="0"/>
                                          </p:stCondLst>
                                        </p:cTn>
                                        <p:tgtEl>
                                          <p:spTgt spid="77"/>
                                        </p:tgtEl>
                                        <p:attrNameLst>
                                          <p:attrName>style.visibility</p:attrName>
                                        </p:attrNameLst>
                                      </p:cBhvr>
                                      <p:to>
                                        <p:strVal val="visible"/>
                                      </p:to>
                                    </p:set>
                                    <p:animEffect transition="in" filter="fade">
                                      <p:cBhvr>
                                        <p:cTn id="52" dur="250"/>
                                        <p:tgtEl>
                                          <p:spTgt spid="77"/>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82"/>
                                        </p:tgtEl>
                                        <p:attrNameLst>
                                          <p:attrName>style.visibility</p:attrName>
                                        </p:attrNameLst>
                                      </p:cBhvr>
                                      <p:to>
                                        <p:strVal val="visible"/>
                                      </p:to>
                                    </p:set>
                                    <p:animEffect transition="in" filter="fade">
                                      <p:cBhvr>
                                        <p:cTn id="55" dur="300"/>
                                        <p:tgtEl>
                                          <p:spTgt spid="82"/>
                                        </p:tgtEl>
                                      </p:cBhvr>
                                    </p:animEffect>
                                  </p:childTnLst>
                                </p:cTn>
                              </p:par>
                              <p:par>
                                <p:cTn id="56" presetID="10" presetClass="entr" presetSubtype="0" fill="hold" nodeType="withEffect">
                                  <p:stCondLst>
                                    <p:cond delay="1200"/>
                                  </p:stCondLst>
                                  <p:childTnLst>
                                    <p:set>
                                      <p:cBhvr>
                                        <p:cTn id="57" dur="1" fill="hold">
                                          <p:stCondLst>
                                            <p:cond delay="0"/>
                                          </p:stCondLst>
                                        </p:cTn>
                                        <p:tgtEl>
                                          <p:spTgt spid="83"/>
                                        </p:tgtEl>
                                        <p:attrNameLst>
                                          <p:attrName>style.visibility</p:attrName>
                                        </p:attrNameLst>
                                      </p:cBhvr>
                                      <p:to>
                                        <p:strVal val="visible"/>
                                      </p:to>
                                    </p:set>
                                    <p:animEffect transition="in" filter="fade">
                                      <p:cBhvr>
                                        <p:cTn id="58" dur="500"/>
                                        <p:tgtEl>
                                          <p:spTgt spid="83"/>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85"/>
                                        </p:tgtEl>
                                        <p:attrNameLst>
                                          <p:attrName>style.visibility</p:attrName>
                                        </p:attrNameLst>
                                      </p:cBhvr>
                                      <p:to>
                                        <p:strVal val="visible"/>
                                      </p:to>
                                    </p:set>
                                    <p:animEffect transition="in" filter="fade">
                                      <p:cBhvr>
                                        <p:cTn id="61" dur="3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7" grpId="0"/>
      <p:bldP spid="58" grpId="0"/>
      <p:bldP spid="59" grpId="0"/>
      <p:bldP spid="60" grpId="0"/>
      <p:bldP spid="61" grpId="0" animBg="1"/>
      <p:bldP spid="62" grpId="0" animBg="1"/>
      <p:bldP spid="63" grpId="0" animBg="1"/>
      <p:bldP spid="65" grpId="0" animBg="1"/>
      <p:bldP spid="69" grpId="0"/>
      <p:bldP spid="64" grpId="0" animBg="1"/>
      <p:bldP spid="82" grpId="0" animBg="1"/>
      <p:bldP spid="8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BDEB2E7-FB52-4540-BC4D-B7F5866F3995}"/>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F1D35606-810C-45F6-8BEC-4737324E6158}"/>
              </a:ext>
            </a:extLst>
          </p:cNvPr>
          <p:cNvSpPr>
            <a:spLocks noGrp="1"/>
          </p:cNvSpPr>
          <p:nvPr>
            <p:ph type="title"/>
          </p:nvPr>
        </p:nvSpPr>
        <p:spPr/>
        <p:txBody>
          <a:bodyPr/>
          <a:lstStyle/>
          <a:p>
            <a:r>
              <a:rPr lang="en-GB" dirty="0"/>
              <a:t>Variable frequency</a:t>
            </a:r>
          </a:p>
        </p:txBody>
      </p:sp>
      <p:sp>
        <p:nvSpPr>
          <p:cNvPr id="4" name="Content Placeholder 3">
            <a:extLst>
              <a:ext uri="{FF2B5EF4-FFF2-40B4-BE49-F238E27FC236}">
                <a16:creationId xmlns:a16="http://schemas.microsoft.com/office/drawing/2014/main" id="{17A83E5A-52E2-4A9E-94ED-DEDCD8F0DB31}"/>
              </a:ext>
            </a:extLst>
          </p:cNvPr>
          <p:cNvSpPr>
            <a:spLocks noGrp="1"/>
          </p:cNvSpPr>
          <p:nvPr>
            <p:ph idx="1"/>
          </p:nvPr>
        </p:nvSpPr>
        <p:spPr>
          <a:xfrm>
            <a:off x="838200" y="1245542"/>
            <a:ext cx="10515600" cy="1323487"/>
          </a:xfrm>
        </p:spPr>
        <p:txBody>
          <a:bodyPr/>
          <a:lstStyle/>
          <a:p>
            <a:pPr marL="457200" indent="-457200">
              <a:buFont typeface="Arial" panose="020B0604020202020204" pitchFamily="34" charset="0"/>
              <a:buChar char="•"/>
            </a:pPr>
            <a:r>
              <a:rPr lang="en-GB" dirty="0">
                <a:solidFill>
                  <a:schemeClr val="accent1"/>
                </a:solidFill>
              </a:rPr>
              <a:t>Certain variables are wave specific</a:t>
            </a:r>
          </a:p>
          <a:p>
            <a:pPr marL="457200" indent="-457200">
              <a:buFont typeface="Arial" panose="020B0604020202020204" pitchFamily="34" charset="0"/>
              <a:buChar char="•"/>
            </a:pPr>
            <a:r>
              <a:rPr lang="en-GB" dirty="0">
                <a:solidFill>
                  <a:schemeClr val="accent1"/>
                </a:solidFill>
              </a:rPr>
              <a:t>Others are quarter specific</a:t>
            </a:r>
          </a:p>
          <a:p>
            <a:endParaRPr lang="en-GB" dirty="0"/>
          </a:p>
        </p:txBody>
      </p:sp>
      <p:pic>
        <p:nvPicPr>
          <p:cNvPr id="5" name="Picture 5">
            <a:extLst>
              <a:ext uri="{FF2B5EF4-FFF2-40B4-BE49-F238E27FC236}">
                <a16:creationId xmlns:a16="http://schemas.microsoft.com/office/drawing/2014/main" id="{F2727EF7-4114-436E-807E-A4DAD5B23CEB}"/>
              </a:ext>
            </a:extLst>
          </p:cNvPr>
          <p:cNvPicPr>
            <a:picLocks noChangeAspect="1" noChangeArrowheads="1"/>
          </p:cNvPicPr>
          <p:nvPr/>
        </p:nvPicPr>
        <p:blipFill>
          <a:blip r:embed="rId2" cstate="print"/>
          <a:srcRect/>
          <a:stretch>
            <a:fillRect/>
          </a:stretch>
        </p:blipFill>
        <p:spPr bwMode="auto">
          <a:xfrm>
            <a:off x="651722" y="2407793"/>
            <a:ext cx="7570154" cy="2545251"/>
          </a:xfrm>
          <a:prstGeom prst="rect">
            <a:avLst/>
          </a:prstGeom>
          <a:noFill/>
          <a:ln w="9525" cap="flat" cmpd="sng">
            <a:noFill/>
            <a:prstDash val="solid"/>
            <a:miter lim="800000"/>
            <a:headEnd/>
            <a:tailEnd/>
          </a:ln>
        </p:spPr>
      </p:pic>
      <p:pic>
        <p:nvPicPr>
          <p:cNvPr id="6" name="Picture 6">
            <a:extLst>
              <a:ext uri="{FF2B5EF4-FFF2-40B4-BE49-F238E27FC236}">
                <a16:creationId xmlns:a16="http://schemas.microsoft.com/office/drawing/2014/main" id="{BB2748F9-8465-434A-89F6-BD6433547A5A}"/>
              </a:ext>
            </a:extLst>
          </p:cNvPr>
          <p:cNvPicPr>
            <a:picLocks noChangeAspect="1" noChangeArrowheads="1"/>
          </p:cNvPicPr>
          <p:nvPr/>
        </p:nvPicPr>
        <p:blipFill>
          <a:blip r:embed="rId3" cstate="print"/>
          <a:srcRect/>
          <a:stretch>
            <a:fillRect/>
          </a:stretch>
        </p:blipFill>
        <p:spPr bwMode="auto">
          <a:xfrm>
            <a:off x="2625664" y="3791349"/>
            <a:ext cx="8623575" cy="2511427"/>
          </a:xfrm>
          <a:prstGeom prst="rect">
            <a:avLst/>
          </a:prstGeom>
          <a:noFill/>
          <a:ln w="9525" cap="flat" cmpd="sng">
            <a:noFill/>
            <a:prstDash val="solid"/>
            <a:miter lim="800000"/>
            <a:headEnd/>
            <a:tailEnd/>
          </a:ln>
        </p:spPr>
      </p:pic>
      <p:sp>
        <p:nvSpPr>
          <p:cNvPr id="14" name="Oval 13">
            <a:extLst>
              <a:ext uri="{FF2B5EF4-FFF2-40B4-BE49-F238E27FC236}">
                <a16:creationId xmlns:a16="http://schemas.microsoft.com/office/drawing/2014/main" id="{DA6C9A15-6F49-49BB-85FE-347308129407}"/>
              </a:ext>
            </a:extLst>
          </p:cNvPr>
          <p:cNvSpPr/>
          <p:nvPr/>
        </p:nvSpPr>
        <p:spPr>
          <a:xfrm>
            <a:off x="7170057" y="2421619"/>
            <a:ext cx="1238297" cy="1000458"/>
          </a:xfrm>
          <a:prstGeom prst="ellipse">
            <a:avLst/>
          </a:prstGeom>
          <a:noFill/>
          <a:ln w="88900">
            <a:solidFill>
              <a:srgbClr val="A8BD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Oval 14">
            <a:extLst>
              <a:ext uri="{FF2B5EF4-FFF2-40B4-BE49-F238E27FC236}">
                <a16:creationId xmlns:a16="http://schemas.microsoft.com/office/drawing/2014/main" id="{22EDA3B9-E8B9-4C8B-B39D-124CA27C176A}"/>
              </a:ext>
            </a:extLst>
          </p:cNvPr>
          <p:cNvSpPr/>
          <p:nvPr/>
        </p:nvSpPr>
        <p:spPr>
          <a:xfrm>
            <a:off x="10301981" y="3815470"/>
            <a:ext cx="1238297" cy="1000458"/>
          </a:xfrm>
          <a:prstGeom prst="ellipse">
            <a:avLst/>
          </a:prstGeom>
          <a:noFill/>
          <a:ln w="88900">
            <a:solidFill>
              <a:srgbClr val="A8BD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6727470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505EA8A-25F4-4D5D-BA1D-EF59C0F7EE2B}"/>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8EC20EC6-33E8-4F4D-B1A6-178F55F7A189}"/>
              </a:ext>
            </a:extLst>
          </p:cNvPr>
          <p:cNvSpPr>
            <a:spLocks noGrp="1"/>
          </p:cNvSpPr>
          <p:nvPr>
            <p:ph type="title"/>
          </p:nvPr>
        </p:nvSpPr>
        <p:spPr>
          <a:xfrm>
            <a:off x="838200" y="598583"/>
            <a:ext cx="10515600" cy="467820"/>
          </a:xfrm>
        </p:spPr>
        <p:txBody>
          <a:bodyPr/>
          <a:lstStyle/>
          <a:p>
            <a:r>
              <a:rPr lang="en-GB" dirty="0"/>
              <a:t>Data quality at point of collection (1)</a:t>
            </a:r>
          </a:p>
        </p:txBody>
      </p:sp>
      <p:sp>
        <p:nvSpPr>
          <p:cNvPr id="4" name="Content Placeholder 3">
            <a:extLst>
              <a:ext uri="{FF2B5EF4-FFF2-40B4-BE49-F238E27FC236}">
                <a16:creationId xmlns:a16="http://schemas.microsoft.com/office/drawing/2014/main" id="{F6FFB11C-9517-4CF4-9EBC-143173AE1A51}"/>
              </a:ext>
            </a:extLst>
          </p:cNvPr>
          <p:cNvSpPr>
            <a:spLocks noGrp="1"/>
          </p:cNvSpPr>
          <p:nvPr>
            <p:ph idx="1"/>
          </p:nvPr>
        </p:nvSpPr>
        <p:spPr>
          <a:xfrm>
            <a:off x="838200" y="1245542"/>
            <a:ext cx="10515600" cy="1134799"/>
          </a:xfrm>
        </p:spPr>
        <p:txBody>
          <a:bodyPr/>
          <a:lstStyle/>
          <a:p>
            <a:r>
              <a:rPr lang="en-GB" dirty="0"/>
              <a:t>We provide showcards for questions such as nationality, ethnicity and sex ID</a:t>
            </a:r>
          </a:p>
        </p:txBody>
      </p:sp>
      <p:pic>
        <p:nvPicPr>
          <p:cNvPr id="5" name="Picture 3">
            <a:extLst>
              <a:ext uri="{FF2B5EF4-FFF2-40B4-BE49-F238E27FC236}">
                <a16:creationId xmlns:a16="http://schemas.microsoft.com/office/drawing/2014/main" id="{456A1A99-2125-4CB2-B497-0EE68F03EA0D}"/>
              </a:ext>
            </a:extLst>
          </p:cNvPr>
          <p:cNvPicPr>
            <a:picLocks noChangeAspect="1" noChangeArrowheads="1"/>
          </p:cNvPicPr>
          <p:nvPr/>
        </p:nvPicPr>
        <p:blipFill>
          <a:blip r:embed="rId3" cstate="print"/>
          <a:srcRect/>
          <a:stretch>
            <a:fillRect/>
          </a:stretch>
        </p:blipFill>
        <p:spPr bwMode="auto">
          <a:xfrm>
            <a:off x="838200" y="2559480"/>
            <a:ext cx="9523094" cy="2767263"/>
          </a:xfrm>
          <a:prstGeom prst="rect">
            <a:avLst/>
          </a:prstGeom>
          <a:noFill/>
          <a:ln w="9525">
            <a:noFill/>
            <a:miter lim="800000"/>
            <a:headEnd/>
            <a:tailEnd/>
          </a:ln>
        </p:spPr>
      </p:pic>
    </p:spTree>
    <p:extLst>
      <p:ext uri="{BB962C8B-B14F-4D97-AF65-F5344CB8AC3E}">
        <p14:creationId xmlns:p14="http://schemas.microsoft.com/office/powerpoint/2010/main" val="10558544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644F89F-4398-4BDB-AFEC-FC111D288530}"/>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A367F7EE-C220-4E40-AA67-72F345D665B3}"/>
              </a:ext>
            </a:extLst>
          </p:cNvPr>
          <p:cNvSpPr>
            <a:spLocks noGrp="1"/>
          </p:cNvSpPr>
          <p:nvPr>
            <p:ph type="title"/>
          </p:nvPr>
        </p:nvSpPr>
        <p:spPr/>
        <p:txBody>
          <a:bodyPr/>
          <a:lstStyle/>
          <a:p>
            <a:r>
              <a:rPr lang="en-GB" dirty="0"/>
              <a:t>Data quality at point of collection (2) – Soft checks</a:t>
            </a:r>
          </a:p>
        </p:txBody>
      </p:sp>
      <p:pic>
        <p:nvPicPr>
          <p:cNvPr id="6" name="Picture 5">
            <a:extLst>
              <a:ext uri="{FF2B5EF4-FFF2-40B4-BE49-F238E27FC236}">
                <a16:creationId xmlns:a16="http://schemas.microsoft.com/office/drawing/2014/main" id="{67EBCA48-B505-472C-BA54-A00E61CE0324}"/>
              </a:ext>
            </a:extLst>
          </p:cNvPr>
          <p:cNvPicPr/>
          <p:nvPr/>
        </p:nvPicPr>
        <p:blipFill rotWithShape="1">
          <a:blip r:embed="rId3" cstate="print">
            <a:extLst>
              <a:ext uri="{28A0092B-C50C-407E-A947-70E740481C1C}">
                <a14:useLocalDpi xmlns:a14="http://schemas.microsoft.com/office/drawing/2010/main" val="0"/>
              </a:ext>
            </a:extLst>
          </a:blip>
          <a:srcRect t="3125" r="45479" b="23709"/>
          <a:stretch/>
        </p:blipFill>
        <p:spPr bwMode="auto">
          <a:xfrm>
            <a:off x="838199" y="1308100"/>
            <a:ext cx="10243457" cy="4417786"/>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898593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644F89F-4398-4BDB-AFEC-FC111D288530}"/>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A367F7EE-C220-4E40-AA67-72F345D665B3}"/>
              </a:ext>
            </a:extLst>
          </p:cNvPr>
          <p:cNvSpPr>
            <a:spLocks noGrp="1"/>
          </p:cNvSpPr>
          <p:nvPr>
            <p:ph type="title"/>
          </p:nvPr>
        </p:nvSpPr>
        <p:spPr/>
        <p:txBody>
          <a:bodyPr/>
          <a:lstStyle/>
          <a:p>
            <a:r>
              <a:rPr lang="en-GB" dirty="0"/>
              <a:t>Data quality at point of collection (3) – Hard checks</a:t>
            </a:r>
          </a:p>
        </p:txBody>
      </p:sp>
      <p:pic>
        <p:nvPicPr>
          <p:cNvPr id="5" name="Picture 4">
            <a:extLst>
              <a:ext uri="{FF2B5EF4-FFF2-40B4-BE49-F238E27FC236}">
                <a16:creationId xmlns:a16="http://schemas.microsoft.com/office/drawing/2014/main" id="{6AD46AD9-367A-4D52-9519-2BAD4A7AADE6}"/>
              </a:ext>
            </a:extLst>
          </p:cNvPr>
          <p:cNvPicPr/>
          <p:nvPr/>
        </p:nvPicPr>
        <p:blipFill rotWithShape="1">
          <a:blip r:embed="rId3" cstate="print">
            <a:extLst>
              <a:ext uri="{28A0092B-C50C-407E-A947-70E740481C1C}">
                <a14:useLocalDpi xmlns:a14="http://schemas.microsoft.com/office/drawing/2010/main" val="0"/>
              </a:ext>
            </a:extLst>
          </a:blip>
          <a:srcRect l="-1" t="2246" r="43735" b="23023"/>
          <a:stretch/>
        </p:blipFill>
        <p:spPr bwMode="auto">
          <a:xfrm>
            <a:off x="838200" y="1186543"/>
            <a:ext cx="10091057" cy="4669971"/>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7941928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AF343542-6791-924E-AAFE-CFEF2B13E673}"/>
              </a:ext>
            </a:extLst>
          </p:cNvPr>
          <p:cNvSpPr>
            <a:spLocks noGrp="1"/>
          </p:cNvSpPr>
          <p:nvPr>
            <p:ph type="ftr" sz="quarter" idx="3"/>
          </p:nvPr>
        </p:nvSpPr>
        <p:spPr/>
        <p:txBody>
          <a:bodyPr/>
          <a:lstStyle/>
          <a:p>
            <a:endParaRPr lang="en-US" dirty="0"/>
          </a:p>
        </p:txBody>
      </p:sp>
      <p:sp>
        <p:nvSpPr>
          <p:cNvPr id="4" name="Title">
            <a:extLst>
              <a:ext uri="{FF2B5EF4-FFF2-40B4-BE49-F238E27FC236}">
                <a16:creationId xmlns:a16="http://schemas.microsoft.com/office/drawing/2014/main" id="{ED4390C0-1B50-704F-8CD0-89F552C8588B}"/>
              </a:ext>
            </a:extLst>
          </p:cNvPr>
          <p:cNvSpPr>
            <a:spLocks noGrp="1"/>
          </p:cNvSpPr>
          <p:nvPr>
            <p:ph type="title"/>
          </p:nvPr>
        </p:nvSpPr>
        <p:spPr>
          <a:xfrm>
            <a:off x="838200" y="1659722"/>
            <a:ext cx="10515600" cy="2894639"/>
          </a:xfrm>
        </p:spPr>
        <p:txBody>
          <a:bodyPr/>
          <a:lstStyle/>
          <a:p>
            <a:r>
              <a:rPr lang="en-US" sz="6600" dirty="0"/>
              <a:t>Changes to the LFS/APS since the start of the pandemic</a:t>
            </a:r>
          </a:p>
        </p:txBody>
      </p:sp>
      <p:sp>
        <p:nvSpPr>
          <p:cNvPr id="3" name="Subtitle">
            <a:extLst>
              <a:ext uri="{FF2B5EF4-FFF2-40B4-BE49-F238E27FC236}">
                <a16:creationId xmlns:a16="http://schemas.microsoft.com/office/drawing/2014/main" id="{FBCFB149-5F2A-EE4E-AC0D-CB8774F6822D}"/>
              </a:ext>
            </a:extLst>
          </p:cNvPr>
          <p:cNvSpPr>
            <a:spLocks noGrp="1"/>
          </p:cNvSpPr>
          <p:nvPr>
            <p:ph type="subTitle" idx="1"/>
          </p:nvPr>
        </p:nvSpPr>
        <p:spPr>
          <a:xfrm>
            <a:off x="838200" y="4554360"/>
            <a:ext cx="10515600" cy="1018273"/>
          </a:xfrm>
        </p:spPr>
        <p:txBody>
          <a:bodyPr/>
          <a:lstStyle/>
          <a:p>
            <a:endParaRPr lang="en-US" dirty="0"/>
          </a:p>
        </p:txBody>
      </p:sp>
      <p:pic>
        <p:nvPicPr>
          <p:cNvPr id="6" name="Audio 5">
            <a:hlinkClick r:id="" action="ppaction://media"/>
            <a:extLst>
              <a:ext uri="{FF2B5EF4-FFF2-40B4-BE49-F238E27FC236}">
                <a16:creationId xmlns:a16="http://schemas.microsoft.com/office/drawing/2014/main" id="{434E362A-E485-4CA1-8F74-F123E01E6DD9}"/>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69700" y="6235700"/>
            <a:ext cx="406400" cy="406400"/>
          </a:xfrm>
          <a:prstGeom prst="rect">
            <a:avLst/>
          </a:prstGeom>
        </p:spPr>
      </p:pic>
    </p:spTree>
    <p:extLst>
      <p:ext uri="{BB962C8B-B14F-4D97-AF65-F5344CB8AC3E}">
        <p14:creationId xmlns:p14="http://schemas.microsoft.com/office/powerpoint/2010/main" val="93562486"/>
      </p:ext>
    </p:extLst>
  </p:cSld>
  <p:clrMapOvr>
    <a:masterClrMapping/>
  </p:clrMapOvr>
  <mc:AlternateContent xmlns:mc="http://schemas.openxmlformats.org/markup-compatibility/2006" xmlns:p14="http://schemas.microsoft.com/office/powerpoint/2010/main">
    <mc:Choice Requires="p14">
      <p:transition spd="slow" p14:dur="2000" advTm="6909"/>
    </mc:Choice>
    <mc:Fallback xmlns="">
      <p:transition spd="slow" advTm="690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B8149AD-E46D-4F0B-9E2D-8806CEFECBC4}"/>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15E1A55B-DC4E-40EF-A3E5-CBF4ACB495FD}"/>
              </a:ext>
            </a:extLst>
          </p:cNvPr>
          <p:cNvSpPr>
            <a:spLocks noGrp="1"/>
          </p:cNvSpPr>
          <p:nvPr>
            <p:ph type="title"/>
          </p:nvPr>
        </p:nvSpPr>
        <p:spPr/>
        <p:txBody>
          <a:bodyPr/>
          <a:lstStyle/>
          <a:p>
            <a:r>
              <a:rPr lang="en-GB" dirty="0"/>
              <a:t>Timeline of events</a:t>
            </a:r>
          </a:p>
        </p:txBody>
      </p:sp>
      <p:sp>
        <p:nvSpPr>
          <p:cNvPr id="5" name="Arrow: Right 4">
            <a:extLst>
              <a:ext uri="{FF2B5EF4-FFF2-40B4-BE49-F238E27FC236}">
                <a16:creationId xmlns:a16="http://schemas.microsoft.com/office/drawing/2014/main" id="{CFE5F7A2-1ECF-4795-882F-9FA68258B8FB}"/>
              </a:ext>
            </a:extLst>
          </p:cNvPr>
          <p:cNvSpPr/>
          <p:nvPr/>
        </p:nvSpPr>
        <p:spPr>
          <a:xfrm>
            <a:off x="712922" y="2758693"/>
            <a:ext cx="11096786" cy="1394848"/>
          </a:xfrm>
          <a:prstGeom prst="rightArrow">
            <a:avLst/>
          </a:prstGeom>
          <a:gradFill flip="none" rotWithShape="1">
            <a:gsLst>
              <a:gs pos="0">
                <a:schemeClr val="accent4">
                  <a:lumMod val="40000"/>
                  <a:lumOff val="60000"/>
                </a:schemeClr>
              </a:gs>
              <a:gs pos="74000">
                <a:schemeClr val="accent1">
                  <a:lumMod val="45000"/>
                  <a:lumOff val="55000"/>
                </a:schemeClr>
              </a:gs>
              <a:gs pos="83000">
                <a:schemeClr val="accent1">
                  <a:lumMod val="45000"/>
                  <a:lumOff val="55000"/>
                </a:schemeClr>
              </a:gs>
              <a:gs pos="100000">
                <a:schemeClr val="accent1">
                  <a:lumMod val="75000"/>
                  <a:lumOff val="25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a:extLst>
              <a:ext uri="{FF2B5EF4-FFF2-40B4-BE49-F238E27FC236}">
                <a16:creationId xmlns:a16="http://schemas.microsoft.com/office/drawing/2014/main" id="{7717CD9E-0FF6-45FF-BE51-A53D6EA0BA4D}"/>
              </a:ext>
            </a:extLst>
          </p:cNvPr>
          <p:cNvGrpSpPr/>
          <p:nvPr/>
        </p:nvGrpSpPr>
        <p:grpSpPr>
          <a:xfrm>
            <a:off x="539857" y="3099656"/>
            <a:ext cx="2138767" cy="2764717"/>
            <a:chOff x="539857" y="3099656"/>
            <a:chExt cx="2138767" cy="2764717"/>
          </a:xfrm>
        </p:grpSpPr>
        <p:cxnSp>
          <p:nvCxnSpPr>
            <p:cNvPr id="7" name="Straight Arrow Connector 6">
              <a:extLst>
                <a:ext uri="{FF2B5EF4-FFF2-40B4-BE49-F238E27FC236}">
                  <a16:creationId xmlns:a16="http://schemas.microsoft.com/office/drawing/2014/main" id="{CEE08C3B-0355-4211-BFA8-9AD0D09C2C90}"/>
                </a:ext>
              </a:extLst>
            </p:cNvPr>
            <p:cNvCxnSpPr/>
            <p:nvPr/>
          </p:nvCxnSpPr>
          <p:spPr>
            <a:xfrm>
              <a:off x="1084881" y="3099656"/>
              <a:ext cx="0" cy="1487837"/>
            </a:xfrm>
            <a:prstGeom prst="straightConnector1">
              <a:avLst/>
            </a:prstGeom>
            <a:ln w="44450">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EA9B317-90C4-4843-9CCB-7EAACDD29E5C}"/>
                </a:ext>
              </a:extLst>
            </p:cNvPr>
            <p:cNvSpPr txBox="1"/>
            <p:nvPr/>
          </p:nvSpPr>
          <p:spPr>
            <a:xfrm>
              <a:off x="539857" y="4664044"/>
              <a:ext cx="2138767" cy="1200329"/>
            </a:xfrm>
            <a:prstGeom prst="rect">
              <a:avLst/>
            </a:prstGeom>
          </p:spPr>
          <p:txBody>
            <a:bodyPr vert="horz" wrap="square" lIns="0" tIns="45720" rIns="91440" bIns="45720" rtlCol="0" anchor="b" anchorCtr="0">
              <a:spAutoFit/>
            </a:bodyPr>
            <a:lstStyle/>
            <a:p>
              <a:pPr algn="l"/>
              <a:r>
                <a:rPr lang="en-GB" dirty="0">
                  <a:solidFill>
                    <a:srgbClr val="183E56"/>
                  </a:solidFill>
                  <a:latin typeface="Arial" panose="020B0604020202020204" pitchFamily="34" charset="0"/>
                  <a:cs typeface="Arial" panose="020B0604020202020204" pitchFamily="34" charset="0"/>
                </a:rPr>
                <a:t>09/03 </a:t>
              </a:r>
              <a:br>
                <a:rPr lang="en-GB" dirty="0">
                  <a:solidFill>
                    <a:srgbClr val="183E56"/>
                  </a:solidFill>
                  <a:latin typeface="Arial" panose="020B0604020202020204" pitchFamily="34" charset="0"/>
                  <a:cs typeface="Arial" panose="020B0604020202020204" pitchFamily="34" charset="0"/>
                </a:rPr>
              </a:br>
              <a:r>
                <a:rPr lang="en-GB" dirty="0">
                  <a:solidFill>
                    <a:srgbClr val="183E56"/>
                  </a:solidFill>
                  <a:latin typeface="Arial" panose="020B0604020202020204" pitchFamily="34" charset="0"/>
                  <a:cs typeface="Arial" panose="020B0604020202020204" pitchFamily="34" charset="0"/>
                </a:rPr>
                <a:t>Public awareness starts affecting survey participation</a:t>
              </a:r>
            </a:p>
          </p:txBody>
        </p:sp>
      </p:grpSp>
      <p:grpSp>
        <p:nvGrpSpPr>
          <p:cNvPr id="6" name="Group 5">
            <a:extLst>
              <a:ext uri="{FF2B5EF4-FFF2-40B4-BE49-F238E27FC236}">
                <a16:creationId xmlns:a16="http://schemas.microsoft.com/office/drawing/2014/main" id="{F8429137-C975-4F76-95E9-97F1A5752CA3}"/>
              </a:ext>
            </a:extLst>
          </p:cNvPr>
          <p:cNvGrpSpPr/>
          <p:nvPr/>
        </p:nvGrpSpPr>
        <p:grpSpPr>
          <a:xfrm>
            <a:off x="1177862" y="1478901"/>
            <a:ext cx="2138767" cy="2316887"/>
            <a:chOff x="1177862" y="1478901"/>
            <a:chExt cx="2138767" cy="2316887"/>
          </a:xfrm>
        </p:grpSpPr>
        <p:cxnSp>
          <p:nvCxnSpPr>
            <p:cNvPr id="9" name="Straight Arrow Connector 8">
              <a:extLst>
                <a:ext uri="{FF2B5EF4-FFF2-40B4-BE49-F238E27FC236}">
                  <a16:creationId xmlns:a16="http://schemas.microsoft.com/office/drawing/2014/main" id="{5DE69BD6-E671-4AB5-85EF-AEA50A435461}"/>
                </a:ext>
              </a:extLst>
            </p:cNvPr>
            <p:cNvCxnSpPr>
              <a:cxnSpLocks/>
            </p:cNvCxnSpPr>
            <p:nvPr/>
          </p:nvCxnSpPr>
          <p:spPr>
            <a:xfrm flipV="1">
              <a:off x="1934705" y="2403523"/>
              <a:ext cx="0" cy="1392265"/>
            </a:xfrm>
            <a:prstGeom prst="straightConnector1">
              <a:avLst/>
            </a:prstGeom>
            <a:ln w="44450">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87C4CAA2-1184-4B59-87EE-979B25A65618}"/>
                </a:ext>
              </a:extLst>
            </p:cNvPr>
            <p:cNvSpPr txBox="1"/>
            <p:nvPr/>
          </p:nvSpPr>
          <p:spPr>
            <a:xfrm>
              <a:off x="1177862" y="1478901"/>
              <a:ext cx="2138767" cy="923330"/>
            </a:xfrm>
            <a:prstGeom prst="rect">
              <a:avLst/>
            </a:prstGeom>
          </p:spPr>
          <p:txBody>
            <a:bodyPr vert="horz" wrap="square" lIns="0" tIns="45720" rIns="91440" bIns="45720" rtlCol="0" anchor="b" anchorCtr="0">
              <a:spAutoFit/>
            </a:bodyPr>
            <a:lstStyle/>
            <a:p>
              <a:pPr algn="l"/>
              <a:r>
                <a:rPr lang="en-GB" dirty="0">
                  <a:solidFill>
                    <a:srgbClr val="183E56"/>
                  </a:solidFill>
                  <a:latin typeface="Arial" panose="020B0604020202020204" pitchFamily="34" charset="0"/>
                  <a:cs typeface="Arial" panose="020B0604020202020204" pitchFamily="34" charset="0"/>
                </a:rPr>
                <a:t>17/03 </a:t>
              </a:r>
              <a:br>
                <a:rPr lang="en-GB" dirty="0">
                  <a:solidFill>
                    <a:srgbClr val="183E56"/>
                  </a:solidFill>
                  <a:latin typeface="Arial" panose="020B0604020202020204" pitchFamily="34" charset="0"/>
                  <a:cs typeface="Arial" panose="020B0604020202020204" pitchFamily="34" charset="0"/>
                </a:rPr>
              </a:br>
              <a:r>
                <a:rPr lang="en-GB" dirty="0">
                  <a:solidFill>
                    <a:srgbClr val="183E56"/>
                  </a:solidFill>
                  <a:latin typeface="Arial" panose="020B0604020202020204" pitchFamily="34" charset="0"/>
                  <a:cs typeface="Arial" panose="020B0604020202020204" pitchFamily="34" charset="0"/>
                </a:rPr>
                <a:t>F2F data collection suspended</a:t>
              </a:r>
            </a:p>
          </p:txBody>
        </p:sp>
      </p:grpSp>
      <p:grpSp>
        <p:nvGrpSpPr>
          <p:cNvPr id="10" name="Group 9">
            <a:extLst>
              <a:ext uri="{FF2B5EF4-FFF2-40B4-BE49-F238E27FC236}">
                <a16:creationId xmlns:a16="http://schemas.microsoft.com/office/drawing/2014/main" id="{B6737F98-FA94-4673-B9DC-CB2889674035}"/>
              </a:ext>
            </a:extLst>
          </p:cNvPr>
          <p:cNvGrpSpPr/>
          <p:nvPr/>
        </p:nvGrpSpPr>
        <p:grpSpPr>
          <a:xfrm>
            <a:off x="2678625" y="3099656"/>
            <a:ext cx="1660900" cy="2564224"/>
            <a:chOff x="2678625" y="3099656"/>
            <a:chExt cx="1660900" cy="2564224"/>
          </a:xfrm>
        </p:grpSpPr>
        <p:cxnSp>
          <p:nvCxnSpPr>
            <p:cNvPr id="13" name="Straight Arrow Connector 12">
              <a:extLst>
                <a:ext uri="{FF2B5EF4-FFF2-40B4-BE49-F238E27FC236}">
                  <a16:creationId xmlns:a16="http://schemas.microsoft.com/office/drawing/2014/main" id="{1DFFA057-F52F-40C9-9D6C-BDB4931DBA8D}"/>
                </a:ext>
              </a:extLst>
            </p:cNvPr>
            <p:cNvCxnSpPr/>
            <p:nvPr/>
          </p:nvCxnSpPr>
          <p:spPr>
            <a:xfrm>
              <a:off x="2880102" y="3099656"/>
              <a:ext cx="0" cy="1487837"/>
            </a:xfrm>
            <a:prstGeom prst="straightConnector1">
              <a:avLst/>
            </a:prstGeom>
            <a:ln w="44450">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E1F7569-DE26-4D1F-9C3E-560909807C54}"/>
                </a:ext>
              </a:extLst>
            </p:cNvPr>
            <p:cNvSpPr txBox="1"/>
            <p:nvPr/>
          </p:nvSpPr>
          <p:spPr>
            <a:xfrm>
              <a:off x="2678625" y="4740550"/>
              <a:ext cx="1660900" cy="923330"/>
            </a:xfrm>
            <a:prstGeom prst="rect">
              <a:avLst/>
            </a:prstGeom>
          </p:spPr>
          <p:txBody>
            <a:bodyPr vert="horz" wrap="square" lIns="0" tIns="45720" rIns="91440" bIns="45720" rtlCol="0" anchor="b" anchorCtr="0">
              <a:spAutoFit/>
            </a:bodyPr>
            <a:lstStyle/>
            <a:p>
              <a:pPr algn="l"/>
              <a:r>
                <a:rPr lang="en-GB" dirty="0">
                  <a:solidFill>
                    <a:srgbClr val="183E56"/>
                  </a:solidFill>
                  <a:latin typeface="Arial" panose="020B0604020202020204" pitchFamily="34" charset="0"/>
                  <a:cs typeface="Arial" panose="020B0604020202020204" pitchFamily="34" charset="0"/>
                </a:rPr>
                <a:t>23/03 </a:t>
              </a:r>
              <a:br>
                <a:rPr lang="en-GB" dirty="0">
                  <a:solidFill>
                    <a:srgbClr val="183E56"/>
                  </a:solidFill>
                  <a:latin typeface="Arial" panose="020B0604020202020204" pitchFamily="34" charset="0"/>
                  <a:cs typeface="Arial" panose="020B0604020202020204" pitchFamily="34" charset="0"/>
                </a:rPr>
              </a:br>
              <a:r>
                <a:rPr lang="en-GB" dirty="0">
                  <a:solidFill>
                    <a:srgbClr val="183E56"/>
                  </a:solidFill>
                  <a:latin typeface="Arial" panose="020B0604020202020204" pitchFamily="34" charset="0"/>
                  <a:cs typeface="Arial" panose="020B0604020202020204" pitchFamily="34" charset="0"/>
                </a:rPr>
                <a:t>UK lockdown begins</a:t>
              </a:r>
            </a:p>
          </p:txBody>
        </p:sp>
      </p:grpSp>
      <p:grpSp>
        <p:nvGrpSpPr>
          <p:cNvPr id="11" name="Group 10">
            <a:extLst>
              <a:ext uri="{FF2B5EF4-FFF2-40B4-BE49-F238E27FC236}">
                <a16:creationId xmlns:a16="http://schemas.microsoft.com/office/drawing/2014/main" id="{CAA085C0-F142-4FD8-B7E2-4154BC7B5105}"/>
              </a:ext>
            </a:extLst>
          </p:cNvPr>
          <p:cNvGrpSpPr/>
          <p:nvPr/>
        </p:nvGrpSpPr>
        <p:grpSpPr>
          <a:xfrm>
            <a:off x="3618203" y="1224755"/>
            <a:ext cx="2398376" cy="2592594"/>
            <a:chOff x="3618203" y="1224755"/>
            <a:chExt cx="2398376" cy="2592594"/>
          </a:xfrm>
        </p:grpSpPr>
        <p:cxnSp>
          <p:nvCxnSpPr>
            <p:cNvPr id="15" name="Straight Arrow Connector 14">
              <a:extLst>
                <a:ext uri="{FF2B5EF4-FFF2-40B4-BE49-F238E27FC236}">
                  <a16:creationId xmlns:a16="http://schemas.microsoft.com/office/drawing/2014/main" id="{8B8F1348-69C5-45FA-B1EE-F3B43018DC84}"/>
                </a:ext>
              </a:extLst>
            </p:cNvPr>
            <p:cNvCxnSpPr>
              <a:cxnSpLocks/>
            </p:cNvCxnSpPr>
            <p:nvPr/>
          </p:nvCxnSpPr>
          <p:spPr>
            <a:xfrm flipV="1">
              <a:off x="3915906" y="2425084"/>
              <a:ext cx="0" cy="1392265"/>
            </a:xfrm>
            <a:prstGeom prst="straightConnector1">
              <a:avLst/>
            </a:prstGeom>
            <a:ln w="44450">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2985F7A7-3451-452E-A4B9-4BB090CA11E3}"/>
                </a:ext>
              </a:extLst>
            </p:cNvPr>
            <p:cNvSpPr txBox="1"/>
            <p:nvPr/>
          </p:nvSpPr>
          <p:spPr>
            <a:xfrm>
              <a:off x="3618203" y="1224755"/>
              <a:ext cx="2398376" cy="1200329"/>
            </a:xfrm>
            <a:prstGeom prst="rect">
              <a:avLst/>
            </a:prstGeom>
          </p:spPr>
          <p:txBody>
            <a:bodyPr vert="horz" wrap="square" lIns="0" tIns="45720" rIns="91440" bIns="45720" rtlCol="0" anchor="b" anchorCtr="0">
              <a:spAutoFit/>
            </a:bodyPr>
            <a:lstStyle/>
            <a:p>
              <a:pPr algn="l"/>
              <a:r>
                <a:rPr lang="en-GB" dirty="0">
                  <a:solidFill>
                    <a:srgbClr val="183E56"/>
                  </a:solidFill>
                  <a:latin typeface="Arial" panose="020B0604020202020204" pitchFamily="34" charset="0"/>
                  <a:cs typeface="Arial" panose="020B0604020202020204" pitchFamily="34" charset="0"/>
                </a:rPr>
                <a:t>30/03</a:t>
              </a:r>
              <a:br>
                <a:rPr lang="en-GB" dirty="0">
                  <a:solidFill>
                    <a:srgbClr val="183E56"/>
                  </a:solidFill>
                  <a:latin typeface="Arial" panose="020B0604020202020204" pitchFamily="34" charset="0"/>
                  <a:cs typeface="Arial" panose="020B0604020202020204" pitchFamily="34" charset="0"/>
                </a:rPr>
              </a:br>
              <a:r>
                <a:rPr lang="en-GB" dirty="0">
                  <a:solidFill>
                    <a:srgbClr val="183E56"/>
                  </a:solidFill>
                  <a:latin typeface="Arial" panose="020B0604020202020204" pitchFamily="34" charset="0"/>
                  <a:cs typeface="Arial" panose="020B0604020202020204" pitchFamily="34" charset="0"/>
                </a:rPr>
                <a:t>Telephone interviewing rolled out to F2F interviewers</a:t>
              </a:r>
            </a:p>
          </p:txBody>
        </p:sp>
      </p:grpSp>
      <p:grpSp>
        <p:nvGrpSpPr>
          <p:cNvPr id="21" name="Group 20">
            <a:extLst>
              <a:ext uri="{FF2B5EF4-FFF2-40B4-BE49-F238E27FC236}">
                <a16:creationId xmlns:a16="http://schemas.microsoft.com/office/drawing/2014/main" id="{5E594BB1-42C0-475C-9DE4-58ADFC46E298}"/>
              </a:ext>
            </a:extLst>
          </p:cNvPr>
          <p:cNvGrpSpPr/>
          <p:nvPr/>
        </p:nvGrpSpPr>
        <p:grpSpPr>
          <a:xfrm>
            <a:off x="6096000" y="3121216"/>
            <a:ext cx="1983465" cy="2512029"/>
            <a:chOff x="6096000" y="3121216"/>
            <a:chExt cx="1983465" cy="2512029"/>
          </a:xfrm>
        </p:grpSpPr>
        <p:cxnSp>
          <p:nvCxnSpPr>
            <p:cNvPr id="17" name="Straight Arrow Connector 16">
              <a:extLst>
                <a:ext uri="{FF2B5EF4-FFF2-40B4-BE49-F238E27FC236}">
                  <a16:creationId xmlns:a16="http://schemas.microsoft.com/office/drawing/2014/main" id="{43B54763-8EAE-4F01-B54B-251C89384504}"/>
                </a:ext>
              </a:extLst>
            </p:cNvPr>
            <p:cNvCxnSpPr/>
            <p:nvPr/>
          </p:nvCxnSpPr>
          <p:spPr>
            <a:xfrm>
              <a:off x="6457628" y="3121216"/>
              <a:ext cx="0" cy="1487837"/>
            </a:xfrm>
            <a:prstGeom prst="straightConnector1">
              <a:avLst/>
            </a:prstGeom>
            <a:ln w="44450">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50E7398-7696-49AE-B734-3D8EA8ED166A}"/>
                </a:ext>
              </a:extLst>
            </p:cNvPr>
            <p:cNvSpPr txBox="1"/>
            <p:nvPr/>
          </p:nvSpPr>
          <p:spPr>
            <a:xfrm>
              <a:off x="6096000" y="4709915"/>
              <a:ext cx="1983465" cy="923330"/>
            </a:xfrm>
            <a:prstGeom prst="rect">
              <a:avLst/>
            </a:prstGeom>
          </p:spPr>
          <p:txBody>
            <a:bodyPr vert="horz" wrap="square" lIns="0" tIns="45720" rIns="91440" bIns="45720" rtlCol="0" anchor="b" anchorCtr="0">
              <a:spAutoFit/>
            </a:bodyPr>
            <a:lstStyle/>
            <a:p>
              <a:pPr algn="l"/>
              <a:r>
                <a:rPr lang="en-GB" dirty="0">
                  <a:solidFill>
                    <a:srgbClr val="183E56"/>
                  </a:solidFill>
                  <a:latin typeface="Arial" panose="020B0604020202020204" pitchFamily="34" charset="0"/>
                  <a:cs typeface="Arial" panose="020B0604020202020204" pitchFamily="34" charset="0"/>
                </a:rPr>
                <a:t>20/04 </a:t>
              </a:r>
              <a:br>
                <a:rPr lang="en-GB" dirty="0">
                  <a:solidFill>
                    <a:srgbClr val="183E56"/>
                  </a:solidFill>
                  <a:latin typeface="Arial" panose="020B0604020202020204" pitchFamily="34" charset="0"/>
                  <a:cs typeface="Arial" panose="020B0604020202020204" pitchFamily="34" charset="0"/>
                </a:rPr>
              </a:br>
              <a:r>
                <a:rPr lang="en-GB" dirty="0">
                  <a:solidFill>
                    <a:srgbClr val="183E56"/>
                  </a:solidFill>
                  <a:latin typeface="Arial" panose="020B0604020202020204" pitchFamily="34" charset="0"/>
                  <a:cs typeface="Arial" panose="020B0604020202020204" pitchFamily="34" charset="0"/>
                </a:rPr>
                <a:t>Online portal for telephone details</a:t>
              </a:r>
            </a:p>
          </p:txBody>
        </p:sp>
      </p:grpSp>
      <p:grpSp>
        <p:nvGrpSpPr>
          <p:cNvPr id="22" name="Group 21">
            <a:extLst>
              <a:ext uri="{FF2B5EF4-FFF2-40B4-BE49-F238E27FC236}">
                <a16:creationId xmlns:a16="http://schemas.microsoft.com/office/drawing/2014/main" id="{3FE142F2-8145-47FF-A64D-588140970A8A}"/>
              </a:ext>
            </a:extLst>
          </p:cNvPr>
          <p:cNvGrpSpPr/>
          <p:nvPr/>
        </p:nvGrpSpPr>
        <p:grpSpPr>
          <a:xfrm>
            <a:off x="9926660" y="1527574"/>
            <a:ext cx="1445283" cy="2289774"/>
            <a:chOff x="9926660" y="1527574"/>
            <a:chExt cx="1445283" cy="2289774"/>
          </a:xfrm>
        </p:grpSpPr>
        <p:cxnSp>
          <p:nvCxnSpPr>
            <p:cNvPr id="19" name="Straight Arrow Connector 18">
              <a:extLst>
                <a:ext uri="{FF2B5EF4-FFF2-40B4-BE49-F238E27FC236}">
                  <a16:creationId xmlns:a16="http://schemas.microsoft.com/office/drawing/2014/main" id="{0F3BD1C1-D425-4C87-81C5-12E515893CD9}"/>
                </a:ext>
              </a:extLst>
            </p:cNvPr>
            <p:cNvCxnSpPr>
              <a:cxnSpLocks/>
            </p:cNvCxnSpPr>
            <p:nvPr/>
          </p:nvCxnSpPr>
          <p:spPr>
            <a:xfrm flipV="1">
              <a:off x="10717079" y="2425083"/>
              <a:ext cx="0" cy="1392265"/>
            </a:xfrm>
            <a:prstGeom prst="straightConnector1">
              <a:avLst/>
            </a:prstGeom>
            <a:ln w="44450">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5153C17F-7FC6-4A2A-B132-777205BC9C99}"/>
                </a:ext>
              </a:extLst>
            </p:cNvPr>
            <p:cNvSpPr txBox="1"/>
            <p:nvPr/>
          </p:nvSpPr>
          <p:spPr>
            <a:xfrm>
              <a:off x="9926660" y="1527574"/>
              <a:ext cx="1445283" cy="923330"/>
            </a:xfrm>
            <a:prstGeom prst="rect">
              <a:avLst/>
            </a:prstGeom>
          </p:spPr>
          <p:txBody>
            <a:bodyPr vert="horz" wrap="square" lIns="0" tIns="45720" rIns="91440" bIns="45720" rtlCol="0" anchor="b" anchorCtr="0">
              <a:spAutoFit/>
            </a:bodyPr>
            <a:lstStyle/>
            <a:p>
              <a:pPr algn="l"/>
              <a:r>
                <a:rPr lang="en-GB" dirty="0">
                  <a:solidFill>
                    <a:srgbClr val="183E56"/>
                  </a:solidFill>
                  <a:latin typeface="Arial" panose="020B0604020202020204" pitchFamily="34" charset="0"/>
                  <a:cs typeface="Arial" panose="020B0604020202020204" pitchFamily="34" charset="0"/>
                </a:rPr>
                <a:t>01/07</a:t>
              </a:r>
              <a:br>
                <a:rPr lang="en-GB" dirty="0">
                  <a:solidFill>
                    <a:srgbClr val="183E56"/>
                  </a:solidFill>
                  <a:latin typeface="Arial" panose="020B0604020202020204" pitchFamily="34" charset="0"/>
                  <a:cs typeface="Arial" panose="020B0604020202020204" pitchFamily="34" charset="0"/>
                </a:rPr>
              </a:br>
              <a:r>
                <a:rPr lang="en-GB" dirty="0">
                  <a:solidFill>
                    <a:srgbClr val="183E56"/>
                  </a:solidFill>
                  <a:latin typeface="Arial" panose="020B0604020202020204" pitchFamily="34" charset="0"/>
                  <a:cs typeface="Arial" panose="020B0604020202020204" pitchFamily="34" charset="0"/>
                </a:rPr>
                <a:t>W1 sample size doubled</a:t>
              </a:r>
            </a:p>
          </p:txBody>
        </p:sp>
      </p:grpSp>
      <p:pic>
        <p:nvPicPr>
          <p:cNvPr id="23" name="Audio 22">
            <a:hlinkClick r:id="" action="ppaction://media"/>
            <a:extLst>
              <a:ext uri="{FF2B5EF4-FFF2-40B4-BE49-F238E27FC236}">
                <a16:creationId xmlns:a16="http://schemas.microsoft.com/office/drawing/2014/main" id="{50FAECE6-20E9-42C5-ABE1-7E24313E6315}"/>
              </a:ext>
            </a:extLst>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11569700" y="6235700"/>
            <a:ext cx="406400" cy="406400"/>
          </a:xfrm>
          <a:prstGeom prst="rect">
            <a:avLst/>
          </a:prstGeom>
        </p:spPr>
      </p:pic>
    </p:spTree>
    <p:custDataLst>
      <p:tags r:id="rId1"/>
    </p:custDataLst>
    <p:extLst>
      <p:ext uri="{BB962C8B-B14F-4D97-AF65-F5344CB8AC3E}">
        <p14:creationId xmlns:p14="http://schemas.microsoft.com/office/powerpoint/2010/main" val="3800794616"/>
      </p:ext>
    </p:extLst>
  </p:cSld>
  <p:clrMapOvr>
    <a:masterClrMapping/>
  </p:clrMapOvr>
  <mc:AlternateContent xmlns:mc="http://schemas.openxmlformats.org/markup-compatibility/2006" xmlns:p14="http://schemas.microsoft.com/office/powerpoint/2010/main">
    <mc:Choice Requires="p14">
      <p:transition spd="slow" p14:dur="2000" advTm="135854"/>
    </mc:Choice>
    <mc:Fallback xmlns="">
      <p:transition spd="slow" advTm="13585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3"/>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1" fill="hold" display="0">
                  <p:stCondLst>
                    <p:cond delay="indefinite"/>
                  </p:stCondLst>
                  <p:endCondLst>
                    <p:cond evt="onStopAudio" delay="0">
                      <p:tgtEl>
                        <p:sldTgt/>
                      </p:tgtEl>
                    </p:cond>
                  </p:endCondLst>
                </p:cTn>
                <p:tgtEl>
                  <p:spTgt spid="23"/>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60828CE-52B9-4D4D-BDC6-9F276A300486}"/>
              </a:ext>
            </a:extLst>
          </p:cNvPr>
          <p:cNvSpPr>
            <a:spLocks noGrp="1"/>
          </p:cNvSpPr>
          <p:nvPr>
            <p:ph type="ftr" sz="quarter" idx="3"/>
          </p:nvPr>
        </p:nvSpPr>
        <p:spPr/>
        <p:txBody>
          <a:bodyPr/>
          <a:lstStyle/>
          <a:p>
            <a:r>
              <a:rPr lang="en-US" dirty="0"/>
              <a:t>Martina Helme</a:t>
            </a:r>
          </a:p>
        </p:txBody>
      </p:sp>
      <p:sp>
        <p:nvSpPr>
          <p:cNvPr id="6" name="Subtitle 5">
            <a:extLst>
              <a:ext uri="{FF2B5EF4-FFF2-40B4-BE49-F238E27FC236}">
                <a16:creationId xmlns:a16="http://schemas.microsoft.com/office/drawing/2014/main" id="{1C76375F-B5E3-4D9E-A7C5-19DC5F2B101C}"/>
              </a:ext>
            </a:extLst>
          </p:cNvPr>
          <p:cNvSpPr>
            <a:spLocks noGrp="1"/>
          </p:cNvSpPr>
          <p:nvPr>
            <p:ph type="subTitle" idx="1"/>
          </p:nvPr>
        </p:nvSpPr>
        <p:spPr>
          <a:xfrm>
            <a:off x="755073" y="2095017"/>
            <a:ext cx="10515600" cy="3159889"/>
          </a:xfrm>
        </p:spPr>
        <p:txBody>
          <a:bodyPr>
            <a:normAutofit/>
          </a:bodyPr>
          <a:lstStyle/>
          <a:p>
            <a:r>
              <a:rPr lang="en-GB" sz="5400" dirty="0"/>
              <a:t>Survey history and design</a:t>
            </a:r>
          </a:p>
          <a:p>
            <a:pPr marL="571500" indent="-571500">
              <a:lnSpc>
                <a:spcPct val="120000"/>
              </a:lnSpc>
              <a:spcAft>
                <a:spcPts val="1200"/>
              </a:spcAft>
              <a:buFont typeface="Arial" panose="020B0604020202020204" pitchFamily="34" charset="0"/>
              <a:buChar char="•"/>
            </a:pPr>
            <a:r>
              <a:rPr lang="en-GB" dirty="0"/>
              <a:t>Background/history</a:t>
            </a:r>
          </a:p>
          <a:p>
            <a:pPr marL="571500" indent="-571500">
              <a:lnSpc>
                <a:spcPct val="120000"/>
              </a:lnSpc>
              <a:spcAft>
                <a:spcPts val="1200"/>
              </a:spcAft>
              <a:buFont typeface="Arial" panose="020B0604020202020204" pitchFamily="34" charset="0"/>
              <a:buChar char="•"/>
            </a:pPr>
            <a:r>
              <a:rPr lang="en-GB" dirty="0"/>
              <a:t>Methodology </a:t>
            </a:r>
            <a:br>
              <a:rPr lang="en-GB" dirty="0"/>
            </a:br>
            <a:r>
              <a:rPr lang="en-GB" sz="2000" dirty="0"/>
              <a:t>(questionnaire content, sampling, imputation, data collection)</a:t>
            </a:r>
          </a:p>
          <a:p>
            <a:pPr marL="571500" indent="-571500">
              <a:lnSpc>
                <a:spcPct val="120000"/>
              </a:lnSpc>
              <a:spcAft>
                <a:spcPts val="1200"/>
              </a:spcAft>
              <a:buFont typeface="Arial" panose="020B0604020202020204" pitchFamily="34" charset="0"/>
              <a:buChar char="•"/>
            </a:pPr>
            <a:r>
              <a:rPr lang="en-GB" dirty="0"/>
              <a:t>Changes made in response to COVID-19</a:t>
            </a:r>
          </a:p>
        </p:txBody>
      </p:sp>
      <p:sp>
        <p:nvSpPr>
          <p:cNvPr id="5" name="Title 4">
            <a:extLst>
              <a:ext uri="{FF2B5EF4-FFF2-40B4-BE49-F238E27FC236}">
                <a16:creationId xmlns:a16="http://schemas.microsoft.com/office/drawing/2014/main" id="{1D47265F-E2C1-41CA-B63A-C53F72E0EF05}"/>
              </a:ext>
            </a:extLst>
          </p:cNvPr>
          <p:cNvSpPr>
            <a:spLocks noGrp="1"/>
          </p:cNvSpPr>
          <p:nvPr>
            <p:ph type="title"/>
          </p:nvPr>
        </p:nvSpPr>
        <p:spPr>
          <a:xfrm>
            <a:off x="755073" y="749770"/>
            <a:ext cx="10515600" cy="877163"/>
          </a:xfrm>
        </p:spPr>
        <p:txBody>
          <a:bodyPr/>
          <a:lstStyle/>
          <a:p>
            <a:r>
              <a:rPr lang="en-GB" sz="6000" dirty="0"/>
              <a:t>Session 1</a:t>
            </a:r>
          </a:p>
        </p:txBody>
      </p:sp>
    </p:spTree>
    <p:extLst>
      <p:ext uri="{BB962C8B-B14F-4D97-AF65-F5344CB8AC3E}">
        <p14:creationId xmlns:p14="http://schemas.microsoft.com/office/powerpoint/2010/main" val="13188998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4A613C7-D484-4144-8AFF-121520DA1F80}"/>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5F20B430-879D-4DCD-8F90-FA6B0548F944}"/>
              </a:ext>
            </a:extLst>
          </p:cNvPr>
          <p:cNvSpPr>
            <a:spLocks noGrp="1"/>
          </p:cNvSpPr>
          <p:nvPr>
            <p:ph type="title"/>
          </p:nvPr>
        </p:nvSpPr>
        <p:spPr/>
        <p:txBody>
          <a:bodyPr/>
          <a:lstStyle/>
          <a:p>
            <a:r>
              <a:rPr lang="en-GB" dirty="0"/>
              <a:t>Impact of COVID-19 on LFS Response Rates</a:t>
            </a:r>
          </a:p>
        </p:txBody>
      </p:sp>
      <p:pic>
        <p:nvPicPr>
          <p:cNvPr id="7" name="Picture 6">
            <a:extLst>
              <a:ext uri="{FF2B5EF4-FFF2-40B4-BE49-F238E27FC236}">
                <a16:creationId xmlns:a16="http://schemas.microsoft.com/office/drawing/2014/main" id="{854AC4A4-4913-4DD9-AA74-394F52DAD9C0}"/>
              </a:ext>
            </a:extLst>
          </p:cNvPr>
          <p:cNvPicPr>
            <a:picLocks noChangeAspect="1"/>
          </p:cNvPicPr>
          <p:nvPr/>
        </p:nvPicPr>
        <p:blipFill>
          <a:blip r:embed="rId5"/>
          <a:stretch>
            <a:fillRect/>
          </a:stretch>
        </p:blipFill>
        <p:spPr>
          <a:xfrm>
            <a:off x="838200" y="1149954"/>
            <a:ext cx="9260171" cy="4739402"/>
          </a:xfrm>
          <a:prstGeom prst="rect">
            <a:avLst/>
          </a:prstGeom>
        </p:spPr>
      </p:pic>
      <p:pic>
        <p:nvPicPr>
          <p:cNvPr id="4" name="Audio 3">
            <a:hlinkClick r:id="" action="ppaction://media"/>
            <a:extLst>
              <a:ext uri="{FF2B5EF4-FFF2-40B4-BE49-F238E27FC236}">
                <a16:creationId xmlns:a16="http://schemas.microsoft.com/office/drawing/2014/main" id="{84BCBF88-99CB-4651-9A23-FF2882AE0DC1}"/>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569700" y="6235700"/>
            <a:ext cx="406400" cy="406400"/>
          </a:xfrm>
          <a:prstGeom prst="rect">
            <a:avLst/>
          </a:prstGeom>
        </p:spPr>
      </p:pic>
    </p:spTree>
    <p:extLst>
      <p:ext uri="{BB962C8B-B14F-4D97-AF65-F5344CB8AC3E}">
        <p14:creationId xmlns:p14="http://schemas.microsoft.com/office/powerpoint/2010/main" val="1245813197"/>
      </p:ext>
    </p:extLst>
  </p:cSld>
  <p:clrMapOvr>
    <a:masterClrMapping/>
  </p:clrMapOvr>
  <mc:AlternateContent xmlns:mc="http://schemas.openxmlformats.org/markup-compatibility/2006" xmlns:p14="http://schemas.microsoft.com/office/powerpoint/2010/main">
    <mc:Choice Requires="p14">
      <p:transition spd="slow" p14:dur="2000" advTm="27715"/>
    </mc:Choice>
    <mc:Fallback xmlns="">
      <p:transition spd="slow" advTm="2771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4A613C7-D484-4144-8AFF-121520DA1F80}"/>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5F20B430-879D-4DCD-8F90-FA6B0548F944}"/>
              </a:ext>
            </a:extLst>
          </p:cNvPr>
          <p:cNvSpPr>
            <a:spLocks noGrp="1"/>
          </p:cNvSpPr>
          <p:nvPr>
            <p:ph type="title"/>
          </p:nvPr>
        </p:nvSpPr>
        <p:spPr/>
        <p:txBody>
          <a:bodyPr/>
          <a:lstStyle/>
          <a:p>
            <a:r>
              <a:rPr lang="en-GB" dirty="0"/>
              <a:t>Impact of COVID-19 on LFS Response Rates</a:t>
            </a:r>
          </a:p>
        </p:txBody>
      </p:sp>
      <p:pic>
        <p:nvPicPr>
          <p:cNvPr id="7" name="Picture 6">
            <a:extLst>
              <a:ext uri="{FF2B5EF4-FFF2-40B4-BE49-F238E27FC236}">
                <a16:creationId xmlns:a16="http://schemas.microsoft.com/office/drawing/2014/main" id="{6F116016-F4A8-431F-BDEA-1820D2C9875A}"/>
              </a:ext>
            </a:extLst>
          </p:cNvPr>
          <p:cNvPicPr>
            <a:picLocks noChangeAspect="1"/>
          </p:cNvPicPr>
          <p:nvPr/>
        </p:nvPicPr>
        <p:blipFill>
          <a:blip r:embed="rId5"/>
          <a:stretch>
            <a:fillRect/>
          </a:stretch>
        </p:blipFill>
        <p:spPr>
          <a:xfrm>
            <a:off x="818188" y="1168426"/>
            <a:ext cx="9289327" cy="4736428"/>
          </a:xfrm>
          <a:prstGeom prst="rect">
            <a:avLst/>
          </a:prstGeom>
        </p:spPr>
      </p:pic>
      <p:pic>
        <p:nvPicPr>
          <p:cNvPr id="5" name="Audio 4">
            <a:hlinkClick r:id="" action="ppaction://media"/>
            <a:extLst>
              <a:ext uri="{FF2B5EF4-FFF2-40B4-BE49-F238E27FC236}">
                <a16:creationId xmlns:a16="http://schemas.microsoft.com/office/drawing/2014/main" id="{E4D6F0A8-3DAF-4D2D-88C1-569B23CE363D}"/>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569700" y="6235700"/>
            <a:ext cx="406400" cy="406400"/>
          </a:xfrm>
          <a:prstGeom prst="rect">
            <a:avLst/>
          </a:prstGeom>
        </p:spPr>
      </p:pic>
    </p:spTree>
    <p:extLst>
      <p:ext uri="{BB962C8B-B14F-4D97-AF65-F5344CB8AC3E}">
        <p14:creationId xmlns:p14="http://schemas.microsoft.com/office/powerpoint/2010/main" val="3103675836"/>
      </p:ext>
    </p:extLst>
  </p:cSld>
  <p:clrMapOvr>
    <a:masterClrMapping/>
  </p:clrMapOvr>
  <mc:AlternateContent xmlns:mc="http://schemas.openxmlformats.org/markup-compatibility/2006" xmlns:p14="http://schemas.microsoft.com/office/powerpoint/2010/main">
    <mc:Choice Requires="p14">
      <p:transition spd="slow" p14:dur="2000" advTm="63198"/>
    </mc:Choice>
    <mc:Fallback xmlns="">
      <p:transition spd="slow" advTm="6319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0872AC1-A037-42AB-9276-6C46E82C8861}"/>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6F1AB566-3EB2-4F81-BB65-E0C1D534F04B}"/>
              </a:ext>
            </a:extLst>
          </p:cNvPr>
          <p:cNvSpPr>
            <a:spLocks noGrp="1"/>
          </p:cNvSpPr>
          <p:nvPr>
            <p:ph type="title"/>
          </p:nvPr>
        </p:nvSpPr>
        <p:spPr>
          <a:xfrm>
            <a:off x="838199" y="642127"/>
            <a:ext cx="11110993" cy="1052596"/>
          </a:xfrm>
        </p:spPr>
        <p:txBody>
          <a:bodyPr/>
          <a:lstStyle/>
          <a:p>
            <a:r>
              <a:rPr lang="en-GB" dirty="0"/>
              <a:t>Impact of COVID-19 on LFS achieved sample size</a:t>
            </a:r>
          </a:p>
        </p:txBody>
      </p:sp>
      <p:pic>
        <p:nvPicPr>
          <p:cNvPr id="5" name="Picture 4">
            <a:extLst>
              <a:ext uri="{FF2B5EF4-FFF2-40B4-BE49-F238E27FC236}">
                <a16:creationId xmlns:a16="http://schemas.microsoft.com/office/drawing/2014/main" id="{63C7576D-1224-42DB-9906-78AEB102B7FF}"/>
              </a:ext>
            </a:extLst>
          </p:cNvPr>
          <p:cNvPicPr>
            <a:picLocks noChangeAspect="1"/>
          </p:cNvPicPr>
          <p:nvPr/>
        </p:nvPicPr>
        <p:blipFill>
          <a:blip r:embed="rId5"/>
          <a:stretch>
            <a:fillRect/>
          </a:stretch>
        </p:blipFill>
        <p:spPr>
          <a:xfrm>
            <a:off x="1792358" y="1223225"/>
            <a:ext cx="8300316" cy="4681629"/>
          </a:xfrm>
          <a:prstGeom prst="rect">
            <a:avLst/>
          </a:prstGeom>
        </p:spPr>
      </p:pic>
      <p:pic>
        <p:nvPicPr>
          <p:cNvPr id="7" name="Audio 6">
            <a:hlinkClick r:id="" action="ppaction://media"/>
            <a:extLst>
              <a:ext uri="{FF2B5EF4-FFF2-40B4-BE49-F238E27FC236}">
                <a16:creationId xmlns:a16="http://schemas.microsoft.com/office/drawing/2014/main" id="{2EAAF8E6-175B-42DF-BFA1-26A29C32362B}"/>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569700" y="6235700"/>
            <a:ext cx="406400" cy="406400"/>
          </a:xfrm>
          <a:prstGeom prst="rect">
            <a:avLst/>
          </a:prstGeom>
        </p:spPr>
      </p:pic>
    </p:spTree>
    <p:extLst>
      <p:ext uri="{BB962C8B-B14F-4D97-AF65-F5344CB8AC3E}">
        <p14:creationId xmlns:p14="http://schemas.microsoft.com/office/powerpoint/2010/main" val="1672862225"/>
      </p:ext>
    </p:extLst>
  </p:cSld>
  <p:clrMapOvr>
    <a:masterClrMapping/>
  </p:clrMapOvr>
  <mc:AlternateContent xmlns:mc="http://schemas.openxmlformats.org/markup-compatibility/2006" xmlns:p14="http://schemas.microsoft.com/office/powerpoint/2010/main">
    <mc:Choice Requires="p14">
      <p:transition spd="slow" p14:dur="2000" advTm="27733"/>
    </mc:Choice>
    <mc:Fallback xmlns="">
      <p:transition spd="slow" advTm="2773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9798371-CBC8-4553-A605-85A171A9DD92}"/>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885EE4D0-627A-4516-91F8-1CBD264212B7}"/>
              </a:ext>
            </a:extLst>
          </p:cNvPr>
          <p:cNvSpPr>
            <a:spLocks noGrp="1"/>
          </p:cNvSpPr>
          <p:nvPr>
            <p:ph type="title"/>
          </p:nvPr>
        </p:nvSpPr>
        <p:spPr/>
        <p:txBody>
          <a:bodyPr/>
          <a:lstStyle/>
          <a:p>
            <a:r>
              <a:rPr lang="en-GB" dirty="0"/>
              <a:t>Impact of COVID-19 on LFS estimates</a:t>
            </a:r>
          </a:p>
        </p:txBody>
      </p:sp>
      <p:pic>
        <p:nvPicPr>
          <p:cNvPr id="6" name="Picture 5">
            <a:extLst>
              <a:ext uri="{FF2B5EF4-FFF2-40B4-BE49-F238E27FC236}">
                <a16:creationId xmlns:a16="http://schemas.microsoft.com/office/drawing/2014/main" id="{4BE08CE0-6C00-4DBD-9B8E-D18DFD4721F2}"/>
              </a:ext>
            </a:extLst>
          </p:cNvPr>
          <p:cNvPicPr>
            <a:picLocks noChangeAspect="1"/>
          </p:cNvPicPr>
          <p:nvPr/>
        </p:nvPicPr>
        <p:blipFill>
          <a:blip r:embed="rId5"/>
          <a:stretch>
            <a:fillRect/>
          </a:stretch>
        </p:blipFill>
        <p:spPr>
          <a:xfrm>
            <a:off x="838200" y="1238001"/>
            <a:ext cx="9490143" cy="4589361"/>
          </a:xfrm>
          <a:prstGeom prst="rect">
            <a:avLst/>
          </a:prstGeom>
        </p:spPr>
      </p:pic>
      <p:pic>
        <p:nvPicPr>
          <p:cNvPr id="4" name="Audio 3">
            <a:hlinkClick r:id="" action="ppaction://media"/>
            <a:extLst>
              <a:ext uri="{FF2B5EF4-FFF2-40B4-BE49-F238E27FC236}">
                <a16:creationId xmlns:a16="http://schemas.microsoft.com/office/drawing/2014/main" id="{3F391C3E-7988-41C7-BB95-AE9773D59781}"/>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569700" y="6235700"/>
            <a:ext cx="406400" cy="406400"/>
          </a:xfrm>
          <a:prstGeom prst="rect">
            <a:avLst/>
          </a:prstGeom>
        </p:spPr>
      </p:pic>
    </p:spTree>
    <p:extLst>
      <p:ext uri="{BB962C8B-B14F-4D97-AF65-F5344CB8AC3E}">
        <p14:creationId xmlns:p14="http://schemas.microsoft.com/office/powerpoint/2010/main" val="2579862976"/>
      </p:ext>
    </p:extLst>
  </p:cSld>
  <p:clrMapOvr>
    <a:masterClrMapping/>
  </p:clrMapOvr>
  <mc:AlternateContent xmlns:mc="http://schemas.openxmlformats.org/markup-compatibility/2006" xmlns:p14="http://schemas.microsoft.com/office/powerpoint/2010/main">
    <mc:Choice Requires="p14">
      <p:transition spd="slow" p14:dur="2000" advTm="63367"/>
    </mc:Choice>
    <mc:Fallback xmlns="">
      <p:transition spd="slow" advTm="6336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6A09989-A5D9-463B-8A9B-C5791C33FA61}"/>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7AC937D8-FA49-4632-9DE3-0034CE998EA5}"/>
              </a:ext>
            </a:extLst>
          </p:cNvPr>
          <p:cNvSpPr>
            <a:spLocks noGrp="1"/>
          </p:cNvSpPr>
          <p:nvPr>
            <p:ph type="title"/>
          </p:nvPr>
        </p:nvSpPr>
        <p:spPr/>
        <p:txBody>
          <a:bodyPr/>
          <a:lstStyle/>
          <a:p>
            <a:r>
              <a:rPr lang="en-GB" dirty="0"/>
              <a:t>Impact of COVID-19 on LFS estimates </a:t>
            </a:r>
          </a:p>
        </p:txBody>
      </p:sp>
      <p:pic>
        <p:nvPicPr>
          <p:cNvPr id="5" name="Picture 4">
            <a:extLst>
              <a:ext uri="{FF2B5EF4-FFF2-40B4-BE49-F238E27FC236}">
                <a16:creationId xmlns:a16="http://schemas.microsoft.com/office/drawing/2014/main" id="{10923121-5128-4304-B10F-2F4FD7630180}"/>
              </a:ext>
            </a:extLst>
          </p:cNvPr>
          <p:cNvPicPr>
            <a:picLocks noChangeAspect="1"/>
          </p:cNvPicPr>
          <p:nvPr/>
        </p:nvPicPr>
        <p:blipFill>
          <a:blip r:embed="rId5"/>
          <a:stretch>
            <a:fillRect/>
          </a:stretch>
        </p:blipFill>
        <p:spPr>
          <a:xfrm>
            <a:off x="838199" y="1270012"/>
            <a:ext cx="9383513" cy="4526354"/>
          </a:xfrm>
          <a:prstGeom prst="rect">
            <a:avLst/>
          </a:prstGeom>
        </p:spPr>
      </p:pic>
      <p:pic>
        <p:nvPicPr>
          <p:cNvPr id="4" name="Audio 3">
            <a:hlinkClick r:id="" action="ppaction://media"/>
            <a:extLst>
              <a:ext uri="{FF2B5EF4-FFF2-40B4-BE49-F238E27FC236}">
                <a16:creationId xmlns:a16="http://schemas.microsoft.com/office/drawing/2014/main" id="{B911E282-5359-4EBA-8CA3-AB2133CE9110}"/>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569700" y="6235700"/>
            <a:ext cx="406400" cy="406400"/>
          </a:xfrm>
          <a:prstGeom prst="rect">
            <a:avLst/>
          </a:prstGeom>
        </p:spPr>
      </p:pic>
    </p:spTree>
    <p:extLst>
      <p:ext uri="{BB962C8B-B14F-4D97-AF65-F5344CB8AC3E}">
        <p14:creationId xmlns:p14="http://schemas.microsoft.com/office/powerpoint/2010/main" val="995537387"/>
      </p:ext>
    </p:extLst>
  </p:cSld>
  <p:clrMapOvr>
    <a:masterClrMapping/>
  </p:clrMapOvr>
  <mc:AlternateContent xmlns:mc="http://schemas.openxmlformats.org/markup-compatibility/2006" xmlns:p14="http://schemas.microsoft.com/office/powerpoint/2010/main">
    <mc:Choice Requires="p14">
      <p:transition spd="slow" p14:dur="2000" advTm="49358"/>
    </mc:Choice>
    <mc:Fallback xmlns="">
      <p:transition spd="slow" advTm="4935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73FAE4C-75FD-4CA2-8CBB-31A1283FFD98}"/>
              </a:ext>
            </a:extLst>
          </p:cNvPr>
          <p:cNvSpPr>
            <a:spLocks noGrp="1"/>
          </p:cNvSpPr>
          <p:nvPr>
            <p:ph type="ftr" sz="quarter" idx="3"/>
          </p:nvPr>
        </p:nvSpPr>
        <p:spPr/>
        <p:txBody>
          <a:bodyPr/>
          <a:lstStyle/>
          <a:p>
            <a:endParaRPr lang="en-US" dirty="0"/>
          </a:p>
        </p:txBody>
      </p:sp>
      <p:pic>
        <p:nvPicPr>
          <p:cNvPr id="5" name="Picture 4">
            <a:extLst>
              <a:ext uri="{FF2B5EF4-FFF2-40B4-BE49-F238E27FC236}">
                <a16:creationId xmlns:a16="http://schemas.microsoft.com/office/drawing/2014/main" id="{D195997C-E435-4046-815D-EAD6344479F9}"/>
              </a:ext>
            </a:extLst>
          </p:cNvPr>
          <p:cNvPicPr>
            <a:picLocks noChangeAspect="1"/>
          </p:cNvPicPr>
          <p:nvPr/>
        </p:nvPicPr>
        <p:blipFill>
          <a:blip r:embed="rId5"/>
          <a:stretch>
            <a:fillRect/>
          </a:stretch>
        </p:blipFill>
        <p:spPr>
          <a:xfrm>
            <a:off x="2179362" y="1"/>
            <a:ext cx="7686119" cy="6028114"/>
          </a:xfrm>
          <a:prstGeom prst="rect">
            <a:avLst/>
          </a:prstGeom>
        </p:spPr>
      </p:pic>
      <p:pic>
        <p:nvPicPr>
          <p:cNvPr id="3" name="Audio 2">
            <a:hlinkClick r:id="" action="ppaction://media"/>
            <a:extLst>
              <a:ext uri="{FF2B5EF4-FFF2-40B4-BE49-F238E27FC236}">
                <a16:creationId xmlns:a16="http://schemas.microsoft.com/office/drawing/2014/main" id="{3092B25A-28F5-4973-8D91-91B82E564C3F}"/>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569700" y="6235700"/>
            <a:ext cx="406400" cy="406400"/>
          </a:xfrm>
          <a:prstGeom prst="rect">
            <a:avLst/>
          </a:prstGeom>
        </p:spPr>
      </p:pic>
    </p:spTree>
    <p:extLst>
      <p:ext uri="{BB962C8B-B14F-4D97-AF65-F5344CB8AC3E}">
        <p14:creationId xmlns:p14="http://schemas.microsoft.com/office/powerpoint/2010/main" val="813931200"/>
      </p:ext>
    </p:extLst>
  </p:cSld>
  <p:clrMapOvr>
    <a:masterClrMapping/>
  </p:clrMapOvr>
  <mc:AlternateContent xmlns:mc="http://schemas.openxmlformats.org/markup-compatibility/2006" xmlns:p14="http://schemas.microsoft.com/office/powerpoint/2010/main">
    <mc:Choice Requires="p14">
      <p:transition spd="slow" p14:dur="2000" advTm="32372"/>
    </mc:Choice>
    <mc:Fallback xmlns="">
      <p:transition spd="slow" advTm="3237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363DDFA-D71A-4C16-959A-C0B05A2C2EE6}"/>
              </a:ext>
            </a:extLst>
          </p:cNvPr>
          <p:cNvSpPr>
            <a:spLocks noGrp="1"/>
          </p:cNvSpPr>
          <p:nvPr>
            <p:ph type="ftr" sz="quarter" idx="3"/>
          </p:nvPr>
        </p:nvSpPr>
        <p:spPr/>
        <p:txBody>
          <a:bodyPr/>
          <a:lstStyle/>
          <a:p>
            <a:endParaRPr lang="en-US" dirty="0"/>
          </a:p>
        </p:txBody>
      </p:sp>
      <p:pic>
        <p:nvPicPr>
          <p:cNvPr id="5" name="Picture 4">
            <a:extLst>
              <a:ext uri="{FF2B5EF4-FFF2-40B4-BE49-F238E27FC236}">
                <a16:creationId xmlns:a16="http://schemas.microsoft.com/office/drawing/2014/main" id="{E07087DB-00E9-4A6B-AC49-E8AC8504A737}"/>
              </a:ext>
            </a:extLst>
          </p:cNvPr>
          <p:cNvPicPr>
            <a:picLocks noChangeAspect="1"/>
          </p:cNvPicPr>
          <p:nvPr/>
        </p:nvPicPr>
        <p:blipFill>
          <a:blip r:embed="rId4"/>
          <a:stretch>
            <a:fillRect/>
          </a:stretch>
        </p:blipFill>
        <p:spPr>
          <a:xfrm>
            <a:off x="2057072" y="1"/>
            <a:ext cx="7684409" cy="6026772"/>
          </a:xfrm>
          <a:prstGeom prst="rect">
            <a:avLst/>
          </a:prstGeom>
        </p:spPr>
      </p:pic>
      <p:pic>
        <p:nvPicPr>
          <p:cNvPr id="3" name="Audio 2">
            <a:hlinkClick r:id="" action="ppaction://media"/>
            <a:extLst>
              <a:ext uri="{FF2B5EF4-FFF2-40B4-BE49-F238E27FC236}">
                <a16:creationId xmlns:a16="http://schemas.microsoft.com/office/drawing/2014/main" id="{DF5975A4-A3FA-405E-961E-D870330E415D}"/>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569700" y="6235700"/>
            <a:ext cx="406400" cy="406400"/>
          </a:xfrm>
          <a:prstGeom prst="rect">
            <a:avLst/>
          </a:prstGeom>
        </p:spPr>
      </p:pic>
    </p:spTree>
    <p:extLst>
      <p:ext uri="{BB962C8B-B14F-4D97-AF65-F5344CB8AC3E}">
        <p14:creationId xmlns:p14="http://schemas.microsoft.com/office/powerpoint/2010/main" val="3288418714"/>
      </p:ext>
    </p:extLst>
  </p:cSld>
  <p:clrMapOvr>
    <a:masterClrMapping/>
  </p:clrMapOvr>
  <mc:AlternateContent xmlns:mc="http://schemas.openxmlformats.org/markup-compatibility/2006" xmlns:p14="http://schemas.microsoft.com/office/powerpoint/2010/main">
    <mc:Choice Requires="p14">
      <p:transition spd="slow" p14:dur="2000" advTm="12183"/>
    </mc:Choice>
    <mc:Fallback xmlns="">
      <p:transition spd="slow" advTm="1218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8821C77-3A19-4A87-BA9C-89E7245BF66C}"/>
              </a:ext>
            </a:extLst>
          </p:cNvPr>
          <p:cNvSpPr>
            <a:spLocks noGrp="1"/>
          </p:cNvSpPr>
          <p:nvPr>
            <p:ph type="ftr" sz="quarter" idx="3"/>
          </p:nvPr>
        </p:nvSpPr>
        <p:spPr/>
        <p:txBody>
          <a:bodyPr/>
          <a:lstStyle/>
          <a:p>
            <a:endParaRPr lang="en-US" dirty="0"/>
          </a:p>
        </p:txBody>
      </p:sp>
      <p:pic>
        <p:nvPicPr>
          <p:cNvPr id="5" name="Picture 4">
            <a:extLst>
              <a:ext uri="{FF2B5EF4-FFF2-40B4-BE49-F238E27FC236}">
                <a16:creationId xmlns:a16="http://schemas.microsoft.com/office/drawing/2014/main" id="{1576383D-A988-4D81-AD46-7B9D4B66A2C9}"/>
              </a:ext>
            </a:extLst>
          </p:cNvPr>
          <p:cNvPicPr>
            <a:picLocks noChangeAspect="1"/>
          </p:cNvPicPr>
          <p:nvPr/>
        </p:nvPicPr>
        <p:blipFill>
          <a:blip r:embed="rId5"/>
          <a:stretch>
            <a:fillRect/>
          </a:stretch>
        </p:blipFill>
        <p:spPr>
          <a:xfrm>
            <a:off x="2105343" y="1"/>
            <a:ext cx="7705880" cy="6043612"/>
          </a:xfrm>
          <a:prstGeom prst="rect">
            <a:avLst/>
          </a:prstGeom>
        </p:spPr>
      </p:pic>
      <p:pic>
        <p:nvPicPr>
          <p:cNvPr id="3" name="Audio 2">
            <a:hlinkClick r:id="" action="ppaction://media"/>
            <a:extLst>
              <a:ext uri="{FF2B5EF4-FFF2-40B4-BE49-F238E27FC236}">
                <a16:creationId xmlns:a16="http://schemas.microsoft.com/office/drawing/2014/main" id="{58CA7E77-EF11-4B1C-8E8E-A4AE5548004A}"/>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569700" y="6235700"/>
            <a:ext cx="406400" cy="406400"/>
          </a:xfrm>
          <a:prstGeom prst="rect">
            <a:avLst/>
          </a:prstGeom>
        </p:spPr>
      </p:pic>
    </p:spTree>
    <p:extLst>
      <p:ext uri="{BB962C8B-B14F-4D97-AF65-F5344CB8AC3E}">
        <p14:creationId xmlns:p14="http://schemas.microsoft.com/office/powerpoint/2010/main" val="2876444275"/>
      </p:ext>
    </p:extLst>
  </p:cSld>
  <p:clrMapOvr>
    <a:masterClrMapping/>
  </p:clrMapOvr>
  <mc:AlternateContent xmlns:mc="http://schemas.openxmlformats.org/markup-compatibility/2006" xmlns:p14="http://schemas.microsoft.com/office/powerpoint/2010/main">
    <mc:Choice Requires="p14">
      <p:transition spd="slow" p14:dur="2000" advTm="12689"/>
    </mc:Choice>
    <mc:Fallback xmlns="">
      <p:transition spd="slow" advTm="1268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BD0C136E-D1B7-094D-B9D6-398C890DA23D}"/>
              </a:ext>
            </a:extLst>
          </p:cNvPr>
          <p:cNvSpPr>
            <a:spLocks noGrp="1"/>
          </p:cNvSpPr>
          <p:nvPr>
            <p:ph type="ftr" sz="quarter" idx="3"/>
          </p:nvPr>
        </p:nvSpPr>
        <p:spPr/>
        <p:txBody>
          <a:bodyPr/>
          <a:lstStyle/>
          <a:p>
            <a:endParaRPr lang="en-US" dirty="0"/>
          </a:p>
        </p:txBody>
      </p:sp>
      <p:sp>
        <p:nvSpPr>
          <p:cNvPr id="5" name="Title">
            <a:extLst>
              <a:ext uri="{FF2B5EF4-FFF2-40B4-BE49-F238E27FC236}">
                <a16:creationId xmlns:a16="http://schemas.microsoft.com/office/drawing/2014/main" id="{730F1D63-F6B7-3643-940D-BA23DC44A256}"/>
              </a:ext>
            </a:extLst>
          </p:cNvPr>
          <p:cNvSpPr>
            <a:spLocks noGrp="1"/>
          </p:cNvSpPr>
          <p:nvPr>
            <p:ph type="title"/>
          </p:nvPr>
        </p:nvSpPr>
        <p:spPr/>
        <p:txBody>
          <a:bodyPr/>
          <a:lstStyle/>
          <a:p>
            <a:r>
              <a:rPr lang="en-US" dirty="0"/>
              <a:t>Questionnaire up-dates</a:t>
            </a:r>
          </a:p>
        </p:txBody>
      </p:sp>
      <p:sp>
        <p:nvSpPr>
          <p:cNvPr id="6" name="Content Placeholder">
            <a:extLst>
              <a:ext uri="{FF2B5EF4-FFF2-40B4-BE49-F238E27FC236}">
                <a16:creationId xmlns:a16="http://schemas.microsoft.com/office/drawing/2014/main" id="{E381E7E6-6023-B64D-8DDF-E4F55E268A88}"/>
              </a:ext>
            </a:extLst>
          </p:cNvPr>
          <p:cNvSpPr>
            <a:spLocks noGrp="1"/>
          </p:cNvSpPr>
          <p:nvPr>
            <p:ph idx="1"/>
          </p:nvPr>
        </p:nvSpPr>
        <p:spPr>
          <a:xfrm>
            <a:off x="838200" y="1424324"/>
            <a:ext cx="10515600" cy="4612096"/>
          </a:xfrm>
        </p:spPr>
        <p:txBody>
          <a:bodyPr/>
          <a:lstStyle/>
          <a:p>
            <a:r>
              <a:rPr lang="en-US" b="1" dirty="0"/>
              <a:t>Sickness absence</a:t>
            </a:r>
          </a:p>
          <a:p>
            <a:r>
              <a:rPr lang="en-US" dirty="0"/>
              <a:t>Reasons respondent was </a:t>
            </a:r>
            <a:r>
              <a:rPr lang="en-US" b="1" dirty="0"/>
              <a:t>away from work </a:t>
            </a:r>
            <a:r>
              <a:rPr lang="en-US" dirty="0"/>
              <a:t>or </a:t>
            </a:r>
            <a:r>
              <a:rPr lang="en-US" b="1" dirty="0"/>
              <a:t>worked fewer hours </a:t>
            </a:r>
            <a:r>
              <a:rPr lang="en-US" dirty="0"/>
              <a:t>in the reference week</a:t>
            </a:r>
          </a:p>
          <a:p>
            <a:r>
              <a:rPr lang="en-US" dirty="0"/>
              <a:t>Reasons respondent </a:t>
            </a:r>
            <a:r>
              <a:rPr lang="en-US" b="1" dirty="0"/>
              <a:t>worked more hours than usual </a:t>
            </a:r>
            <a:r>
              <a:rPr lang="en-US" dirty="0"/>
              <a:t>in the reference week</a:t>
            </a:r>
          </a:p>
          <a:p>
            <a:r>
              <a:rPr lang="en-US" dirty="0"/>
              <a:t>Reasons why the respondent was </a:t>
            </a:r>
            <a:r>
              <a:rPr lang="en-US" b="1" dirty="0"/>
              <a:t>paid less than usual</a:t>
            </a:r>
          </a:p>
          <a:p>
            <a:r>
              <a:rPr lang="en-US" b="1" dirty="0"/>
              <a:t>State benefits </a:t>
            </a:r>
            <a:r>
              <a:rPr lang="en-US" dirty="0"/>
              <a:t>(furlough, SEISS)</a:t>
            </a:r>
          </a:p>
          <a:p>
            <a:r>
              <a:rPr lang="en-US" b="1" dirty="0"/>
              <a:t>Home/flexible working</a:t>
            </a:r>
          </a:p>
        </p:txBody>
      </p:sp>
      <p:pic>
        <p:nvPicPr>
          <p:cNvPr id="7" name="Audio 6">
            <a:hlinkClick r:id="" action="ppaction://media"/>
            <a:extLst>
              <a:ext uri="{FF2B5EF4-FFF2-40B4-BE49-F238E27FC236}">
                <a16:creationId xmlns:a16="http://schemas.microsoft.com/office/drawing/2014/main" id="{51CA3C16-10C3-49B3-9884-1C516B4E4222}"/>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569700" y="6235700"/>
            <a:ext cx="406400" cy="406400"/>
          </a:xfrm>
          <a:prstGeom prst="rect">
            <a:avLst/>
          </a:prstGeom>
        </p:spPr>
      </p:pic>
    </p:spTree>
    <p:extLst>
      <p:ext uri="{BB962C8B-B14F-4D97-AF65-F5344CB8AC3E}">
        <p14:creationId xmlns:p14="http://schemas.microsoft.com/office/powerpoint/2010/main" val="1879190208"/>
      </p:ext>
    </p:extLst>
  </p:cSld>
  <p:clrMapOvr>
    <a:masterClrMapping/>
  </p:clrMapOvr>
  <mc:AlternateContent xmlns:mc="http://schemas.openxmlformats.org/markup-compatibility/2006" xmlns:p14="http://schemas.microsoft.com/office/powerpoint/2010/main">
    <mc:Choice Requires="p14">
      <p:transition spd="slow" p14:dur="2000" advTm="226792"/>
    </mc:Choice>
    <mc:Fallback xmlns="">
      <p:transition spd="slow" advTm="22679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38B97F6-A0B3-49CD-A182-94911FA3F71E}"/>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F6C5E21F-8852-4BA4-8075-732EDB253C0F}"/>
              </a:ext>
            </a:extLst>
          </p:cNvPr>
          <p:cNvSpPr>
            <a:spLocks noGrp="1"/>
          </p:cNvSpPr>
          <p:nvPr>
            <p:ph type="title"/>
          </p:nvPr>
        </p:nvSpPr>
        <p:spPr>
          <a:xfrm>
            <a:off x="838200" y="367922"/>
            <a:ext cx="10515600" cy="1052596"/>
          </a:xfrm>
        </p:spPr>
        <p:txBody>
          <a:bodyPr/>
          <a:lstStyle/>
          <a:p>
            <a:r>
              <a:rPr lang="en-GB" dirty="0"/>
              <a:t>Survey changes since AJ20 as a response to COVID-19</a:t>
            </a:r>
          </a:p>
        </p:txBody>
      </p:sp>
      <p:sp>
        <p:nvSpPr>
          <p:cNvPr id="4" name="Content Placeholder 3">
            <a:extLst>
              <a:ext uri="{FF2B5EF4-FFF2-40B4-BE49-F238E27FC236}">
                <a16:creationId xmlns:a16="http://schemas.microsoft.com/office/drawing/2014/main" id="{DBA6AFB0-4D0E-4B18-A555-DC008A86149E}"/>
              </a:ext>
            </a:extLst>
          </p:cNvPr>
          <p:cNvSpPr>
            <a:spLocks noGrp="1"/>
          </p:cNvSpPr>
          <p:nvPr>
            <p:ph idx="1"/>
          </p:nvPr>
        </p:nvSpPr>
        <p:spPr>
          <a:xfrm>
            <a:off x="838200" y="1501816"/>
            <a:ext cx="10515600" cy="4947060"/>
          </a:xfrm>
        </p:spPr>
        <p:txBody>
          <a:bodyPr/>
          <a:lstStyle/>
          <a:p>
            <a:r>
              <a:rPr lang="en-GB" sz="2400" dirty="0"/>
              <a:t>Collection of email address for each household (Main W1-4, Boost W1-3) to allow respondents to be contacted via email in case the postal system is disrupted.</a:t>
            </a:r>
          </a:p>
          <a:p>
            <a:r>
              <a:rPr lang="en-GB" sz="2400" dirty="0" err="1"/>
              <a:t>Telematching</a:t>
            </a:r>
            <a:r>
              <a:rPr lang="en-GB" sz="2400" dirty="0"/>
              <a:t> of entire W1 sample</a:t>
            </a:r>
          </a:p>
          <a:p>
            <a:r>
              <a:rPr lang="en-GB" sz="2400" dirty="0"/>
              <a:t>Telephone interviews for entire sample</a:t>
            </a:r>
          </a:p>
          <a:p>
            <a:r>
              <a:rPr lang="en-GB" sz="2400" dirty="0"/>
              <a:t>Online portal to collect telephone numbers of respondents</a:t>
            </a:r>
          </a:p>
          <a:p>
            <a:r>
              <a:rPr lang="en-GB" sz="2400" dirty="0"/>
              <a:t>LFS W1 sample size increase by 100% for JS20 and OD20, and by 60% from AJ21 onwards (inc. Knock to Nudge)</a:t>
            </a:r>
          </a:p>
          <a:p>
            <a:r>
              <a:rPr lang="en-GB" sz="2400" dirty="0"/>
              <a:t>Adjusted weight calibration using tenure to address bias in the estimates with a further weight adjustment to be applied later this year.</a:t>
            </a:r>
          </a:p>
          <a:p>
            <a:endParaRPr lang="en-GB" dirty="0"/>
          </a:p>
        </p:txBody>
      </p:sp>
      <p:pic>
        <p:nvPicPr>
          <p:cNvPr id="5" name="Audio 4">
            <a:hlinkClick r:id="" action="ppaction://media"/>
            <a:extLst>
              <a:ext uri="{FF2B5EF4-FFF2-40B4-BE49-F238E27FC236}">
                <a16:creationId xmlns:a16="http://schemas.microsoft.com/office/drawing/2014/main" id="{674304C5-C3E5-413A-A97C-E09F94D30C04}"/>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569700" y="6235700"/>
            <a:ext cx="406400" cy="406400"/>
          </a:xfrm>
          <a:prstGeom prst="rect">
            <a:avLst/>
          </a:prstGeom>
        </p:spPr>
      </p:pic>
    </p:spTree>
    <p:extLst>
      <p:ext uri="{BB962C8B-B14F-4D97-AF65-F5344CB8AC3E}">
        <p14:creationId xmlns:p14="http://schemas.microsoft.com/office/powerpoint/2010/main" val="4076253773"/>
      </p:ext>
    </p:extLst>
  </p:cSld>
  <p:clrMapOvr>
    <a:masterClrMapping/>
  </p:clrMapOvr>
  <mc:AlternateContent xmlns:mc="http://schemas.openxmlformats.org/markup-compatibility/2006" xmlns:p14="http://schemas.microsoft.com/office/powerpoint/2010/main">
    <mc:Choice Requires="p14">
      <p:transition spd="slow" p14:dur="2000" advTm="60552"/>
    </mc:Choice>
    <mc:Fallback xmlns="">
      <p:transition spd="slow" advTm="6055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9"/>
          <p:cNvSpPr>
            <a:spLocks/>
          </p:cNvSpPr>
          <p:nvPr/>
        </p:nvSpPr>
        <p:spPr bwMode="auto">
          <a:xfrm rot="20266849">
            <a:off x="10037842" y="3281530"/>
            <a:ext cx="1804578" cy="1560285"/>
          </a:xfrm>
          <a:custGeom>
            <a:avLst/>
            <a:gdLst>
              <a:gd name="T0" fmla="*/ 232 w 458"/>
              <a:gd name="T1" fmla="*/ 0 h 408"/>
              <a:gd name="T2" fmla="*/ 15 w 458"/>
              <a:gd name="T3" fmla="*/ 178 h 408"/>
              <a:gd name="T4" fmla="*/ 62 w 458"/>
              <a:gd name="T5" fmla="*/ 315 h 408"/>
              <a:gd name="T6" fmla="*/ 0 w 458"/>
              <a:gd name="T7" fmla="*/ 377 h 408"/>
              <a:gd name="T8" fmla="*/ 113 w 458"/>
              <a:gd name="T9" fmla="*/ 367 h 408"/>
              <a:gd name="T10" fmla="*/ 232 w 458"/>
              <a:gd name="T11" fmla="*/ 408 h 408"/>
              <a:gd name="T12" fmla="*/ 458 w 458"/>
              <a:gd name="T13" fmla="*/ 225 h 408"/>
              <a:gd name="T14" fmla="*/ 232 w 458"/>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8" h="408">
                <a:moveTo>
                  <a:pt x="232" y="0"/>
                </a:moveTo>
                <a:cubicBezTo>
                  <a:pt x="111" y="0"/>
                  <a:pt x="15" y="65"/>
                  <a:pt x="15" y="178"/>
                </a:cubicBezTo>
                <a:cubicBezTo>
                  <a:pt x="15" y="226"/>
                  <a:pt x="33" y="275"/>
                  <a:pt x="62" y="315"/>
                </a:cubicBezTo>
                <a:cubicBezTo>
                  <a:pt x="45" y="340"/>
                  <a:pt x="22" y="363"/>
                  <a:pt x="0" y="377"/>
                </a:cubicBezTo>
                <a:cubicBezTo>
                  <a:pt x="31" y="382"/>
                  <a:pt x="77" y="375"/>
                  <a:pt x="113" y="367"/>
                </a:cubicBezTo>
                <a:cubicBezTo>
                  <a:pt x="147" y="392"/>
                  <a:pt x="188" y="408"/>
                  <a:pt x="232" y="408"/>
                </a:cubicBezTo>
                <a:cubicBezTo>
                  <a:pt x="353" y="408"/>
                  <a:pt x="458" y="337"/>
                  <a:pt x="458" y="225"/>
                </a:cubicBezTo>
                <a:cubicBezTo>
                  <a:pt x="458" y="112"/>
                  <a:pt x="353" y="0"/>
                  <a:pt x="232" y="0"/>
                </a:cubicBezTo>
                <a:close/>
              </a:path>
            </a:pathLst>
          </a:custGeom>
          <a:solidFill>
            <a:srgbClr val="133477"/>
          </a:solidFill>
          <a:ln>
            <a:noFill/>
          </a:ln>
        </p:spPr>
        <p:txBody>
          <a:bodyPr vert="horz" wrap="square" lIns="121920" tIns="60960" rIns="121920" bIns="60960" numCol="1" anchor="t" anchorCtr="0" compatLnSpc="1">
            <a:prstTxWarp prst="textNoShape">
              <a:avLst/>
            </a:prstTxWarp>
          </a:bodyPr>
          <a:lstStyle/>
          <a:p>
            <a:endParaRPr lang="en-US" sz="3200"/>
          </a:p>
        </p:txBody>
      </p:sp>
      <p:sp>
        <p:nvSpPr>
          <p:cNvPr id="2" name="Title 1"/>
          <p:cNvSpPr>
            <a:spLocks noGrp="1"/>
          </p:cNvSpPr>
          <p:nvPr>
            <p:ph type="title"/>
          </p:nvPr>
        </p:nvSpPr>
        <p:spPr/>
        <p:txBody>
          <a:bodyPr/>
          <a:lstStyle/>
          <a:p>
            <a:r>
              <a:rPr lang="en-US" dirty="0"/>
              <a:t>What is the Labour Force Survey?</a:t>
            </a:r>
          </a:p>
        </p:txBody>
      </p:sp>
      <p:sp>
        <p:nvSpPr>
          <p:cNvPr id="5" name="Freeform 6"/>
          <p:cNvSpPr>
            <a:spLocks/>
          </p:cNvSpPr>
          <p:nvPr/>
        </p:nvSpPr>
        <p:spPr bwMode="auto">
          <a:xfrm rot="547283">
            <a:off x="1867259" y="2823484"/>
            <a:ext cx="1877977" cy="1714255"/>
          </a:xfrm>
          <a:custGeom>
            <a:avLst/>
            <a:gdLst>
              <a:gd name="T0" fmla="*/ 340 w 423"/>
              <a:gd name="T1" fmla="*/ 339 h 419"/>
              <a:gd name="T2" fmla="*/ 423 w 423"/>
              <a:gd name="T3" fmla="*/ 182 h 419"/>
              <a:gd name="T4" fmla="*/ 210 w 423"/>
              <a:gd name="T5" fmla="*/ 10 h 419"/>
              <a:gd name="T6" fmla="*/ 0 w 423"/>
              <a:gd name="T7" fmla="*/ 197 h 419"/>
              <a:gd name="T8" fmla="*/ 210 w 423"/>
              <a:gd name="T9" fmla="*/ 384 h 419"/>
              <a:gd name="T10" fmla="*/ 262 w 423"/>
              <a:gd name="T11" fmla="*/ 377 h 419"/>
              <a:gd name="T12" fmla="*/ 382 w 423"/>
              <a:gd name="T13" fmla="*/ 419 h 419"/>
              <a:gd name="T14" fmla="*/ 340 w 423"/>
              <a:gd name="T15" fmla="*/ 339 h 4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3" h="419">
                <a:moveTo>
                  <a:pt x="340" y="339"/>
                </a:moveTo>
                <a:cubicBezTo>
                  <a:pt x="390" y="300"/>
                  <a:pt x="423" y="242"/>
                  <a:pt x="423" y="182"/>
                </a:cubicBezTo>
                <a:cubicBezTo>
                  <a:pt x="423" y="79"/>
                  <a:pt x="332" y="0"/>
                  <a:pt x="210" y="10"/>
                </a:cubicBezTo>
                <a:cubicBezTo>
                  <a:pt x="95" y="20"/>
                  <a:pt x="0" y="94"/>
                  <a:pt x="0" y="197"/>
                </a:cubicBezTo>
                <a:cubicBezTo>
                  <a:pt x="0" y="300"/>
                  <a:pt x="94" y="384"/>
                  <a:pt x="210" y="384"/>
                </a:cubicBezTo>
                <a:cubicBezTo>
                  <a:pt x="228" y="384"/>
                  <a:pt x="245" y="381"/>
                  <a:pt x="262" y="377"/>
                </a:cubicBezTo>
                <a:cubicBezTo>
                  <a:pt x="291" y="391"/>
                  <a:pt x="337" y="409"/>
                  <a:pt x="382" y="419"/>
                </a:cubicBezTo>
                <a:cubicBezTo>
                  <a:pt x="363" y="400"/>
                  <a:pt x="350" y="370"/>
                  <a:pt x="340" y="339"/>
                </a:cubicBezTo>
                <a:close/>
              </a:path>
            </a:pathLst>
          </a:custGeom>
          <a:gradFill flip="none" rotWithShape="1">
            <a:gsLst>
              <a:gs pos="0">
                <a:schemeClr val="accent1">
                  <a:alpha val="75000"/>
                </a:schemeClr>
              </a:gs>
              <a:gs pos="100000">
                <a:schemeClr val="accent1"/>
              </a:gs>
            </a:gsLst>
            <a:path path="circle">
              <a:fillToRect l="50000" t="50000" r="50000" b="50000"/>
            </a:path>
            <a:tileRect/>
          </a:gradFill>
          <a:ln>
            <a:noFill/>
          </a:ln>
        </p:spPr>
        <p:txBody>
          <a:bodyPr vert="horz" wrap="square" lIns="121920" tIns="60960" rIns="121920" bIns="60960" numCol="1" anchor="t" anchorCtr="0" compatLnSpc="1">
            <a:prstTxWarp prst="textNoShape">
              <a:avLst/>
            </a:prstTxWarp>
          </a:bodyPr>
          <a:lstStyle/>
          <a:p>
            <a:endParaRPr lang="en-US" sz="3200"/>
          </a:p>
        </p:txBody>
      </p:sp>
      <p:sp>
        <p:nvSpPr>
          <p:cNvPr id="6" name="Freeform 7"/>
          <p:cNvSpPr>
            <a:spLocks/>
          </p:cNvSpPr>
          <p:nvPr/>
        </p:nvSpPr>
        <p:spPr bwMode="auto">
          <a:xfrm rot="585448">
            <a:off x="3752309" y="3147650"/>
            <a:ext cx="2147765" cy="1831228"/>
          </a:xfrm>
          <a:custGeom>
            <a:avLst/>
            <a:gdLst>
              <a:gd name="T0" fmla="*/ 348 w 412"/>
              <a:gd name="T1" fmla="*/ 332 h 418"/>
              <a:gd name="T2" fmla="*/ 407 w 412"/>
              <a:gd name="T3" fmla="*/ 180 h 418"/>
              <a:gd name="T4" fmla="*/ 205 w 412"/>
              <a:gd name="T5" fmla="*/ 10 h 418"/>
              <a:gd name="T6" fmla="*/ 0 w 412"/>
              <a:gd name="T7" fmla="*/ 201 h 418"/>
              <a:gd name="T8" fmla="*/ 205 w 412"/>
              <a:gd name="T9" fmla="*/ 392 h 418"/>
              <a:gd name="T10" fmla="*/ 288 w 412"/>
              <a:gd name="T11" fmla="*/ 370 h 418"/>
              <a:gd name="T12" fmla="*/ 384 w 412"/>
              <a:gd name="T13" fmla="*/ 418 h 418"/>
              <a:gd name="T14" fmla="*/ 348 w 412"/>
              <a:gd name="T15" fmla="*/ 332 h 4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2" h="418">
                <a:moveTo>
                  <a:pt x="348" y="332"/>
                </a:moveTo>
                <a:cubicBezTo>
                  <a:pt x="392" y="291"/>
                  <a:pt x="412" y="236"/>
                  <a:pt x="407" y="180"/>
                </a:cubicBezTo>
                <a:cubicBezTo>
                  <a:pt x="398" y="90"/>
                  <a:pt x="337" y="21"/>
                  <a:pt x="205" y="10"/>
                </a:cubicBezTo>
                <a:cubicBezTo>
                  <a:pt x="82" y="0"/>
                  <a:pt x="0" y="96"/>
                  <a:pt x="0" y="201"/>
                </a:cubicBezTo>
                <a:cubicBezTo>
                  <a:pt x="0" y="307"/>
                  <a:pt x="93" y="405"/>
                  <a:pt x="205" y="392"/>
                </a:cubicBezTo>
                <a:cubicBezTo>
                  <a:pt x="236" y="389"/>
                  <a:pt x="264" y="381"/>
                  <a:pt x="288" y="370"/>
                </a:cubicBezTo>
                <a:cubicBezTo>
                  <a:pt x="318" y="390"/>
                  <a:pt x="356" y="412"/>
                  <a:pt x="384" y="418"/>
                </a:cubicBezTo>
                <a:cubicBezTo>
                  <a:pt x="365" y="399"/>
                  <a:pt x="354" y="363"/>
                  <a:pt x="348" y="332"/>
                </a:cubicBezTo>
                <a:close/>
              </a:path>
            </a:pathLst>
          </a:custGeom>
          <a:gradFill flip="none" rotWithShape="1">
            <a:gsLst>
              <a:gs pos="0">
                <a:schemeClr val="accent3">
                  <a:alpha val="75000"/>
                </a:schemeClr>
              </a:gs>
              <a:gs pos="100000">
                <a:schemeClr val="accent3">
                  <a:alpha val="95000"/>
                </a:schemeClr>
              </a:gs>
            </a:gsLst>
            <a:path path="circle">
              <a:fillToRect l="50000" t="50000" r="50000" b="50000"/>
            </a:path>
            <a:tileRect/>
          </a:gradFill>
          <a:ln>
            <a:noFill/>
          </a:ln>
        </p:spPr>
        <p:txBody>
          <a:bodyPr vert="horz" wrap="square" lIns="121920" tIns="60960" rIns="121920" bIns="60960" numCol="1" anchor="t" anchorCtr="0" compatLnSpc="1">
            <a:prstTxWarp prst="textNoShape">
              <a:avLst/>
            </a:prstTxWarp>
          </a:bodyPr>
          <a:lstStyle/>
          <a:p>
            <a:endParaRPr lang="en-US" sz="3200"/>
          </a:p>
        </p:txBody>
      </p:sp>
      <p:sp>
        <p:nvSpPr>
          <p:cNvPr id="7" name="Freeform 8"/>
          <p:cNvSpPr>
            <a:spLocks/>
          </p:cNvSpPr>
          <p:nvPr/>
        </p:nvSpPr>
        <p:spPr bwMode="auto">
          <a:xfrm rot="21064990" flipH="1">
            <a:off x="5902488" y="2753762"/>
            <a:ext cx="1920882" cy="2036238"/>
          </a:xfrm>
          <a:custGeom>
            <a:avLst/>
            <a:gdLst>
              <a:gd name="T0" fmla="*/ 428 w 428"/>
              <a:gd name="T1" fmla="*/ 205 h 495"/>
              <a:gd name="T2" fmla="*/ 213 w 428"/>
              <a:gd name="T3" fmla="*/ 12 h 495"/>
              <a:gd name="T4" fmla="*/ 0 w 428"/>
              <a:gd name="T5" fmla="*/ 211 h 495"/>
              <a:gd name="T6" fmla="*/ 213 w 428"/>
              <a:gd name="T7" fmla="*/ 410 h 495"/>
              <a:gd name="T8" fmla="*/ 213 w 428"/>
              <a:gd name="T9" fmla="*/ 410 h 495"/>
              <a:gd name="T10" fmla="*/ 280 w 428"/>
              <a:gd name="T11" fmla="*/ 495 h 495"/>
              <a:gd name="T12" fmla="*/ 282 w 428"/>
              <a:gd name="T13" fmla="*/ 397 h 495"/>
              <a:gd name="T14" fmla="*/ 428 w 428"/>
              <a:gd name="T15" fmla="*/ 205 h 4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495">
                <a:moveTo>
                  <a:pt x="428" y="205"/>
                </a:moveTo>
                <a:cubicBezTo>
                  <a:pt x="428" y="95"/>
                  <a:pt x="368" y="28"/>
                  <a:pt x="213" y="12"/>
                </a:cubicBezTo>
                <a:cubicBezTo>
                  <a:pt x="96" y="0"/>
                  <a:pt x="0" y="101"/>
                  <a:pt x="0" y="211"/>
                </a:cubicBezTo>
                <a:cubicBezTo>
                  <a:pt x="0" y="321"/>
                  <a:pt x="96" y="420"/>
                  <a:pt x="213" y="410"/>
                </a:cubicBezTo>
                <a:cubicBezTo>
                  <a:pt x="213" y="410"/>
                  <a:pt x="213" y="410"/>
                  <a:pt x="213" y="410"/>
                </a:cubicBezTo>
                <a:cubicBezTo>
                  <a:pt x="233" y="444"/>
                  <a:pt x="256" y="475"/>
                  <a:pt x="280" y="495"/>
                </a:cubicBezTo>
                <a:cubicBezTo>
                  <a:pt x="277" y="464"/>
                  <a:pt x="277" y="433"/>
                  <a:pt x="282" y="397"/>
                </a:cubicBezTo>
                <a:cubicBezTo>
                  <a:pt x="378" y="368"/>
                  <a:pt x="428" y="296"/>
                  <a:pt x="428" y="205"/>
                </a:cubicBezTo>
                <a:close/>
              </a:path>
            </a:pathLst>
          </a:custGeom>
          <a:gradFill flip="none" rotWithShape="1">
            <a:gsLst>
              <a:gs pos="0">
                <a:schemeClr val="accent5">
                  <a:alpha val="75000"/>
                </a:schemeClr>
              </a:gs>
              <a:gs pos="100000">
                <a:schemeClr val="accent5"/>
              </a:gs>
            </a:gsLst>
            <a:path path="circle">
              <a:fillToRect l="50000" t="50000" r="50000" b="50000"/>
            </a:path>
            <a:tileRect/>
          </a:gradFill>
          <a:ln>
            <a:noFill/>
          </a:ln>
          <a:scene3d>
            <a:camera prst="orthographicFront">
              <a:rot lat="0" lon="21299999" rev="0"/>
            </a:camera>
            <a:lightRig rig="threePt" dir="t"/>
          </a:scene3d>
        </p:spPr>
        <p:txBody>
          <a:bodyPr vert="horz" wrap="square" lIns="121920" tIns="60960" rIns="121920" bIns="60960" numCol="1" anchor="t" anchorCtr="0" compatLnSpc="1">
            <a:prstTxWarp prst="textNoShape">
              <a:avLst/>
            </a:prstTxWarp>
          </a:bodyPr>
          <a:lstStyle/>
          <a:p>
            <a:endParaRPr lang="en-US" sz="3200" dirty="0"/>
          </a:p>
        </p:txBody>
      </p:sp>
      <p:sp>
        <p:nvSpPr>
          <p:cNvPr id="9" name="Freeform 10"/>
          <p:cNvSpPr>
            <a:spLocks/>
          </p:cNvSpPr>
          <p:nvPr/>
        </p:nvSpPr>
        <p:spPr bwMode="auto">
          <a:xfrm rot="20477671">
            <a:off x="8085816" y="3091301"/>
            <a:ext cx="2013990" cy="1979202"/>
          </a:xfrm>
          <a:custGeom>
            <a:avLst/>
            <a:gdLst>
              <a:gd name="T0" fmla="*/ 203 w 405"/>
              <a:gd name="T1" fmla="*/ 0 h 461"/>
              <a:gd name="T2" fmla="*/ 0 w 405"/>
              <a:gd name="T3" fmla="*/ 189 h 461"/>
              <a:gd name="T4" fmla="*/ 118 w 405"/>
              <a:gd name="T5" fmla="*/ 361 h 461"/>
              <a:gd name="T6" fmla="*/ 108 w 405"/>
              <a:gd name="T7" fmla="*/ 461 h 461"/>
              <a:gd name="T8" fmla="*/ 197 w 405"/>
              <a:gd name="T9" fmla="*/ 378 h 461"/>
              <a:gd name="T10" fmla="*/ 203 w 405"/>
              <a:gd name="T11" fmla="*/ 378 h 461"/>
              <a:gd name="T12" fmla="*/ 405 w 405"/>
              <a:gd name="T13" fmla="*/ 189 h 461"/>
              <a:gd name="T14" fmla="*/ 203 w 405"/>
              <a:gd name="T15" fmla="*/ 0 h 4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5" h="461">
                <a:moveTo>
                  <a:pt x="203" y="0"/>
                </a:moveTo>
                <a:cubicBezTo>
                  <a:pt x="91" y="0"/>
                  <a:pt x="0" y="85"/>
                  <a:pt x="0" y="189"/>
                </a:cubicBezTo>
                <a:cubicBezTo>
                  <a:pt x="0" y="265"/>
                  <a:pt x="49" y="331"/>
                  <a:pt x="118" y="361"/>
                </a:cubicBezTo>
                <a:cubicBezTo>
                  <a:pt x="121" y="394"/>
                  <a:pt x="117" y="431"/>
                  <a:pt x="108" y="461"/>
                </a:cubicBezTo>
                <a:cubicBezTo>
                  <a:pt x="137" y="445"/>
                  <a:pt x="172" y="407"/>
                  <a:pt x="197" y="378"/>
                </a:cubicBezTo>
                <a:cubicBezTo>
                  <a:pt x="199" y="378"/>
                  <a:pt x="201" y="378"/>
                  <a:pt x="203" y="378"/>
                </a:cubicBezTo>
                <a:cubicBezTo>
                  <a:pt x="314" y="378"/>
                  <a:pt x="405" y="293"/>
                  <a:pt x="405" y="189"/>
                </a:cubicBezTo>
                <a:cubicBezTo>
                  <a:pt x="405" y="85"/>
                  <a:pt x="314" y="0"/>
                  <a:pt x="203" y="0"/>
                </a:cubicBezTo>
                <a:close/>
              </a:path>
            </a:pathLst>
          </a:custGeom>
          <a:gradFill flip="none" rotWithShape="1">
            <a:gsLst>
              <a:gs pos="0">
                <a:schemeClr val="accent6">
                  <a:alpha val="75000"/>
                </a:schemeClr>
              </a:gs>
              <a:gs pos="100000">
                <a:schemeClr val="accent6">
                  <a:alpha val="95000"/>
                </a:schemeClr>
              </a:gs>
            </a:gsLst>
            <a:path path="circle">
              <a:fillToRect l="50000" t="50000" r="50000" b="50000"/>
            </a:path>
            <a:tileRect/>
          </a:gradFill>
          <a:ln>
            <a:noFill/>
          </a:ln>
        </p:spPr>
        <p:txBody>
          <a:bodyPr vert="horz" wrap="square" lIns="121920" tIns="60960" rIns="121920" bIns="60960" numCol="1" anchor="t" anchorCtr="0" compatLnSpc="1">
            <a:prstTxWarp prst="textNoShape">
              <a:avLst/>
            </a:prstTxWarp>
          </a:bodyPr>
          <a:lstStyle/>
          <a:p>
            <a:endParaRPr lang="en-US" sz="2800">
              <a:solidFill>
                <a:srgbClr val="FFFFFF"/>
              </a:solidFill>
            </a:endParaRPr>
          </a:p>
        </p:txBody>
      </p:sp>
      <p:sp>
        <p:nvSpPr>
          <p:cNvPr id="12" name="TextBox 11"/>
          <p:cNvSpPr txBox="1"/>
          <p:nvPr/>
        </p:nvSpPr>
        <p:spPr>
          <a:xfrm>
            <a:off x="3733539" y="3482864"/>
            <a:ext cx="2149051" cy="1015663"/>
          </a:xfrm>
          <a:prstGeom prst="rect">
            <a:avLst/>
          </a:prstGeom>
          <a:noFill/>
        </p:spPr>
        <p:txBody>
          <a:bodyPr wrap="square" rtlCol="0">
            <a:spAutoFit/>
          </a:bodyPr>
          <a:lstStyle/>
          <a:p>
            <a:pPr algn="ctr"/>
            <a:r>
              <a:rPr lang="en-US" sz="2000" dirty="0">
                <a:solidFill>
                  <a:srgbClr val="FFFFFF"/>
                </a:solidFill>
              </a:rPr>
              <a:t>Employment patterns &amp;</a:t>
            </a:r>
          </a:p>
          <a:p>
            <a:pPr algn="ctr"/>
            <a:r>
              <a:rPr lang="en-US" sz="2000" dirty="0">
                <a:solidFill>
                  <a:srgbClr val="FFFFFF"/>
                </a:solidFill>
              </a:rPr>
              <a:t>hours worked</a:t>
            </a:r>
            <a:endParaRPr lang="en-US" sz="1400" dirty="0">
              <a:solidFill>
                <a:srgbClr val="FFFFFF"/>
              </a:solidFill>
            </a:endParaRPr>
          </a:p>
        </p:txBody>
      </p:sp>
      <p:sp>
        <p:nvSpPr>
          <p:cNvPr id="15" name="TextBox 14"/>
          <p:cNvSpPr txBox="1"/>
          <p:nvPr/>
        </p:nvSpPr>
        <p:spPr>
          <a:xfrm>
            <a:off x="1899369" y="3200311"/>
            <a:ext cx="1790224" cy="707886"/>
          </a:xfrm>
          <a:prstGeom prst="rect">
            <a:avLst/>
          </a:prstGeom>
          <a:noFill/>
        </p:spPr>
        <p:txBody>
          <a:bodyPr wrap="square" rtlCol="0">
            <a:spAutoFit/>
          </a:bodyPr>
          <a:lstStyle/>
          <a:p>
            <a:pPr algn="ctr"/>
            <a:r>
              <a:rPr lang="en-US" sz="2000" dirty="0">
                <a:solidFill>
                  <a:srgbClr val="FFFFFF"/>
                </a:solidFill>
              </a:rPr>
              <a:t>Job industries</a:t>
            </a:r>
          </a:p>
          <a:p>
            <a:pPr algn="ctr"/>
            <a:r>
              <a:rPr lang="en-US" sz="2000" dirty="0">
                <a:solidFill>
                  <a:srgbClr val="FFFFFF"/>
                </a:solidFill>
              </a:rPr>
              <a:t> &amp; occupation</a:t>
            </a:r>
            <a:endParaRPr lang="en-US" sz="1400" dirty="0">
              <a:solidFill>
                <a:srgbClr val="FFFFFF"/>
              </a:solidFill>
            </a:endParaRPr>
          </a:p>
        </p:txBody>
      </p:sp>
      <p:sp>
        <p:nvSpPr>
          <p:cNvPr id="18" name="TextBox 17"/>
          <p:cNvSpPr txBox="1"/>
          <p:nvPr/>
        </p:nvSpPr>
        <p:spPr>
          <a:xfrm>
            <a:off x="6083662" y="3260392"/>
            <a:ext cx="1422896" cy="707886"/>
          </a:xfrm>
          <a:prstGeom prst="rect">
            <a:avLst/>
          </a:prstGeom>
          <a:noFill/>
        </p:spPr>
        <p:txBody>
          <a:bodyPr wrap="square" rtlCol="0">
            <a:spAutoFit/>
          </a:bodyPr>
          <a:lstStyle/>
          <a:p>
            <a:pPr algn="ctr"/>
            <a:r>
              <a:rPr lang="en-US" sz="2000" dirty="0">
                <a:solidFill>
                  <a:srgbClr val="FFFFFF"/>
                </a:solidFill>
              </a:rPr>
              <a:t>Earnings &amp; benefits</a:t>
            </a:r>
            <a:endParaRPr lang="en-US" sz="1400" dirty="0">
              <a:solidFill>
                <a:srgbClr val="FFFFFF"/>
              </a:solidFill>
            </a:endParaRPr>
          </a:p>
        </p:txBody>
      </p:sp>
      <p:sp>
        <p:nvSpPr>
          <p:cNvPr id="21" name="TextBox 20"/>
          <p:cNvSpPr txBox="1"/>
          <p:nvPr/>
        </p:nvSpPr>
        <p:spPr>
          <a:xfrm>
            <a:off x="8302807" y="3366921"/>
            <a:ext cx="1525362" cy="1015663"/>
          </a:xfrm>
          <a:prstGeom prst="rect">
            <a:avLst/>
          </a:prstGeom>
          <a:noFill/>
        </p:spPr>
        <p:txBody>
          <a:bodyPr wrap="square" rtlCol="0">
            <a:spAutoFit/>
          </a:bodyPr>
          <a:lstStyle/>
          <a:p>
            <a:pPr algn="ctr"/>
            <a:r>
              <a:rPr lang="en-US" sz="2000" dirty="0">
                <a:solidFill>
                  <a:srgbClr val="FFFFFF"/>
                </a:solidFill>
              </a:rPr>
              <a:t>Health, </a:t>
            </a:r>
          </a:p>
          <a:p>
            <a:pPr algn="ctr"/>
            <a:r>
              <a:rPr lang="en-US" sz="2000" dirty="0">
                <a:solidFill>
                  <a:srgbClr val="FFFFFF"/>
                </a:solidFill>
              </a:rPr>
              <a:t>well-being, sickness</a:t>
            </a:r>
            <a:endParaRPr lang="en-US" sz="1400" dirty="0">
              <a:solidFill>
                <a:srgbClr val="FFFFFF"/>
              </a:solidFill>
            </a:endParaRPr>
          </a:p>
        </p:txBody>
      </p:sp>
      <p:grpSp>
        <p:nvGrpSpPr>
          <p:cNvPr id="26" name="Group 4"/>
          <p:cNvGrpSpPr>
            <a:grpSpLocks noChangeAspect="1"/>
          </p:cNvGrpSpPr>
          <p:nvPr/>
        </p:nvGrpSpPr>
        <p:grpSpPr bwMode="auto">
          <a:xfrm>
            <a:off x="2381291" y="4835343"/>
            <a:ext cx="664754" cy="1319586"/>
            <a:chOff x="1506" y="3505"/>
            <a:chExt cx="871" cy="1729"/>
          </a:xfrm>
          <a:solidFill>
            <a:schemeClr val="accent1"/>
          </a:solidFill>
        </p:grpSpPr>
        <p:sp>
          <p:nvSpPr>
            <p:cNvPr id="28" name="Freeform 5"/>
            <p:cNvSpPr>
              <a:spLocks noEditPoints="1"/>
            </p:cNvSpPr>
            <p:nvPr/>
          </p:nvSpPr>
          <p:spPr bwMode="auto">
            <a:xfrm>
              <a:off x="1777" y="3505"/>
              <a:ext cx="329" cy="325"/>
            </a:xfrm>
            <a:custGeom>
              <a:avLst/>
              <a:gdLst>
                <a:gd name="T0" fmla="*/ 69 w 138"/>
                <a:gd name="T1" fmla="*/ 137 h 137"/>
                <a:gd name="T2" fmla="*/ 0 w 138"/>
                <a:gd name="T3" fmla="*/ 68 h 137"/>
                <a:gd name="T4" fmla="*/ 69 w 138"/>
                <a:gd name="T5" fmla="*/ 0 h 137"/>
                <a:gd name="T6" fmla="*/ 138 w 138"/>
                <a:gd name="T7" fmla="*/ 68 h 137"/>
                <a:gd name="T8" fmla="*/ 69 w 138"/>
                <a:gd name="T9" fmla="*/ 137 h 137"/>
                <a:gd name="T10" fmla="*/ 69 w 138"/>
                <a:gd name="T11" fmla="*/ 14 h 137"/>
                <a:gd name="T12" fmla="*/ 14 w 138"/>
                <a:gd name="T13" fmla="*/ 68 h 137"/>
                <a:gd name="T14" fmla="*/ 69 w 138"/>
                <a:gd name="T15" fmla="*/ 123 h 137"/>
                <a:gd name="T16" fmla="*/ 124 w 138"/>
                <a:gd name="T17" fmla="*/ 68 h 137"/>
                <a:gd name="T18" fmla="*/ 69 w 138"/>
                <a:gd name="T19" fmla="*/ 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37">
                  <a:moveTo>
                    <a:pt x="69" y="137"/>
                  </a:moveTo>
                  <a:cubicBezTo>
                    <a:pt x="31" y="137"/>
                    <a:pt x="0" y="106"/>
                    <a:pt x="0" y="68"/>
                  </a:cubicBezTo>
                  <a:cubicBezTo>
                    <a:pt x="0" y="30"/>
                    <a:pt x="31" y="0"/>
                    <a:pt x="69" y="0"/>
                  </a:cubicBezTo>
                  <a:cubicBezTo>
                    <a:pt x="107" y="0"/>
                    <a:pt x="138" y="30"/>
                    <a:pt x="138" y="68"/>
                  </a:cubicBezTo>
                  <a:cubicBezTo>
                    <a:pt x="138" y="106"/>
                    <a:pt x="107" y="137"/>
                    <a:pt x="69" y="137"/>
                  </a:cubicBezTo>
                  <a:close/>
                  <a:moveTo>
                    <a:pt x="69" y="14"/>
                  </a:moveTo>
                  <a:cubicBezTo>
                    <a:pt x="39" y="14"/>
                    <a:pt x="14" y="38"/>
                    <a:pt x="14" y="68"/>
                  </a:cubicBezTo>
                  <a:cubicBezTo>
                    <a:pt x="14" y="99"/>
                    <a:pt x="39" y="123"/>
                    <a:pt x="69" y="123"/>
                  </a:cubicBezTo>
                  <a:cubicBezTo>
                    <a:pt x="100" y="123"/>
                    <a:pt x="124" y="99"/>
                    <a:pt x="124" y="68"/>
                  </a:cubicBezTo>
                  <a:cubicBezTo>
                    <a:pt x="124" y="38"/>
                    <a:pt x="100" y="14"/>
                    <a:pt x="6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a:p>
          </p:txBody>
        </p:sp>
        <p:sp>
          <p:nvSpPr>
            <p:cNvPr id="29" name="Freeform 6"/>
            <p:cNvSpPr>
              <a:spLocks noEditPoints="1"/>
            </p:cNvSpPr>
            <p:nvPr/>
          </p:nvSpPr>
          <p:spPr bwMode="auto">
            <a:xfrm>
              <a:off x="1506" y="3870"/>
              <a:ext cx="871" cy="1364"/>
            </a:xfrm>
            <a:custGeom>
              <a:avLst/>
              <a:gdLst>
                <a:gd name="T0" fmla="*/ 205 w 366"/>
                <a:gd name="T1" fmla="*/ 547 h 575"/>
                <a:gd name="T2" fmla="*/ 161 w 366"/>
                <a:gd name="T3" fmla="*/ 547 h 575"/>
                <a:gd name="T4" fmla="*/ 95 w 366"/>
                <a:gd name="T5" fmla="*/ 547 h 575"/>
                <a:gd name="T6" fmla="*/ 105 w 366"/>
                <a:gd name="T7" fmla="*/ 161 h 575"/>
                <a:gd name="T8" fmla="*/ 31 w 366"/>
                <a:gd name="T9" fmla="*/ 287 h 575"/>
                <a:gd name="T10" fmla="*/ 4 w 366"/>
                <a:gd name="T11" fmla="*/ 254 h 575"/>
                <a:gd name="T12" fmla="*/ 12 w 366"/>
                <a:gd name="T13" fmla="*/ 228 h 575"/>
                <a:gd name="T14" fmla="*/ 183 w 366"/>
                <a:gd name="T15" fmla="*/ 0 h 575"/>
                <a:gd name="T16" fmla="*/ 354 w 366"/>
                <a:gd name="T17" fmla="*/ 228 h 575"/>
                <a:gd name="T18" fmla="*/ 363 w 366"/>
                <a:gd name="T19" fmla="*/ 254 h 575"/>
                <a:gd name="T20" fmla="*/ 335 w 366"/>
                <a:gd name="T21" fmla="*/ 287 h 575"/>
                <a:gd name="T22" fmla="*/ 262 w 366"/>
                <a:gd name="T23" fmla="*/ 161 h 575"/>
                <a:gd name="T24" fmla="*/ 271 w 366"/>
                <a:gd name="T25" fmla="*/ 547 h 575"/>
                <a:gd name="T26" fmla="*/ 238 w 366"/>
                <a:gd name="T27" fmla="*/ 575 h 575"/>
                <a:gd name="T28" fmla="*/ 190 w 366"/>
                <a:gd name="T29" fmla="*/ 299 h 575"/>
                <a:gd name="T30" fmla="*/ 238 w 366"/>
                <a:gd name="T31" fmla="*/ 561 h 575"/>
                <a:gd name="T32" fmla="*/ 238 w 366"/>
                <a:gd name="T33" fmla="*/ 561 h 575"/>
                <a:gd name="T34" fmla="*/ 257 w 366"/>
                <a:gd name="T35" fmla="*/ 546 h 575"/>
                <a:gd name="T36" fmla="*/ 256 w 366"/>
                <a:gd name="T37" fmla="*/ 481 h 575"/>
                <a:gd name="T38" fmla="*/ 247 w 366"/>
                <a:gd name="T39" fmla="*/ 127 h 575"/>
                <a:gd name="T40" fmla="*/ 260 w 366"/>
                <a:gd name="T41" fmla="*/ 124 h 575"/>
                <a:gd name="T42" fmla="*/ 335 w 366"/>
                <a:gd name="T43" fmla="*/ 273 h 575"/>
                <a:gd name="T44" fmla="*/ 350 w 366"/>
                <a:gd name="T45" fmla="*/ 258 h 575"/>
                <a:gd name="T46" fmla="*/ 347 w 366"/>
                <a:gd name="T47" fmla="*/ 251 h 575"/>
                <a:gd name="T48" fmla="*/ 279 w 366"/>
                <a:gd name="T49" fmla="*/ 50 h 575"/>
                <a:gd name="T50" fmla="*/ 88 w 366"/>
                <a:gd name="T51" fmla="*/ 50 h 575"/>
                <a:gd name="T52" fmla="*/ 19 w 366"/>
                <a:gd name="T53" fmla="*/ 251 h 575"/>
                <a:gd name="T54" fmla="*/ 17 w 366"/>
                <a:gd name="T55" fmla="*/ 258 h 575"/>
                <a:gd name="T56" fmla="*/ 31 w 366"/>
                <a:gd name="T57" fmla="*/ 273 h 575"/>
                <a:gd name="T58" fmla="*/ 107 w 366"/>
                <a:gd name="T59" fmla="*/ 124 h 575"/>
                <a:gd name="T60" fmla="*/ 120 w 366"/>
                <a:gd name="T61" fmla="*/ 127 h 575"/>
                <a:gd name="T62" fmla="*/ 111 w 366"/>
                <a:gd name="T63" fmla="*/ 481 h 575"/>
                <a:gd name="T64" fmla="*/ 110 w 366"/>
                <a:gd name="T65" fmla="*/ 542 h 575"/>
                <a:gd name="T66" fmla="*/ 128 w 366"/>
                <a:gd name="T67" fmla="*/ 561 h 575"/>
                <a:gd name="T68" fmla="*/ 176 w 366"/>
                <a:gd name="T69" fmla="*/ 29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575">
                  <a:moveTo>
                    <a:pt x="238" y="575"/>
                  </a:moveTo>
                  <a:cubicBezTo>
                    <a:pt x="221" y="575"/>
                    <a:pt x="207" y="562"/>
                    <a:pt x="205" y="547"/>
                  </a:cubicBezTo>
                  <a:cubicBezTo>
                    <a:pt x="183" y="360"/>
                    <a:pt x="183" y="360"/>
                    <a:pt x="183" y="360"/>
                  </a:cubicBezTo>
                  <a:cubicBezTo>
                    <a:pt x="161" y="547"/>
                    <a:pt x="161" y="547"/>
                    <a:pt x="161" y="547"/>
                  </a:cubicBezTo>
                  <a:cubicBezTo>
                    <a:pt x="160" y="562"/>
                    <a:pt x="146" y="575"/>
                    <a:pt x="128" y="575"/>
                  </a:cubicBezTo>
                  <a:cubicBezTo>
                    <a:pt x="111" y="575"/>
                    <a:pt x="97" y="562"/>
                    <a:pt x="95" y="547"/>
                  </a:cubicBezTo>
                  <a:cubicBezTo>
                    <a:pt x="95" y="546"/>
                    <a:pt x="95" y="546"/>
                    <a:pt x="95" y="545"/>
                  </a:cubicBezTo>
                  <a:cubicBezTo>
                    <a:pt x="96" y="536"/>
                    <a:pt x="102" y="307"/>
                    <a:pt x="105" y="161"/>
                  </a:cubicBezTo>
                  <a:cubicBezTo>
                    <a:pt x="55" y="272"/>
                    <a:pt x="55" y="272"/>
                    <a:pt x="55" y="272"/>
                  </a:cubicBezTo>
                  <a:cubicBezTo>
                    <a:pt x="51" y="281"/>
                    <a:pt x="42" y="287"/>
                    <a:pt x="31" y="287"/>
                  </a:cubicBezTo>
                  <a:cubicBezTo>
                    <a:pt x="28" y="287"/>
                    <a:pt x="25" y="286"/>
                    <a:pt x="22" y="285"/>
                  </a:cubicBezTo>
                  <a:cubicBezTo>
                    <a:pt x="8" y="280"/>
                    <a:pt x="0" y="267"/>
                    <a:pt x="4" y="254"/>
                  </a:cubicBezTo>
                  <a:cubicBezTo>
                    <a:pt x="4" y="254"/>
                    <a:pt x="4" y="254"/>
                    <a:pt x="4" y="253"/>
                  </a:cubicBezTo>
                  <a:cubicBezTo>
                    <a:pt x="5" y="252"/>
                    <a:pt x="8" y="241"/>
                    <a:pt x="12" y="228"/>
                  </a:cubicBezTo>
                  <a:cubicBezTo>
                    <a:pt x="30" y="174"/>
                    <a:pt x="66" y="63"/>
                    <a:pt x="75" y="44"/>
                  </a:cubicBezTo>
                  <a:cubicBezTo>
                    <a:pt x="90" y="13"/>
                    <a:pt x="122" y="0"/>
                    <a:pt x="183" y="0"/>
                  </a:cubicBezTo>
                  <a:cubicBezTo>
                    <a:pt x="244" y="0"/>
                    <a:pt x="277" y="13"/>
                    <a:pt x="292" y="44"/>
                  </a:cubicBezTo>
                  <a:cubicBezTo>
                    <a:pt x="301" y="63"/>
                    <a:pt x="337" y="175"/>
                    <a:pt x="354" y="228"/>
                  </a:cubicBezTo>
                  <a:cubicBezTo>
                    <a:pt x="359" y="241"/>
                    <a:pt x="362" y="252"/>
                    <a:pt x="363" y="253"/>
                  </a:cubicBezTo>
                  <a:cubicBezTo>
                    <a:pt x="363" y="254"/>
                    <a:pt x="363" y="254"/>
                    <a:pt x="363" y="254"/>
                  </a:cubicBezTo>
                  <a:cubicBezTo>
                    <a:pt x="366" y="267"/>
                    <a:pt x="358" y="280"/>
                    <a:pt x="345" y="285"/>
                  </a:cubicBezTo>
                  <a:cubicBezTo>
                    <a:pt x="342" y="286"/>
                    <a:pt x="339" y="287"/>
                    <a:pt x="335" y="287"/>
                  </a:cubicBezTo>
                  <a:cubicBezTo>
                    <a:pt x="325" y="287"/>
                    <a:pt x="316" y="281"/>
                    <a:pt x="312" y="272"/>
                  </a:cubicBezTo>
                  <a:cubicBezTo>
                    <a:pt x="262" y="161"/>
                    <a:pt x="262" y="161"/>
                    <a:pt x="262" y="161"/>
                  </a:cubicBezTo>
                  <a:cubicBezTo>
                    <a:pt x="265" y="307"/>
                    <a:pt x="271" y="536"/>
                    <a:pt x="271" y="545"/>
                  </a:cubicBezTo>
                  <a:cubicBezTo>
                    <a:pt x="271" y="546"/>
                    <a:pt x="271" y="546"/>
                    <a:pt x="271" y="547"/>
                  </a:cubicBezTo>
                  <a:cubicBezTo>
                    <a:pt x="270" y="562"/>
                    <a:pt x="256" y="575"/>
                    <a:pt x="238" y="575"/>
                  </a:cubicBezTo>
                  <a:cubicBezTo>
                    <a:pt x="238" y="575"/>
                    <a:pt x="238" y="575"/>
                    <a:pt x="238" y="575"/>
                  </a:cubicBezTo>
                  <a:close/>
                  <a:moveTo>
                    <a:pt x="183" y="293"/>
                  </a:moveTo>
                  <a:cubicBezTo>
                    <a:pt x="187" y="293"/>
                    <a:pt x="190" y="296"/>
                    <a:pt x="190" y="299"/>
                  </a:cubicBezTo>
                  <a:cubicBezTo>
                    <a:pt x="219" y="545"/>
                    <a:pt x="219" y="545"/>
                    <a:pt x="219" y="545"/>
                  </a:cubicBezTo>
                  <a:cubicBezTo>
                    <a:pt x="220" y="554"/>
                    <a:pt x="228" y="561"/>
                    <a:pt x="238" y="561"/>
                  </a:cubicBezTo>
                  <a:cubicBezTo>
                    <a:pt x="238" y="568"/>
                    <a:pt x="238" y="568"/>
                    <a:pt x="238" y="568"/>
                  </a:cubicBezTo>
                  <a:cubicBezTo>
                    <a:pt x="238" y="561"/>
                    <a:pt x="238" y="561"/>
                    <a:pt x="238" y="561"/>
                  </a:cubicBezTo>
                  <a:cubicBezTo>
                    <a:pt x="248" y="561"/>
                    <a:pt x="257" y="554"/>
                    <a:pt x="257" y="546"/>
                  </a:cubicBezTo>
                  <a:cubicBezTo>
                    <a:pt x="257" y="546"/>
                    <a:pt x="257" y="546"/>
                    <a:pt x="257" y="546"/>
                  </a:cubicBezTo>
                  <a:cubicBezTo>
                    <a:pt x="257" y="542"/>
                    <a:pt x="257" y="537"/>
                    <a:pt x="257" y="528"/>
                  </a:cubicBezTo>
                  <a:cubicBezTo>
                    <a:pt x="256" y="517"/>
                    <a:pt x="256" y="500"/>
                    <a:pt x="256" y="481"/>
                  </a:cubicBezTo>
                  <a:cubicBezTo>
                    <a:pt x="255" y="441"/>
                    <a:pt x="253" y="389"/>
                    <a:pt x="252" y="337"/>
                  </a:cubicBezTo>
                  <a:cubicBezTo>
                    <a:pt x="249" y="232"/>
                    <a:pt x="247" y="127"/>
                    <a:pt x="247" y="127"/>
                  </a:cubicBezTo>
                  <a:cubicBezTo>
                    <a:pt x="247" y="124"/>
                    <a:pt x="249" y="121"/>
                    <a:pt x="252" y="120"/>
                  </a:cubicBezTo>
                  <a:cubicBezTo>
                    <a:pt x="255" y="120"/>
                    <a:pt x="259" y="121"/>
                    <a:pt x="260" y="124"/>
                  </a:cubicBezTo>
                  <a:cubicBezTo>
                    <a:pt x="325" y="266"/>
                    <a:pt x="325" y="266"/>
                    <a:pt x="325" y="266"/>
                  </a:cubicBezTo>
                  <a:cubicBezTo>
                    <a:pt x="326" y="270"/>
                    <a:pt x="330" y="273"/>
                    <a:pt x="335" y="273"/>
                  </a:cubicBezTo>
                  <a:cubicBezTo>
                    <a:pt x="337" y="273"/>
                    <a:pt x="339" y="272"/>
                    <a:pt x="340" y="272"/>
                  </a:cubicBezTo>
                  <a:cubicBezTo>
                    <a:pt x="347" y="270"/>
                    <a:pt x="351" y="263"/>
                    <a:pt x="350" y="258"/>
                  </a:cubicBezTo>
                  <a:cubicBezTo>
                    <a:pt x="350" y="258"/>
                    <a:pt x="350" y="258"/>
                    <a:pt x="350" y="258"/>
                  </a:cubicBezTo>
                  <a:cubicBezTo>
                    <a:pt x="349" y="256"/>
                    <a:pt x="348" y="254"/>
                    <a:pt x="347" y="251"/>
                  </a:cubicBezTo>
                  <a:cubicBezTo>
                    <a:pt x="346" y="247"/>
                    <a:pt x="344" y="240"/>
                    <a:pt x="341" y="232"/>
                  </a:cubicBezTo>
                  <a:cubicBezTo>
                    <a:pt x="325" y="183"/>
                    <a:pt x="288" y="69"/>
                    <a:pt x="279" y="50"/>
                  </a:cubicBezTo>
                  <a:cubicBezTo>
                    <a:pt x="270" y="32"/>
                    <a:pt x="252" y="14"/>
                    <a:pt x="183" y="14"/>
                  </a:cubicBezTo>
                  <a:cubicBezTo>
                    <a:pt x="115" y="14"/>
                    <a:pt x="96" y="32"/>
                    <a:pt x="88" y="50"/>
                  </a:cubicBezTo>
                  <a:cubicBezTo>
                    <a:pt x="79" y="69"/>
                    <a:pt x="42" y="183"/>
                    <a:pt x="26" y="232"/>
                  </a:cubicBezTo>
                  <a:cubicBezTo>
                    <a:pt x="23" y="240"/>
                    <a:pt x="21" y="247"/>
                    <a:pt x="19" y="251"/>
                  </a:cubicBezTo>
                  <a:cubicBezTo>
                    <a:pt x="19" y="254"/>
                    <a:pt x="18" y="256"/>
                    <a:pt x="17" y="258"/>
                  </a:cubicBezTo>
                  <a:cubicBezTo>
                    <a:pt x="17" y="258"/>
                    <a:pt x="17" y="258"/>
                    <a:pt x="17" y="258"/>
                  </a:cubicBezTo>
                  <a:cubicBezTo>
                    <a:pt x="16" y="263"/>
                    <a:pt x="20" y="270"/>
                    <a:pt x="26" y="272"/>
                  </a:cubicBezTo>
                  <a:cubicBezTo>
                    <a:pt x="28" y="272"/>
                    <a:pt x="30" y="273"/>
                    <a:pt x="31" y="273"/>
                  </a:cubicBezTo>
                  <a:cubicBezTo>
                    <a:pt x="36" y="273"/>
                    <a:pt x="41" y="270"/>
                    <a:pt x="42" y="266"/>
                  </a:cubicBezTo>
                  <a:cubicBezTo>
                    <a:pt x="107" y="124"/>
                    <a:pt x="107" y="124"/>
                    <a:pt x="107" y="124"/>
                  </a:cubicBezTo>
                  <a:cubicBezTo>
                    <a:pt x="108" y="121"/>
                    <a:pt x="111" y="120"/>
                    <a:pt x="115" y="120"/>
                  </a:cubicBezTo>
                  <a:cubicBezTo>
                    <a:pt x="118" y="121"/>
                    <a:pt x="120" y="124"/>
                    <a:pt x="120" y="127"/>
                  </a:cubicBezTo>
                  <a:cubicBezTo>
                    <a:pt x="120" y="127"/>
                    <a:pt x="117" y="232"/>
                    <a:pt x="115" y="337"/>
                  </a:cubicBezTo>
                  <a:cubicBezTo>
                    <a:pt x="114" y="389"/>
                    <a:pt x="112" y="442"/>
                    <a:pt x="111" y="481"/>
                  </a:cubicBezTo>
                  <a:cubicBezTo>
                    <a:pt x="111" y="500"/>
                    <a:pt x="110" y="517"/>
                    <a:pt x="110" y="528"/>
                  </a:cubicBezTo>
                  <a:cubicBezTo>
                    <a:pt x="110" y="534"/>
                    <a:pt x="110" y="539"/>
                    <a:pt x="110" y="542"/>
                  </a:cubicBezTo>
                  <a:cubicBezTo>
                    <a:pt x="109" y="543"/>
                    <a:pt x="109" y="544"/>
                    <a:pt x="109" y="546"/>
                  </a:cubicBezTo>
                  <a:cubicBezTo>
                    <a:pt x="110" y="554"/>
                    <a:pt x="118" y="561"/>
                    <a:pt x="128" y="561"/>
                  </a:cubicBezTo>
                  <a:cubicBezTo>
                    <a:pt x="138" y="561"/>
                    <a:pt x="147" y="554"/>
                    <a:pt x="147" y="546"/>
                  </a:cubicBezTo>
                  <a:cubicBezTo>
                    <a:pt x="176" y="299"/>
                    <a:pt x="176" y="299"/>
                    <a:pt x="176" y="299"/>
                  </a:cubicBezTo>
                  <a:cubicBezTo>
                    <a:pt x="177" y="296"/>
                    <a:pt x="180" y="293"/>
                    <a:pt x="183" y="2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a:p>
          </p:txBody>
        </p:sp>
      </p:grpSp>
      <p:grpSp>
        <p:nvGrpSpPr>
          <p:cNvPr id="30" name="Group 4"/>
          <p:cNvGrpSpPr>
            <a:grpSpLocks noChangeAspect="1"/>
          </p:cNvGrpSpPr>
          <p:nvPr/>
        </p:nvGrpSpPr>
        <p:grpSpPr bwMode="auto">
          <a:xfrm>
            <a:off x="5496492" y="4835343"/>
            <a:ext cx="647749" cy="1285830"/>
            <a:chOff x="1506" y="3505"/>
            <a:chExt cx="871" cy="1729"/>
          </a:xfrm>
          <a:solidFill>
            <a:schemeClr val="accent4"/>
          </a:solidFill>
        </p:grpSpPr>
        <p:sp>
          <p:nvSpPr>
            <p:cNvPr id="31" name="Freeform 5"/>
            <p:cNvSpPr>
              <a:spLocks noEditPoints="1"/>
            </p:cNvSpPr>
            <p:nvPr/>
          </p:nvSpPr>
          <p:spPr bwMode="auto">
            <a:xfrm>
              <a:off x="1777" y="3505"/>
              <a:ext cx="329" cy="325"/>
            </a:xfrm>
            <a:custGeom>
              <a:avLst/>
              <a:gdLst>
                <a:gd name="T0" fmla="*/ 69 w 138"/>
                <a:gd name="T1" fmla="*/ 137 h 137"/>
                <a:gd name="T2" fmla="*/ 0 w 138"/>
                <a:gd name="T3" fmla="*/ 68 h 137"/>
                <a:gd name="T4" fmla="*/ 69 w 138"/>
                <a:gd name="T5" fmla="*/ 0 h 137"/>
                <a:gd name="T6" fmla="*/ 138 w 138"/>
                <a:gd name="T7" fmla="*/ 68 h 137"/>
                <a:gd name="T8" fmla="*/ 69 w 138"/>
                <a:gd name="T9" fmla="*/ 137 h 137"/>
                <a:gd name="T10" fmla="*/ 69 w 138"/>
                <a:gd name="T11" fmla="*/ 14 h 137"/>
                <a:gd name="T12" fmla="*/ 14 w 138"/>
                <a:gd name="T13" fmla="*/ 68 h 137"/>
                <a:gd name="T14" fmla="*/ 69 w 138"/>
                <a:gd name="T15" fmla="*/ 123 h 137"/>
                <a:gd name="T16" fmla="*/ 124 w 138"/>
                <a:gd name="T17" fmla="*/ 68 h 137"/>
                <a:gd name="T18" fmla="*/ 69 w 138"/>
                <a:gd name="T19" fmla="*/ 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37">
                  <a:moveTo>
                    <a:pt x="69" y="137"/>
                  </a:moveTo>
                  <a:cubicBezTo>
                    <a:pt x="31" y="137"/>
                    <a:pt x="0" y="106"/>
                    <a:pt x="0" y="68"/>
                  </a:cubicBezTo>
                  <a:cubicBezTo>
                    <a:pt x="0" y="30"/>
                    <a:pt x="31" y="0"/>
                    <a:pt x="69" y="0"/>
                  </a:cubicBezTo>
                  <a:cubicBezTo>
                    <a:pt x="107" y="0"/>
                    <a:pt x="138" y="30"/>
                    <a:pt x="138" y="68"/>
                  </a:cubicBezTo>
                  <a:cubicBezTo>
                    <a:pt x="138" y="106"/>
                    <a:pt x="107" y="137"/>
                    <a:pt x="69" y="137"/>
                  </a:cubicBezTo>
                  <a:close/>
                  <a:moveTo>
                    <a:pt x="69" y="14"/>
                  </a:moveTo>
                  <a:cubicBezTo>
                    <a:pt x="39" y="14"/>
                    <a:pt x="14" y="38"/>
                    <a:pt x="14" y="68"/>
                  </a:cubicBezTo>
                  <a:cubicBezTo>
                    <a:pt x="14" y="99"/>
                    <a:pt x="39" y="123"/>
                    <a:pt x="69" y="123"/>
                  </a:cubicBezTo>
                  <a:cubicBezTo>
                    <a:pt x="100" y="123"/>
                    <a:pt x="124" y="99"/>
                    <a:pt x="124" y="68"/>
                  </a:cubicBezTo>
                  <a:cubicBezTo>
                    <a:pt x="124" y="38"/>
                    <a:pt x="100" y="14"/>
                    <a:pt x="6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a:p>
          </p:txBody>
        </p:sp>
        <p:sp>
          <p:nvSpPr>
            <p:cNvPr id="32" name="Freeform 6"/>
            <p:cNvSpPr>
              <a:spLocks noEditPoints="1"/>
            </p:cNvSpPr>
            <p:nvPr/>
          </p:nvSpPr>
          <p:spPr bwMode="auto">
            <a:xfrm>
              <a:off x="1506" y="3870"/>
              <a:ext cx="871" cy="1364"/>
            </a:xfrm>
            <a:custGeom>
              <a:avLst/>
              <a:gdLst>
                <a:gd name="T0" fmla="*/ 205 w 366"/>
                <a:gd name="T1" fmla="*/ 547 h 575"/>
                <a:gd name="T2" fmla="*/ 161 w 366"/>
                <a:gd name="T3" fmla="*/ 547 h 575"/>
                <a:gd name="T4" fmla="*/ 95 w 366"/>
                <a:gd name="T5" fmla="*/ 547 h 575"/>
                <a:gd name="T6" fmla="*/ 105 w 366"/>
                <a:gd name="T7" fmla="*/ 161 h 575"/>
                <a:gd name="T8" fmla="*/ 31 w 366"/>
                <a:gd name="T9" fmla="*/ 287 h 575"/>
                <a:gd name="T10" fmla="*/ 4 w 366"/>
                <a:gd name="T11" fmla="*/ 254 h 575"/>
                <a:gd name="T12" fmla="*/ 12 w 366"/>
                <a:gd name="T13" fmla="*/ 228 h 575"/>
                <a:gd name="T14" fmla="*/ 183 w 366"/>
                <a:gd name="T15" fmla="*/ 0 h 575"/>
                <a:gd name="T16" fmla="*/ 354 w 366"/>
                <a:gd name="T17" fmla="*/ 228 h 575"/>
                <a:gd name="T18" fmla="*/ 363 w 366"/>
                <a:gd name="T19" fmla="*/ 254 h 575"/>
                <a:gd name="T20" fmla="*/ 335 w 366"/>
                <a:gd name="T21" fmla="*/ 287 h 575"/>
                <a:gd name="T22" fmla="*/ 262 w 366"/>
                <a:gd name="T23" fmla="*/ 161 h 575"/>
                <a:gd name="T24" fmla="*/ 271 w 366"/>
                <a:gd name="T25" fmla="*/ 547 h 575"/>
                <a:gd name="T26" fmla="*/ 238 w 366"/>
                <a:gd name="T27" fmla="*/ 575 h 575"/>
                <a:gd name="T28" fmla="*/ 190 w 366"/>
                <a:gd name="T29" fmla="*/ 299 h 575"/>
                <a:gd name="T30" fmla="*/ 238 w 366"/>
                <a:gd name="T31" fmla="*/ 561 h 575"/>
                <a:gd name="T32" fmla="*/ 238 w 366"/>
                <a:gd name="T33" fmla="*/ 561 h 575"/>
                <a:gd name="T34" fmla="*/ 257 w 366"/>
                <a:gd name="T35" fmla="*/ 546 h 575"/>
                <a:gd name="T36" fmla="*/ 256 w 366"/>
                <a:gd name="T37" fmla="*/ 481 h 575"/>
                <a:gd name="T38" fmla="*/ 247 w 366"/>
                <a:gd name="T39" fmla="*/ 127 h 575"/>
                <a:gd name="T40" fmla="*/ 260 w 366"/>
                <a:gd name="T41" fmla="*/ 124 h 575"/>
                <a:gd name="T42" fmla="*/ 335 w 366"/>
                <a:gd name="T43" fmla="*/ 273 h 575"/>
                <a:gd name="T44" fmla="*/ 350 w 366"/>
                <a:gd name="T45" fmla="*/ 258 h 575"/>
                <a:gd name="T46" fmla="*/ 347 w 366"/>
                <a:gd name="T47" fmla="*/ 251 h 575"/>
                <a:gd name="T48" fmla="*/ 279 w 366"/>
                <a:gd name="T49" fmla="*/ 50 h 575"/>
                <a:gd name="T50" fmla="*/ 88 w 366"/>
                <a:gd name="T51" fmla="*/ 50 h 575"/>
                <a:gd name="T52" fmla="*/ 19 w 366"/>
                <a:gd name="T53" fmla="*/ 251 h 575"/>
                <a:gd name="T54" fmla="*/ 17 w 366"/>
                <a:gd name="T55" fmla="*/ 258 h 575"/>
                <a:gd name="T56" fmla="*/ 31 w 366"/>
                <a:gd name="T57" fmla="*/ 273 h 575"/>
                <a:gd name="T58" fmla="*/ 107 w 366"/>
                <a:gd name="T59" fmla="*/ 124 h 575"/>
                <a:gd name="T60" fmla="*/ 120 w 366"/>
                <a:gd name="T61" fmla="*/ 127 h 575"/>
                <a:gd name="T62" fmla="*/ 111 w 366"/>
                <a:gd name="T63" fmla="*/ 481 h 575"/>
                <a:gd name="T64" fmla="*/ 110 w 366"/>
                <a:gd name="T65" fmla="*/ 542 h 575"/>
                <a:gd name="T66" fmla="*/ 128 w 366"/>
                <a:gd name="T67" fmla="*/ 561 h 575"/>
                <a:gd name="T68" fmla="*/ 176 w 366"/>
                <a:gd name="T69" fmla="*/ 29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575">
                  <a:moveTo>
                    <a:pt x="238" y="575"/>
                  </a:moveTo>
                  <a:cubicBezTo>
                    <a:pt x="221" y="575"/>
                    <a:pt x="207" y="562"/>
                    <a:pt x="205" y="547"/>
                  </a:cubicBezTo>
                  <a:cubicBezTo>
                    <a:pt x="183" y="360"/>
                    <a:pt x="183" y="360"/>
                    <a:pt x="183" y="360"/>
                  </a:cubicBezTo>
                  <a:cubicBezTo>
                    <a:pt x="161" y="547"/>
                    <a:pt x="161" y="547"/>
                    <a:pt x="161" y="547"/>
                  </a:cubicBezTo>
                  <a:cubicBezTo>
                    <a:pt x="160" y="562"/>
                    <a:pt x="146" y="575"/>
                    <a:pt x="128" y="575"/>
                  </a:cubicBezTo>
                  <a:cubicBezTo>
                    <a:pt x="111" y="575"/>
                    <a:pt x="97" y="562"/>
                    <a:pt x="95" y="547"/>
                  </a:cubicBezTo>
                  <a:cubicBezTo>
                    <a:pt x="95" y="546"/>
                    <a:pt x="95" y="546"/>
                    <a:pt x="95" y="545"/>
                  </a:cubicBezTo>
                  <a:cubicBezTo>
                    <a:pt x="96" y="536"/>
                    <a:pt x="102" y="307"/>
                    <a:pt x="105" y="161"/>
                  </a:cubicBezTo>
                  <a:cubicBezTo>
                    <a:pt x="55" y="272"/>
                    <a:pt x="55" y="272"/>
                    <a:pt x="55" y="272"/>
                  </a:cubicBezTo>
                  <a:cubicBezTo>
                    <a:pt x="51" y="281"/>
                    <a:pt x="42" y="287"/>
                    <a:pt x="31" y="287"/>
                  </a:cubicBezTo>
                  <a:cubicBezTo>
                    <a:pt x="28" y="287"/>
                    <a:pt x="25" y="286"/>
                    <a:pt x="22" y="285"/>
                  </a:cubicBezTo>
                  <a:cubicBezTo>
                    <a:pt x="8" y="280"/>
                    <a:pt x="0" y="267"/>
                    <a:pt x="4" y="254"/>
                  </a:cubicBezTo>
                  <a:cubicBezTo>
                    <a:pt x="4" y="254"/>
                    <a:pt x="4" y="254"/>
                    <a:pt x="4" y="253"/>
                  </a:cubicBezTo>
                  <a:cubicBezTo>
                    <a:pt x="5" y="252"/>
                    <a:pt x="8" y="241"/>
                    <a:pt x="12" y="228"/>
                  </a:cubicBezTo>
                  <a:cubicBezTo>
                    <a:pt x="30" y="174"/>
                    <a:pt x="66" y="63"/>
                    <a:pt x="75" y="44"/>
                  </a:cubicBezTo>
                  <a:cubicBezTo>
                    <a:pt x="90" y="13"/>
                    <a:pt x="122" y="0"/>
                    <a:pt x="183" y="0"/>
                  </a:cubicBezTo>
                  <a:cubicBezTo>
                    <a:pt x="244" y="0"/>
                    <a:pt x="277" y="13"/>
                    <a:pt x="292" y="44"/>
                  </a:cubicBezTo>
                  <a:cubicBezTo>
                    <a:pt x="301" y="63"/>
                    <a:pt x="337" y="175"/>
                    <a:pt x="354" y="228"/>
                  </a:cubicBezTo>
                  <a:cubicBezTo>
                    <a:pt x="359" y="241"/>
                    <a:pt x="362" y="252"/>
                    <a:pt x="363" y="253"/>
                  </a:cubicBezTo>
                  <a:cubicBezTo>
                    <a:pt x="363" y="254"/>
                    <a:pt x="363" y="254"/>
                    <a:pt x="363" y="254"/>
                  </a:cubicBezTo>
                  <a:cubicBezTo>
                    <a:pt x="366" y="267"/>
                    <a:pt x="358" y="280"/>
                    <a:pt x="345" y="285"/>
                  </a:cubicBezTo>
                  <a:cubicBezTo>
                    <a:pt x="342" y="286"/>
                    <a:pt x="339" y="287"/>
                    <a:pt x="335" y="287"/>
                  </a:cubicBezTo>
                  <a:cubicBezTo>
                    <a:pt x="325" y="287"/>
                    <a:pt x="316" y="281"/>
                    <a:pt x="312" y="272"/>
                  </a:cubicBezTo>
                  <a:cubicBezTo>
                    <a:pt x="262" y="161"/>
                    <a:pt x="262" y="161"/>
                    <a:pt x="262" y="161"/>
                  </a:cubicBezTo>
                  <a:cubicBezTo>
                    <a:pt x="265" y="307"/>
                    <a:pt x="271" y="536"/>
                    <a:pt x="271" y="545"/>
                  </a:cubicBezTo>
                  <a:cubicBezTo>
                    <a:pt x="271" y="546"/>
                    <a:pt x="271" y="546"/>
                    <a:pt x="271" y="547"/>
                  </a:cubicBezTo>
                  <a:cubicBezTo>
                    <a:pt x="270" y="562"/>
                    <a:pt x="256" y="575"/>
                    <a:pt x="238" y="575"/>
                  </a:cubicBezTo>
                  <a:cubicBezTo>
                    <a:pt x="238" y="575"/>
                    <a:pt x="238" y="575"/>
                    <a:pt x="238" y="575"/>
                  </a:cubicBezTo>
                  <a:close/>
                  <a:moveTo>
                    <a:pt x="183" y="293"/>
                  </a:moveTo>
                  <a:cubicBezTo>
                    <a:pt x="187" y="293"/>
                    <a:pt x="190" y="296"/>
                    <a:pt x="190" y="299"/>
                  </a:cubicBezTo>
                  <a:cubicBezTo>
                    <a:pt x="219" y="545"/>
                    <a:pt x="219" y="545"/>
                    <a:pt x="219" y="545"/>
                  </a:cubicBezTo>
                  <a:cubicBezTo>
                    <a:pt x="220" y="554"/>
                    <a:pt x="228" y="561"/>
                    <a:pt x="238" y="561"/>
                  </a:cubicBezTo>
                  <a:cubicBezTo>
                    <a:pt x="238" y="568"/>
                    <a:pt x="238" y="568"/>
                    <a:pt x="238" y="568"/>
                  </a:cubicBezTo>
                  <a:cubicBezTo>
                    <a:pt x="238" y="561"/>
                    <a:pt x="238" y="561"/>
                    <a:pt x="238" y="561"/>
                  </a:cubicBezTo>
                  <a:cubicBezTo>
                    <a:pt x="248" y="561"/>
                    <a:pt x="257" y="554"/>
                    <a:pt x="257" y="546"/>
                  </a:cubicBezTo>
                  <a:cubicBezTo>
                    <a:pt x="257" y="546"/>
                    <a:pt x="257" y="546"/>
                    <a:pt x="257" y="546"/>
                  </a:cubicBezTo>
                  <a:cubicBezTo>
                    <a:pt x="257" y="542"/>
                    <a:pt x="257" y="537"/>
                    <a:pt x="257" y="528"/>
                  </a:cubicBezTo>
                  <a:cubicBezTo>
                    <a:pt x="256" y="517"/>
                    <a:pt x="256" y="500"/>
                    <a:pt x="256" y="481"/>
                  </a:cubicBezTo>
                  <a:cubicBezTo>
                    <a:pt x="255" y="441"/>
                    <a:pt x="253" y="389"/>
                    <a:pt x="252" y="337"/>
                  </a:cubicBezTo>
                  <a:cubicBezTo>
                    <a:pt x="249" y="232"/>
                    <a:pt x="247" y="127"/>
                    <a:pt x="247" y="127"/>
                  </a:cubicBezTo>
                  <a:cubicBezTo>
                    <a:pt x="247" y="124"/>
                    <a:pt x="249" y="121"/>
                    <a:pt x="252" y="120"/>
                  </a:cubicBezTo>
                  <a:cubicBezTo>
                    <a:pt x="255" y="120"/>
                    <a:pt x="259" y="121"/>
                    <a:pt x="260" y="124"/>
                  </a:cubicBezTo>
                  <a:cubicBezTo>
                    <a:pt x="325" y="266"/>
                    <a:pt x="325" y="266"/>
                    <a:pt x="325" y="266"/>
                  </a:cubicBezTo>
                  <a:cubicBezTo>
                    <a:pt x="326" y="270"/>
                    <a:pt x="330" y="273"/>
                    <a:pt x="335" y="273"/>
                  </a:cubicBezTo>
                  <a:cubicBezTo>
                    <a:pt x="337" y="273"/>
                    <a:pt x="339" y="272"/>
                    <a:pt x="340" y="272"/>
                  </a:cubicBezTo>
                  <a:cubicBezTo>
                    <a:pt x="347" y="270"/>
                    <a:pt x="351" y="263"/>
                    <a:pt x="350" y="258"/>
                  </a:cubicBezTo>
                  <a:cubicBezTo>
                    <a:pt x="350" y="258"/>
                    <a:pt x="350" y="258"/>
                    <a:pt x="350" y="258"/>
                  </a:cubicBezTo>
                  <a:cubicBezTo>
                    <a:pt x="349" y="256"/>
                    <a:pt x="348" y="254"/>
                    <a:pt x="347" y="251"/>
                  </a:cubicBezTo>
                  <a:cubicBezTo>
                    <a:pt x="346" y="247"/>
                    <a:pt x="344" y="240"/>
                    <a:pt x="341" y="232"/>
                  </a:cubicBezTo>
                  <a:cubicBezTo>
                    <a:pt x="325" y="183"/>
                    <a:pt x="288" y="69"/>
                    <a:pt x="279" y="50"/>
                  </a:cubicBezTo>
                  <a:cubicBezTo>
                    <a:pt x="270" y="32"/>
                    <a:pt x="252" y="14"/>
                    <a:pt x="183" y="14"/>
                  </a:cubicBezTo>
                  <a:cubicBezTo>
                    <a:pt x="115" y="14"/>
                    <a:pt x="96" y="32"/>
                    <a:pt x="88" y="50"/>
                  </a:cubicBezTo>
                  <a:cubicBezTo>
                    <a:pt x="79" y="69"/>
                    <a:pt x="42" y="183"/>
                    <a:pt x="26" y="232"/>
                  </a:cubicBezTo>
                  <a:cubicBezTo>
                    <a:pt x="23" y="240"/>
                    <a:pt x="21" y="247"/>
                    <a:pt x="19" y="251"/>
                  </a:cubicBezTo>
                  <a:cubicBezTo>
                    <a:pt x="19" y="254"/>
                    <a:pt x="18" y="256"/>
                    <a:pt x="17" y="258"/>
                  </a:cubicBezTo>
                  <a:cubicBezTo>
                    <a:pt x="17" y="258"/>
                    <a:pt x="17" y="258"/>
                    <a:pt x="17" y="258"/>
                  </a:cubicBezTo>
                  <a:cubicBezTo>
                    <a:pt x="16" y="263"/>
                    <a:pt x="20" y="270"/>
                    <a:pt x="26" y="272"/>
                  </a:cubicBezTo>
                  <a:cubicBezTo>
                    <a:pt x="28" y="272"/>
                    <a:pt x="30" y="273"/>
                    <a:pt x="31" y="273"/>
                  </a:cubicBezTo>
                  <a:cubicBezTo>
                    <a:pt x="36" y="273"/>
                    <a:pt x="41" y="270"/>
                    <a:pt x="42" y="266"/>
                  </a:cubicBezTo>
                  <a:cubicBezTo>
                    <a:pt x="107" y="124"/>
                    <a:pt x="107" y="124"/>
                    <a:pt x="107" y="124"/>
                  </a:cubicBezTo>
                  <a:cubicBezTo>
                    <a:pt x="108" y="121"/>
                    <a:pt x="111" y="120"/>
                    <a:pt x="115" y="120"/>
                  </a:cubicBezTo>
                  <a:cubicBezTo>
                    <a:pt x="118" y="121"/>
                    <a:pt x="120" y="124"/>
                    <a:pt x="120" y="127"/>
                  </a:cubicBezTo>
                  <a:cubicBezTo>
                    <a:pt x="120" y="127"/>
                    <a:pt x="117" y="232"/>
                    <a:pt x="115" y="337"/>
                  </a:cubicBezTo>
                  <a:cubicBezTo>
                    <a:pt x="114" y="389"/>
                    <a:pt x="112" y="442"/>
                    <a:pt x="111" y="481"/>
                  </a:cubicBezTo>
                  <a:cubicBezTo>
                    <a:pt x="111" y="500"/>
                    <a:pt x="110" y="517"/>
                    <a:pt x="110" y="528"/>
                  </a:cubicBezTo>
                  <a:cubicBezTo>
                    <a:pt x="110" y="534"/>
                    <a:pt x="110" y="539"/>
                    <a:pt x="110" y="542"/>
                  </a:cubicBezTo>
                  <a:cubicBezTo>
                    <a:pt x="109" y="543"/>
                    <a:pt x="109" y="544"/>
                    <a:pt x="109" y="546"/>
                  </a:cubicBezTo>
                  <a:cubicBezTo>
                    <a:pt x="110" y="554"/>
                    <a:pt x="118" y="561"/>
                    <a:pt x="128" y="561"/>
                  </a:cubicBezTo>
                  <a:cubicBezTo>
                    <a:pt x="138" y="561"/>
                    <a:pt x="147" y="554"/>
                    <a:pt x="147" y="546"/>
                  </a:cubicBezTo>
                  <a:cubicBezTo>
                    <a:pt x="176" y="299"/>
                    <a:pt x="176" y="299"/>
                    <a:pt x="176" y="299"/>
                  </a:cubicBezTo>
                  <a:cubicBezTo>
                    <a:pt x="177" y="296"/>
                    <a:pt x="180" y="293"/>
                    <a:pt x="183" y="2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a:p>
          </p:txBody>
        </p:sp>
      </p:grpSp>
      <p:grpSp>
        <p:nvGrpSpPr>
          <p:cNvPr id="33" name="Group 4"/>
          <p:cNvGrpSpPr>
            <a:grpSpLocks noChangeAspect="1"/>
          </p:cNvGrpSpPr>
          <p:nvPr/>
        </p:nvGrpSpPr>
        <p:grpSpPr bwMode="auto">
          <a:xfrm>
            <a:off x="6917800" y="4835343"/>
            <a:ext cx="628762" cy="1248140"/>
            <a:chOff x="1506" y="3505"/>
            <a:chExt cx="871" cy="1729"/>
          </a:xfrm>
          <a:solidFill>
            <a:schemeClr val="accent5"/>
          </a:solidFill>
        </p:grpSpPr>
        <p:sp>
          <p:nvSpPr>
            <p:cNvPr id="34" name="Freeform 5"/>
            <p:cNvSpPr>
              <a:spLocks noEditPoints="1"/>
            </p:cNvSpPr>
            <p:nvPr/>
          </p:nvSpPr>
          <p:spPr bwMode="auto">
            <a:xfrm>
              <a:off x="1777" y="3505"/>
              <a:ext cx="329" cy="325"/>
            </a:xfrm>
            <a:custGeom>
              <a:avLst/>
              <a:gdLst>
                <a:gd name="T0" fmla="*/ 69 w 138"/>
                <a:gd name="T1" fmla="*/ 137 h 137"/>
                <a:gd name="T2" fmla="*/ 0 w 138"/>
                <a:gd name="T3" fmla="*/ 68 h 137"/>
                <a:gd name="T4" fmla="*/ 69 w 138"/>
                <a:gd name="T5" fmla="*/ 0 h 137"/>
                <a:gd name="T6" fmla="*/ 138 w 138"/>
                <a:gd name="T7" fmla="*/ 68 h 137"/>
                <a:gd name="T8" fmla="*/ 69 w 138"/>
                <a:gd name="T9" fmla="*/ 137 h 137"/>
                <a:gd name="T10" fmla="*/ 69 w 138"/>
                <a:gd name="T11" fmla="*/ 14 h 137"/>
                <a:gd name="T12" fmla="*/ 14 w 138"/>
                <a:gd name="T13" fmla="*/ 68 h 137"/>
                <a:gd name="T14" fmla="*/ 69 w 138"/>
                <a:gd name="T15" fmla="*/ 123 h 137"/>
                <a:gd name="T16" fmla="*/ 124 w 138"/>
                <a:gd name="T17" fmla="*/ 68 h 137"/>
                <a:gd name="T18" fmla="*/ 69 w 138"/>
                <a:gd name="T19" fmla="*/ 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37">
                  <a:moveTo>
                    <a:pt x="69" y="137"/>
                  </a:moveTo>
                  <a:cubicBezTo>
                    <a:pt x="31" y="137"/>
                    <a:pt x="0" y="106"/>
                    <a:pt x="0" y="68"/>
                  </a:cubicBezTo>
                  <a:cubicBezTo>
                    <a:pt x="0" y="30"/>
                    <a:pt x="31" y="0"/>
                    <a:pt x="69" y="0"/>
                  </a:cubicBezTo>
                  <a:cubicBezTo>
                    <a:pt x="107" y="0"/>
                    <a:pt x="138" y="30"/>
                    <a:pt x="138" y="68"/>
                  </a:cubicBezTo>
                  <a:cubicBezTo>
                    <a:pt x="138" y="106"/>
                    <a:pt x="107" y="137"/>
                    <a:pt x="69" y="137"/>
                  </a:cubicBezTo>
                  <a:close/>
                  <a:moveTo>
                    <a:pt x="69" y="14"/>
                  </a:moveTo>
                  <a:cubicBezTo>
                    <a:pt x="39" y="14"/>
                    <a:pt x="14" y="38"/>
                    <a:pt x="14" y="68"/>
                  </a:cubicBezTo>
                  <a:cubicBezTo>
                    <a:pt x="14" y="99"/>
                    <a:pt x="39" y="123"/>
                    <a:pt x="69" y="123"/>
                  </a:cubicBezTo>
                  <a:cubicBezTo>
                    <a:pt x="100" y="123"/>
                    <a:pt x="124" y="99"/>
                    <a:pt x="124" y="68"/>
                  </a:cubicBezTo>
                  <a:cubicBezTo>
                    <a:pt x="124" y="38"/>
                    <a:pt x="100" y="14"/>
                    <a:pt x="6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a:p>
          </p:txBody>
        </p:sp>
        <p:sp>
          <p:nvSpPr>
            <p:cNvPr id="35" name="Freeform 6"/>
            <p:cNvSpPr>
              <a:spLocks noEditPoints="1"/>
            </p:cNvSpPr>
            <p:nvPr/>
          </p:nvSpPr>
          <p:spPr bwMode="auto">
            <a:xfrm>
              <a:off x="1506" y="3870"/>
              <a:ext cx="871" cy="1364"/>
            </a:xfrm>
            <a:custGeom>
              <a:avLst/>
              <a:gdLst>
                <a:gd name="T0" fmla="*/ 205 w 366"/>
                <a:gd name="T1" fmla="*/ 547 h 575"/>
                <a:gd name="T2" fmla="*/ 161 w 366"/>
                <a:gd name="T3" fmla="*/ 547 h 575"/>
                <a:gd name="T4" fmla="*/ 95 w 366"/>
                <a:gd name="T5" fmla="*/ 547 h 575"/>
                <a:gd name="T6" fmla="*/ 105 w 366"/>
                <a:gd name="T7" fmla="*/ 161 h 575"/>
                <a:gd name="T8" fmla="*/ 31 w 366"/>
                <a:gd name="T9" fmla="*/ 287 h 575"/>
                <a:gd name="T10" fmla="*/ 4 w 366"/>
                <a:gd name="T11" fmla="*/ 254 h 575"/>
                <a:gd name="T12" fmla="*/ 12 w 366"/>
                <a:gd name="T13" fmla="*/ 228 h 575"/>
                <a:gd name="T14" fmla="*/ 183 w 366"/>
                <a:gd name="T15" fmla="*/ 0 h 575"/>
                <a:gd name="T16" fmla="*/ 354 w 366"/>
                <a:gd name="T17" fmla="*/ 228 h 575"/>
                <a:gd name="T18" fmla="*/ 363 w 366"/>
                <a:gd name="T19" fmla="*/ 254 h 575"/>
                <a:gd name="T20" fmla="*/ 335 w 366"/>
                <a:gd name="T21" fmla="*/ 287 h 575"/>
                <a:gd name="T22" fmla="*/ 262 w 366"/>
                <a:gd name="T23" fmla="*/ 161 h 575"/>
                <a:gd name="T24" fmla="*/ 271 w 366"/>
                <a:gd name="T25" fmla="*/ 547 h 575"/>
                <a:gd name="T26" fmla="*/ 238 w 366"/>
                <a:gd name="T27" fmla="*/ 575 h 575"/>
                <a:gd name="T28" fmla="*/ 190 w 366"/>
                <a:gd name="T29" fmla="*/ 299 h 575"/>
                <a:gd name="T30" fmla="*/ 238 w 366"/>
                <a:gd name="T31" fmla="*/ 561 h 575"/>
                <a:gd name="T32" fmla="*/ 238 w 366"/>
                <a:gd name="T33" fmla="*/ 561 h 575"/>
                <a:gd name="T34" fmla="*/ 257 w 366"/>
                <a:gd name="T35" fmla="*/ 546 h 575"/>
                <a:gd name="T36" fmla="*/ 256 w 366"/>
                <a:gd name="T37" fmla="*/ 481 h 575"/>
                <a:gd name="T38" fmla="*/ 247 w 366"/>
                <a:gd name="T39" fmla="*/ 127 h 575"/>
                <a:gd name="T40" fmla="*/ 260 w 366"/>
                <a:gd name="T41" fmla="*/ 124 h 575"/>
                <a:gd name="T42" fmla="*/ 335 w 366"/>
                <a:gd name="T43" fmla="*/ 273 h 575"/>
                <a:gd name="T44" fmla="*/ 350 w 366"/>
                <a:gd name="T45" fmla="*/ 258 h 575"/>
                <a:gd name="T46" fmla="*/ 347 w 366"/>
                <a:gd name="T47" fmla="*/ 251 h 575"/>
                <a:gd name="T48" fmla="*/ 279 w 366"/>
                <a:gd name="T49" fmla="*/ 50 h 575"/>
                <a:gd name="T50" fmla="*/ 88 w 366"/>
                <a:gd name="T51" fmla="*/ 50 h 575"/>
                <a:gd name="T52" fmla="*/ 19 w 366"/>
                <a:gd name="T53" fmla="*/ 251 h 575"/>
                <a:gd name="T54" fmla="*/ 17 w 366"/>
                <a:gd name="T55" fmla="*/ 258 h 575"/>
                <a:gd name="T56" fmla="*/ 31 w 366"/>
                <a:gd name="T57" fmla="*/ 273 h 575"/>
                <a:gd name="T58" fmla="*/ 107 w 366"/>
                <a:gd name="T59" fmla="*/ 124 h 575"/>
                <a:gd name="T60" fmla="*/ 120 w 366"/>
                <a:gd name="T61" fmla="*/ 127 h 575"/>
                <a:gd name="T62" fmla="*/ 111 w 366"/>
                <a:gd name="T63" fmla="*/ 481 h 575"/>
                <a:gd name="T64" fmla="*/ 110 w 366"/>
                <a:gd name="T65" fmla="*/ 542 h 575"/>
                <a:gd name="T66" fmla="*/ 128 w 366"/>
                <a:gd name="T67" fmla="*/ 561 h 575"/>
                <a:gd name="T68" fmla="*/ 176 w 366"/>
                <a:gd name="T69" fmla="*/ 29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575">
                  <a:moveTo>
                    <a:pt x="238" y="575"/>
                  </a:moveTo>
                  <a:cubicBezTo>
                    <a:pt x="221" y="575"/>
                    <a:pt x="207" y="562"/>
                    <a:pt x="205" y="547"/>
                  </a:cubicBezTo>
                  <a:cubicBezTo>
                    <a:pt x="183" y="360"/>
                    <a:pt x="183" y="360"/>
                    <a:pt x="183" y="360"/>
                  </a:cubicBezTo>
                  <a:cubicBezTo>
                    <a:pt x="161" y="547"/>
                    <a:pt x="161" y="547"/>
                    <a:pt x="161" y="547"/>
                  </a:cubicBezTo>
                  <a:cubicBezTo>
                    <a:pt x="160" y="562"/>
                    <a:pt x="146" y="575"/>
                    <a:pt x="128" y="575"/>
                  </a:cubicBezTo>
                  <a:cubicBezTo>
                    <a:pt x="111" y="575"/>
                    <a:pt x="97" y="562"/>
                    <a:pt x="95" y="547"/>
                  </a:cubicBezTo>
                  <a:cubicBezTo>
                    <a:pt x="95" y="546"/>
                    <a:pt x="95" y="546"/>
                    <a:pt x="95" y="545"/>
                  </a:cubicBezTo>
                  <a:cubicBezTo>
                    <a:pt x="96" y="536"/>
                    <a:pt x="102" y="307"/>
                    <a:pt x="105" y="161"/>
                  </a:cubicBezTo>
                  <a:cubicBezTo>
                    <a:pt x="55" y="272"/>
                    <a:pt x="55" y="272"/>
                    <a:pt x="55" y="272"/>
                  </a:cubicBezTo>
                  <a:cubicBezTo>
                    <a:pt x="51" y="281"/>
                    <a:pt x="42" y="287"/>
                    <a:pt x="31" y="287"/>
                  </a:cubicBezTo>
                  <a:cubicBezTo>
                    <a:pt x="28" y="287"/>
                    <a:pt x="25" y="286"/>
                    <a:pt x="22" y="285"/>
                  </a:cubicBezTo>
                  <a:cubicBezTo>
                    <a:pt x="8" y="280"/>
                    <a:pt x="0" y="267"/>
                    <a:pt x="4" y="254"/>
                  </a:cubicBezTo>
                  <a:cubicBezTo>
                    <a:pt x="4" y="254"/>
                    <a:pt x="4" y="254"/>
                    <a:pt x="4" y="253"/>
                  </a:cubicBezTo>
                  <a:cubicBezTo>
                    <a:pt x="5" y="252"/>
                    <a:pt x="8" y="241"/>
                    <a:pt x="12" y="228"/>
                  </a:cubicBezTo>
                  <a:cubicBezTo>
                    <a:pt x="30" y="174"/>
                    <a:pt x="66" y="63"/>
                    <a:pt x="75" y="44"/>
                  </a:cubicBezTo>
                  <a:cubicBezTo>
                    <a:pt x="90" y="13"/>
                    <a:pt x="122" y="0"/>
                    <a:pt x="183" y="0"/>
                  </a:cubicBezTo>
                  <a:cubicBezTo>
                    <a:pt x="244" y="0"/>
                    <a:pt x="277" y="13"/>
                    <a:pt x="292" y="44"/>
                  </a:cubicBezTo>
                  <a:cubicBezTo>
                    <a:pt x="301" y="63"/>
                    <a:pt x="337" y="175"/>
                    <a:pt x="354" y="228"/>
                  </a:cubicBezTo>
                  <a:cubicBezTo>
                    <a:pt x="359" y="241"/>
                    <a:pt x="362" y="252"/>
                    <a:pt x="363" y="253"/>
                  </a:cubicBezTo>
                  <a:cubicBezTo>
                    <a:pt x="363" y="254"/>
                    <a:pt x="363" y="254"/>
                    <a:pt x="363" y="254"/>
                  </a:cubicBezTo>
                  <a:cubicBezTo>
                    <a:pt x="366" y="267"/>
                    <a:pt x="358" y="280"/>
                    <a:pt x="345" y="285"/>
                  </a:cubicBezTo>
                  <a:cubicBezTo>
                    <a:pt x="342" y="286"/>
                    <a:pt x="339" y="287"/>
                    <a:pt x="335" y="287"/>
                  </a:cubicBezTo>
                  <a:cubicBezTo>
                    <a:pt x="325" y="287"/>
                    <a:pt x="316" y="281"/>
                    <a:pt x="312" y="272"/>
                  </a:cubicBezTo>
                  <a:cubicBezTo>
                    <a:pt x="262" y="161"/>
                    <a:pt x="262" y="161"/>
                    <a:pt x="262" y="161"/>
                  </a:cubicBezTo>
                  <a:cubicBezTo>
                    <a:pt x="265" y="307"/>
                    <a:pt x="271" y="536"/>
                    <a:pt x="271" y="545"/>
                  </a:cubicBezTo>
                  <a:cubicBezTo>
                    <a:pt x="271" y="546"/>
                    <a:pt x="271" y="546"/>
                    <a:pt x="271" y="547"/>
                  </a:cubicBezTo>
                  <a:cubicBezTo>
                    <a:pt x="270" y="562"/>
                    <a:pt x="256" y="575"/>
                    <a:pt x="238" y="575"/>
                  </a:cubicBezTo>
                  <a:cubicBezTo>
                    <a:pt x="238" y="575"/>
                    <a:pt x="238" y="575"/>
                    <a:pt x="238" y="575"/>
                  </a:cubicBezTo>
                  <a:close/>
                  <a:moveTo>
                    <a:pt x="183" y="293"/>
                  </a:moveTo>
                  <a:cubicBezTo>
                    <a:pt x="187" y="293"/>
                    <a:pt x="190" y="296"/>
                    <a:pt x="190" y="299"/>
                  </a:cubicBezTo>
                  <a:cubicBezTo>
                    <a:pt x="219" y="545"/>
                    <a:pt x="219" y="545"/>
                    <a:pt x="219" y="545"/>
                  </a:cubicBezTo>
                  <a:cubicBezTo>
                    <a:pt x="220" y="554"/>
                    <a:pt x="228" y="561"/>
                    <a:pt x="238" y="561"/>
                  </a:cubicBezTo>
                  <a:cubicBezTo>
                    <a:pt x="238" y="568"/>
                    <a:pt x="238" y="568"/>
                    <a:pt x="238" y="568"/>
                  </a:cubicBezTo>
                  <a:cubicBezTo>
                    <a:pt x="238" y="561"/>
                    <a:pt x="238" y="561"/>
                    <a:pt x="238" y="561"/>
                  </a:cubicBezTo>
                  <a:cubicBezTo>
                    <a:pt x="248" y="561"/>
                    <a:pt x="257" y="554"/>
                    <a:pt x="257" y="546"/>
                  </a:cubicBezTo>
                  <a:cubicBezTo>
                    <a:pt x="257" y="546"/>
                    <a:pt x="257" y="546"/>
                    <a:pt x="257" y="546"/>
                  </a:cubicBezTo>
                  <a:cubicBezTo>
                    <a:pt x="257" y="542"/>
                    <a:pt x="257" y="537"/>
                    <a:pt x="257" y="528"/>
                  </a:cubicBezTo>
                  <a:cubicBezTo>
                    <a:pt x="256" y="517"/>
                    <a:pt x="256" y="500"/>
                    <a:pt x="256" y="481"/>
                  </a:cubicBezTo>
                  <a:cubicBezTo>
                    <a:pt x="255" y="441"/>
                    <a:pt x="253" y="389"/>
                    <a:pt x="252" y="337"/>
                  </a:cubicBezTo>
                  <a:cubicBezTo>
                    <a:pt x="249" y="232"/>
                    <a:pt x="247" y="127"/>
                    <a:pt x="247" y="127"/>
                  </a:cubicBezTo>
                  <a:cubicBezTo>
                    <a:pt x="247" y="124"/>
                    <a:pt x="249" y="121"/>
                    <a:pt x="252" y="120"/>
                  </a:cubicBezTo>
                  <a:cubicBezTo>
                    <a:pt x="255" y="120"/>
                    <a:pt x="259" y="121"/>
                    <a:pt x="260" y="124"/>
                  </a:cubicBezTo>
                  <a:cubicBezTo>
                    <a:pt x="325" y="266"/>
                    <a:pt x="325" y="266"/>
                    <a:pt x="325" y="266"/>
                  </a:cubicBezTo>
                  <a:cubicBezTo>
                    <a:pt x="326" y="270"/>
                    <a:pt x="330" y="273"/>
                    <a:pt x="335" y="273"/>
                  </a:cubicBezTo>
                  <a:cubicBezTo>
                    <a:pt x="337" y="273"/>
                    <a:pt x="339" y="272"/>
                    <a:pt x="340" y="272"/>
                  </a:cubicBezTo>
                  <a:cubicBezTo>
                    <a:pt x="347" y="270"/>
                    <a:pt x="351" y="263"/>
                    <a:pt x="350" y="258"/>
                  </a:cubicBezTo>
                  <a:cubicBezTo>
                    <a:pt x="350" y="258"/>
                    <a:pt x="350" y="258"/>
                    <a:pt x="350" y="258"/>
                  </a:cubicBezTo>
                  <a:cubicBezTo>
                    <a:pt x="349" y="256"/>
                    <a:pt x="348" y="254"/>
                    <a:pt x="347" y="251"/>
                  </a:cubicBezTo>
                  <a:cubicBezTo>
                    <a:pt x="346" y="247"/>
                    <a:pt x="344" y="240"/>
                    <a:pt x="341" y="232"/>
                  </a:cubicBezTo>
                  <a:cubicBezTo>
                    <a:pt x="325" y="183"/>
                    <a:pt x="288" y="69"/>
                    <a:pt x="279" y="50"/>
                  </a:cubicBezTo>
                  <a:cubicBezTo>
                    <a:pt x="270" y="32"/>
                    <a:pt x="252" y="14"/>
                    <a:pt x="183" y="14"/>
                  </a:cubicBezTo>
                  <a:cubicBezTo>
                    <a:pt x="115" y="14"/>
                    <a:pt x="96" y="32"/>
                    <a:pt x="88" y="50"/>
                  </a:cubicBezTo>
                  <a:cubicBezTo>
                    <a:pt x="79" y="69"/>
                    <a:pt x="42" y="183"/>
                    <a:pt x="26" y="232"/>
                  </a:cubicBezTo>
                  <a:cubicBezTo>
                    <a:pt x="23" y="240"/>
                    <a:pt x="21" y="247"/>
                    <a:pt x="19" y="251"/>
                  </a:cubicBezTo>
                  <a:cubicBezTo>
                    <a:pt x="19" y="254"/>
                    <a:pt x="18" y="256"/>
                    <a:pt x="17" y="258"/>
                  </a:cubicBezTo>
                  <a:cubicBezTo>
                    <a:pt x="17" y="258"/>
                    <a:pt x="17" y="258"/>
                    <a:pt x="17" y="258"/>
                  </a:cubicBezTo>
                  <a:cubicBezTo>
                    <a:pt x="16" y="263"/>
                    <a:pt x="20" y="270"/>
                    <a:pt x="26" y="272"/>
                  </a:cubicBezTo>
                  <a:cubicBezTo>
                    <a:pt x="28" y="272"/>
                    <a:pt x="30" y="273"/>
                    <a:pt x="31" y="273"/>
                  </a:cubicBezTo>
                  <a:cubicBezTo>
                    <a:pt x="36" y="273"/>
                    <a:pt x="41" y="270"/>
                    <a:pt x="42" y="266"/>
                  </a:cubicBezTo>
                  <a:cubicBezTo>
                    <a:pt x="107" y="124"/>
                    <a:pt x="107" y="124"/>
                    <a:pt x="107" y="124"/>
                  </a:cubicBezTo>
                  <a:cubicBezTo>
                    <a:pt x="108" y="121"/>
                    <a:pt x="111" y="120"/>
                    <a:pt x="115" y="120"/>
                  </a:cubicBezTo>
                  <a:cubicBezTo>
                    <a:pt x="118" y="121"/>
                    <a:pt x="120" y="124"/>
                    <a:pt x="120" y="127"/>
                  </a:cubicBezTo>
                  <a:cubicBezTo>
                    <a:pt x="120" y="127"/>
                    <a:pt x="117" y="232"/>
                    <a:pt x="115" y="337"/>
                  </a:cubicBezTo>
                  <a:cubicBezTo>
                    <a:pt x="114" y="389"/>
                    <a:pt x="112" y="442"/>
                    <a:pt x="111" y="481"/>
                  </a:cubicBezTo>
                  <a:cubicBezTo>
                    <a:pt x="111" y="500"/>
                    <a:pt x="110" y="517"/>
                    <a:pt x="110" y="528"/>
                  </a:cubicBezTo>
                  <a:cubicBezTo>
                    <a:pt x="110" y="534"/>
                    <a:pt x="110" y="539"/>
                    <a:pt x="110" y="542"/>
                  </a:cubicBezTo>
                  <a:cubicBezTo>
                    <a:pt x="109" y="543"/>
                    <a:pt x="109" y="544"/>
                    <a:pt x="109" y="546"/>
                  </a:cubicBezTo>
                  <a:cubicBezTo>
                    <a:pt x="110" y="554"/>
                    <a:pt x="118" y="561"/>
                    <a:pt x="128" y="561"/>
                  </a:cubicBezTo>
                  <a:cubicBezTo>
                    <a:pt x="138" y="561"/>
                    <a:pt x="147" y="554"/>
                    <a:pt x="147" y="546"/>
                  </a:cubicBezTo>
                  <a:cubicBezTo>
                    <a:pt x="176" y="299"/>
                    <a:pt x="176" y="299"/>
                    <a:pt x="176" y="299"/>
                  </a:cubicBezTo>
                  <a:cubicBezTo>
                    <a:pt x="177" y="296"/>
                    <a:pt x="180" y="293"/>
                    <a:pt x="183" y="2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a:p>
          </p:txBody>
        </p:sp>
      </p:grpSp>
      <p:grpSp>
        <p:nvGrpSpPr>
          <p:cNvPr id="36" name="Group 4"/>
          <p:cNvGrpSpPr>
            <a:grpSpLocks noChangeAspect="1"/>
          </p:cNvGrpSpPr>
          <p:nvPr/>
        </p:nvGrpSpPr>
        <p:grpSpPr bwMode="auto">
          <a:xfrm>
            <a:off x="8361919" y="4835344"/>
            <a:ext cx="628762" cy="1248139"/>
            <a:chOff x="1506" y="3505"/>
            <a:chExt cx="871" cy="1729"/>
          </a:xfrm>
          <a:solidFill>
            <a:schemeClr val="accent6"/>
          </a:solidFill>
        </p:grpSpPr>
        <p:sp>
          <p:nvSpPr>
            <p:cNvPr id="37" name="Freeform 5"/>
            <p:cNvSpPr>
              <a:spLocks noEditPoints="1"/>
            </p:cNvSpPr>
            <p:nvPr/>
          </p:nvSpPr>
          <p:spPr bwMode="auto">
            <a:xfrm>
              <a:off x="1777" y="3505"/>
              <a:ext cx="329" cy="325"/>
            </a:xfrm>
            <a:custGeom>
              <a:avLst/>
              <a:gdLst>
                <a:gd name="T0" fmla="*/ 69 w 138"/>
                <a:gd name="T1" fmla="*/ 137 h 137"/>
                <a:gd name="T2" fmla="*/ 0 w 138"/>
                <a:gd name="T3" fmla="*/ 68 h 137"/>
                <a:gd name="T4" fmla="*/ 69 w 138"/>
                <a:gd name="T5" fmla="*/ 0 h 137"/>
                <a:gd name="T6" fmla="*/ 138 w 138"/>
                <a:gd name="T7" fmla="*/ 68 h 137"/>
                <a:gd name="T8" fmla="*/ 69 w 138"/>
                <a:gd name="T9" fmla="*/ 137 h 137"/>
                <a:gd name="T10" fmla="*/ 69 w 138"/>
                <a:gd name="T11" fmla="*/ 14 h 137"/>
                <a:gd name="T12" fmla="*/ 14 w 138"/>
                <a:gd name="T13" fmla="*/ 68 h 137"/>
                <a:gd name="T14" fmla="*/ 69 w 138"/>
                <a:gd name="T15" fmla="*/ 123 h 137"/>
                <a:gd name="T16" fmla="*/ 124 w 138"/>
                <a:gd name="T17" fmla="*/ 68 h 137"/>
                <a:gd name="T18" fmla="*/ 69 w 138"/>
                <a:gd name="T19" fmla="*/ 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37">
                  <a:moveTo>
                    <a:pt x="69" y="137"/>
                  </a:moveTo>
                  <a:cubicBezTo>
                    <a:pt x="31" y="137"/>
                    <a:pt x="0" y="106"/>
                    <a:pt x="0" y="68"/>
                  </a:cubicBezTo>
                  <a:cubicBezTo>
                    <a:pt x="0" y="30"/>
                    <a:pt x="31" y="0"/>
                    <a:pt x="69" y="0"/>
                  </a:cubicBezTo>
                  <a:cubicBezTo>
                    <a:pt x="107" y="0"/>
                    <a:pt x="138" y="30"/>
                    <a:pt x="138" y="68"/>
                  </a:cubicBezTo>
                  <a:cubicBezTo>
                    <a:pt x="138" y="106"/>
                    <a:pt x="107" y="137"/>
                    <a:pt x="69" y="137"/>
                  </a:cubicBezTo>
                  <a:close/>
                  <a:moveTo>
                    <a:pt x="69" y="14"/>
                  </a:moveTo>
                  <a:cubicBezTo>
                    <a:pt x="39" y="14"/>
                    <a:pt x="14" y="38"/>
                    <a:pt x="14" y="68"/>
                  </a:cubicBezTo>
                  <a:cubicBezTo>
                    <a:pt x="14" y="99"/>
                    <a:pt x="39" y="123"/>
                    <a:pt x="69" y="123"/>
                  </a:cubicBezTo>
                  <a:cubicBezTo>
                    <a:pt x="100" y="123"/>
                    <a:pt x="124" y="99"/>
                    <a:pt x="124" y="68"/>
                  </a:cubicBezTo>
                  <a:cubicBezTo>
                    <a:pt x="124" y="38"/>
                    <a:pt x="100" y="14"/>
                    <a:pt x="6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a:p>
          </p:txBody>
        </p:sp>
        <p:sp>
          <p:nvSpPr>
            <p:cNvPr id="38" name="Freeform 6"/>
            <p:cNvSpPr>
              <a:spLocks noEditPoints="1"/>
            </p:cNvSpPr>
            <p:nvPr/>
          </p:nvSpPr>
          <p:spPr bwMode="auto">
            <a:xfrm>
              <a:off x="1506" y="3870"/>
              <a:ext cx="871" cy="1364"/>
            </a:xfrm>
            <a:custGeom>
              <a:avLst/>
              <a:gdLst>
                <a:gd name="T0" fmla="*/ 205 w 366"/>
                <a:gd name="T1" fmla="*/ 547 h 575"/>
                <a:gd name="T2" fmla="*/ 161 w 366"/>
                <a:gd name="T3" fmla="*/ 547 h 575"/>
                <a:gd name="T4" fmla="*/ 95 w 366"/>
                <a:gd name="T5" fmla="*/ 547 h 575"/>
                <a:gd name="T6" fmla="*/ 105 w 366"/>
                <a:gd name="T7" fmla="*/ 161 h 575"/>
                <a:gd name="T8" fmla="*/ 31 w 366"/>
                <a:gd name="T9" fmla="*/ 287 h 575"/>
                <a:gd name="T10" fmla="*/ 4 w 366"/>
                <a:gd name="T11" fmla="*/ 254 h 575"/>
                <a:gd name="T12" fmla="*/ 12 w 366"/>
                <a:gd name="T13" fmla="*/ 228 h 575"/>
                <a:gd name="T14" fmla="*/ 183 w 366"/>
                <a:gd name="T15" fmla="*/ 0 h 575"/>
                <a:gd name="T16" fmla="*/ 354 w 366"/>
                <a:gd name="T17" fmla="*/ 228 h 575"/>
                <a:gd name="T18" fmla="*/ 363 w 366"/>
                <a:gd name="T19" fmla="*/ 254 h 575"/>
                <a:gd name="T20" fmla="*/ 335 w 366"/>
                <a:gd name="T21" fmla="*/ 287 h 575"/>
                <a:gd name="T22" fmla="*/ 262 w 366"/>
                <a:gd name="T23" fmla="*/ 161 h 575"/>
                <a:gd name="T24" fmla="*/ 271 w 366"/>
                <a:gd name="T25" fmla="*/ 547 h 575"/>
                <a:gd name="T26" fmla="*/ 238 w 366"/>
                <a:gd name="T27" fmla="*/ 575 h 575"/>
                <a:gd name="T28" fmla="*/ 190 w 366"/>
                <a:gd name="T29" fmla="*/ 299 h 575"/>
                <a:gd name="T30" fmla="*/ 238 w 366"/>
                <a:gd name="T31" fmla="*/ 561 h 575"/>
                <a:gd name="T32" fmla="*/ 238 w 366"/>
                <a:gd name="T33" fmla="*/ 561 h 575"/>
                <a:gd name="T34" fmla="*/ 257 w 366"/>
                <a:gd name="T35" fmla="*/ 546 h 575"/>
                <a:gd name="T36" fmla="*/ 256 w 366"/>
                <a:gd name="T37" fmla="*/ 481 h 575"/>
                <a:gd name="T38" fmla="*/ 247 w 366"/>
                <a:gd name="T39" fmla="*/ 127 h 575"/>
                <a:gd name="T40" fmla="*/ 260 w 366"/>
                <a:gd name="T41" fmla="*/ 124 h 575"/>
                <a:gd name="T42" fmla="*/ 335 w 366"/>
                <a:gd name="T43" fmla="*/ 273 h 575"/>
                <a:gd name="T44" fmla="*/ 350 w 366"/>
                <a:gd name="T45" fmla="*/ 258 h 575"/>
                <a:gd name="T46" fmla="*/ 347 w 366"/>
                <a:gd name="T47" fmla="*/ 251 h 575"/>
                <a:gd name="T48" fmla="*/ 279 w 366"/>
                <a:gd name="T49" fmla="*/ 50 h 575"/>
                <a:gd name="T50" fmla="*/ 88 w 366"/>
                <a:gd name="T51" fmla="*/ 50 h 575"/>
                <a:gd name="T52" fmla="*/ 19 w 366"/>
                <a:gd name="T53" fmla="*/ 251 h 575"/>
                <a:gd name="T54" fmla="*/ 17 w 366"/>
                <a:gd name="T55" fmla="*/ 258 h 575"/>
                <a:gd name="T56" fmla="*/ 31 w 366"/>
                <a:gd name="T57" fmla="*/ 273 h 575"/>
                <a:gd name="T58" fmla="*/ 107 w 366"/>
                <a:gd name="T59" fmla="*/ 124 h 575"/>
                <a:gd name="T60" fmla="*/ 120 w 366"/>
                <a:gd name="T61" fmla="*/ 127 h 575"/>
                <a:gd name="T62" fmla="*/ 111 w 366"/>
                <a:gd name="T63" fmla="*/ 481 h 575"/>
                <a:gd name="T64" fmla="*/ 110 w 366"/>
                <a:gd name="T65" fmla="*/ 542 h 575"/>
                <a:gd name="T66" fmla="*/ 128 w 366"/>
                <a:gd name="T67" fmla="*/ 561 h 575"/>
                <a:gd name="T68" fmla="*/ 176 w 366"/>
                <a:gd name="T69" fmla="*/ 29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575">
                  <a:moveTo>
                    <a:pt x="238" y="575"/>
                  </a:moveTo>
                  <a:cubicBezTo>
                    <a:pt x="221" y="575"/>
                    <a:pt x="207" y="562"/>
                    <a:pt x="205" y="547"/>
                  </a:cubicBezTo>
                  <a:cubicBezTo>
                    <a:pt x="183" y="360"/>
                    <a:pt x="183" y="360"/>
                    <a:pt x="183" y="360"/>
                  </a:cubicBezTo>
                  <a:cubicBezTo>
                    <a:pt x="161" y="547"/>
                    <a:pt x="161" y="547"/>
                    <a:pt x="161" y="547"/>
                  </a:cubicBezTo>
                  <a:cubicBezTo>
                    <a:pt x="160" y="562"/>
                    <a:pt x="146" y="575"/>
                    <a:pt x="128" y="575"/>
                  </a:cubicBezTo>
                  <a:cubicBezTo>
                    <a:pt x="111" y="575"/>
                    <a:pt x="97" y="562"/>
                    <a:pt x="95" y="547"/>
                  </a:cubicBezTo>
                  <a:cubicBezTo>
                    <a:pt x="95" y="546"/>
                    <a:pt x="95" y="546"/>
                    <a:pt x="95" y="545"/>
                  </a:cubicBezTo>
                  <a:cubicBezTo>
                    <a:pt x="96" y="536"/>
                    <a:pt x="102" y="307"/>
                    <a:pt x="105" y="161"/>
                  </a:cubicBezTo>
                  <a:cubicBezTo>
                    <a:pt x="55" y="272"/>
                    <a:pt x="55" y="272"/>
                    <a:pt x="55" y="272"/>
                  </a:cubicBezTo>
                  <a:cubicBezTo>
                    <a:pt x="51" y="281"/>
                    <a:pt x="42" y="287"/>
                    <a:pt x="31" y="287"/>
                  </a:cubicBezTo>
                  <a:cubicBezTo>
                    <a:pt x="28" y="287"/>
                    <a:pt x="25" y="286"/>
                    <a:pt x="22" y="285"/>
                  </a:cubicBezTo>
                  <a:cubicBezTo>
                    <a:pt x="8" y="280"/>
                    <a:pt x="0" y="267"/>
                    <a:pt x="4" y="254"/>
                  </a:cubicBezTo>
                  <a:cubicBezTo>
                    <a:pt x="4" y="254"/>
                    <a:pt x="4" y="254"/>
                    <a:pt x="4" y="253"/>
                  </a:cubicBezTo>
                  <a:cubicBezTo>
                    <a:pt x="5" y="252"/>
                    <a:pt x="8" y="241"/>
                    <a:pt x="12" y="228"/>
                  </a:cubicBezTo>
                  <a:cubicBezTo>
                    <a:pt x="30" y="174"/>
                    <a:pt x="66" y="63"/>
                    <a:pt x="75" y="44"/>
                  </a:cubicBezTo>
                  <a:cubicBezTo>
                    <a:pt x="90" y="13"/>
                    <a:pt x="122" y="0"/>
                    <a:pt x="183" y="0"/>
                  </a:cubicBezTo>
                  <a:cubicBezTo>
                    <a:pt x="244" y="0"/>
                    <a:pt x="277" y="13"/>
                    <a:pt x="292" y="44"/>
                  </a:cubicBezTo>
                  <a:cubicBezTo>
                    <a:pt x="301" y="63"/>
                    <a:pt x="337" y="175"/>
                    <a:pt x="354" y="228"/>
                  </a:cubicBezTo>
                  <a:cubicBezTo>
                    <a:pt x="359" y="241"/>
                    <a:pt x="362" y="252"/>
                    <a:pt x="363" y="253"/>
                  </a:cubicBezTo>
                  <a:cubicBezTo>
                    <a:pt x="363" y="254"/>
                    <a:pt x="363" y="254"/>
                    <a:pt x="363" y="254"/>
                  </a:cubicBezTo>
                  <a:cubicBezTo>
                    <a:pt x="366" y="267"/>
                    <a:pt x="358" y="280"/>
                    <a:pt x="345" y="285"/>
                  </a:cubicBezTo>
                  <a:cubicBezTo>
                    <a:pt x="342" y="286"/>
                    <a:pt x="339" y="287"/>
                    <a:pt x="335" y="287"/>
                  </a:cubicBezTo>
                  <a:cubicBezTo>
                    <a:pt x="325" y="287"/>
                    <a:pt x="316" y="281"/>
                    <a:pt x="312" y="272"/>
                  </a:cubicBezTo>
                  <a:cubicBezTo>
                    <a:pt x="262" y="161"/>
                    <a:pt x="262" y="161"/>
                    <a:pt x="262" y="161"/>
                  </a:cubicBezTo>
                  <a:cubicBezTo>
                    <a:pt x="265" y="307"/>
                    <a:pt x="271" y="536"/>
                    <a:pt x="271" y="545"/>
                  </a:cubicBezTo>
                  <a:cubicBezTo>
                    <a:pt x="271" y="546"/>
                    <a:pt x="271" y="546"/>
                    <a:pt x="271" y="547"/>
                  </a:cubicBezTo>
                  <a:cubicBezTo>
                    <a:pt x="270" y="562"/>
                    <a:pt x="256" y="575"/>
                    <a:pt x="238" y="575"/>
                  </a:cubicBezTo>
                  <a:cubicBezTo>
                    <a:pt x="238" y="575"/>
                    <a:pt x="238" y="575"/>
                    <a:pt x="238" y="575"/>
                  </a:cubicBezTo>
                  <a:close/>
                  <a:moveTo>
                    <a:pt x="183" y="293"/>
                  </a:moveTo>
                  <a:cubicBezTo>
                    <a:pt x="187" y="293"/>
                    <a:pt x="190" y="296"/>
                    <a:pt x="190" y="299"/>
                  </a:cubicBezTo>
                  <a:cubicBezTo>
                    <a:pt x="219" y="545"/>
                    <a:pt x="219" y="545"/>
                    <a:pt x="219" y="545"/>
                  </a:cubicBezTo>
                  <a:cubicBezTo>
                    <a:pt x="220" y="554"/>
                    <a:pt x="228" y="561"/>
                    <a:pt x="238" y="561"/>
                  </a:cubicBezTo>
                  <a:cubicBezTo>
                    <a:pt x="238" y="568"/>
                    <a:pt x="238" y="568"/>
                    <a:pt x="238" y="568"/>
                  </a:cubicBezTo>
                  <a:cubicBezTo>
                    <a:pt x="238" y="561"/>
                    <a:pt x="238" y="561"/>
                    <a:pt x="238" y="561"/>
                  </a:cubicBezTo>
                  <a:cubicBezTo>
                    <a:pt x="248" y="561"/>
                    <a:pt x="257" y="554"/>
                    <a:pt x="257" y="546"/>
                  </a:cubicBezTo>
                  <a:cubicBezTo>
                    <a:pt x="257" y="546"/>
                    <a:pt x="257" y="546"/>
                    <a:pt x="257" y="546"/>
                  </a:cubicBezTo>
                  <a:cubicBezTo>
                    <a:pt x="257" y="542"/>
                    <a:pt x="257" y="537"/>
                    <a:pt x="257" y="528"/>
                  </a:cubicBezTo>
                  <a:cubicBezTo>
                    <a:pt x="256" y="517"/>
                    <a:pt x="256" y="500"/>
                    <a:pt x="256" y="481"/>
                  </a:cubicBezTo>
                  <a:cubicBezTo>
                    <a:pt x="255" y="441"/>
                    <a:pt x="253" y="389"/>
                    <a:pt x="252" y="337"/>
                  </a:cubicBezTo>
                  <a:cubicBezTo>
                    <a:pt x="249" y="232"/>
                    <a:pt x="247" y="127"/>
                    <a:pt x="247" y="127"/>
                  </a:cubicBezTo>
                  <a:cubicBezTo>
                    <a:pt x="247" y="124"/>
                    <a:pt x="249" y="121"/>
                    <a:pt x="252" y="120"/>
                  </a:cubicBezTo>
                  <a:cubicBezTo>
                    <a:pt x="255" y="120"/>
                    <a:pt x="259" y="121"/>
                    <a:pt x="260" y="124"/>
                  </a:cubicBezTo>
                  <a:cubicBezTo>
                    <a:pt x="325" y="266"/>
                    <a:pt x="325" y="266"/>
                    <a:pt x="325" y="266"/>
                  </a:cubicBezTo>
                  <a:cubicBezTo>
                    <a:pt x="326" y="270"/>
                    <a:pt x="330" y="273"/>
                    <a:pt x="335" y="273"/>
                  </a:cubicBezTo>
                  <a:cubicBezTo>
                    <a:pt x="337" y="273"/>
                    <a:pt x="339" y="272"/>
                    <a:pt x="340" y="272"/>
                  </a:cubicBezTo>
                  <a:cubicBezTo>
                    <a:pt x="347" y="270"/>
                    <a:pt x="351" y="263"/>
                    <a:pt x="350" y="258"/>
                  </a:cubicBezTo>
                  <a:cubicBezTo>
                    <a:pt x="350" y="258"/>
                    <a:pt x="350" y="258"/>
                    <a:pt x="350" y="258"/>
                  </a:cubicBezTo>
                  <a:cubicBezTo>
                    <a:pt x="349" y="256"/>
                    <a:pt x="348" y="254"/>
                    <a:pt x="347" y="251"/>
                  </a:cubicBezTo>
                  <a:cubicBezTo>
                    <a:pt x="346" y="247"/>
                    <a:pt x="344" y="240"/>
                    <a:pt x="341" y="232"/>
                  </a:cubicBezTo>
                  <a:cubicBezTo>
                    <a:pt x="325" y="183"/>
                    <a:pt x="288" y="69"/>
                    <a:pt x="279" y="50"/>
                  </a:cubicBezTo>
                  <a:cubicBezTo>
                    <a:pt x="270" y="32"/>
                    <a:pt x="252" y="14"/>
                    <a:pt x="183" y="14"/>
                  </a:cubicBezTo>
                  <a:cubicBezTo>
                    <a:pt x="115" y="14"/>
                    <a:pt x="96" y="32"/>
                    <a:pt x="88" y="50"/>
                  </a:cubicBezTo>
                  <a:cubicBezTo>
                    <a:pt x="79" y="69"/>
                    <a:pt x="42" y="183"/>
                    <a:pt x="26" y="232"/>
                  </a:cubicBezTo>
                  <a:cubicBezTo>
                    <a:pt x="23" y="240"/>
                    <a:pt x="21" y="247"/>
                    <a:pt x="19" y="251"/>
                  </a:cubicBezTo>
                  <a:cubicBezTo>
                    <a:pt x="19" y="254"/>
                    <a:pt x="18" y="256"/>
                    <a:pt x="17" y="258"/>
                  </a:cubicBezTo>
                  <a:cubicBezTo>
                    <a:pt x="17" y="258"/>
                    <a:pt x="17" y="258"/>
                    <a:pt x="17" y="258"/>
                  </a:cubicBezTo>
                  <a:cubicBezTo>
                    <a:pt x="16" y="263"/>
                    <a:pt x="20" y="270"/>
                    <a:pt x="26" y="272"/>
                  </a:cubicBezTo>
                  <a:cubicBezTo>
                    <a:pt x="28" y="272"/>
                    <a:pt x="30" y="273"/>
                    <a:pt x="31" y="273"/>
                  </a:cubicBezTo>
                  <a:cubicBezTo>
                    <a:pt x="36" y="273"/>
                    <a:pt x="41" y="270"/>
                    <a:pt x="42" y="266"/>
                  </a:cubicBezTo>
                  <a:cubicBezTo>
                    <a:pt x="107" y="124"/>
                    <a:pt x="107" y="124"/>
                    <a:pt x="107" y="124"/>
                  </a:cubicBezTo>
                  <a:cubicBezTo>
                    <a:pt x="108" y="121"/>
                    <a:pt x="111" y="120"/>
                    <a:pt x="115" y="120"/>
                  </a:cubicBezTo>
                  <a:cubicBezTo>
                    <a:pt x="118" y="121"/>
                    <a:pt x="120" y="124"/>
                    <a:pt x="120" y="127"/>
                  </a:cubicBezTo>
                  <a:cubicBezTo>
                    <a:pt x="120" y="127"/>
                    <a:pt x="117" y="232"/>
                    <a:pt x="115" y="337"/>
                  </a:cubicBezTo>
                  <a:cubicBezTo>
                    <a:pt x="114" y="389"/>
                    <a:pt x="112" y="442"/>
                    <a:pt x="111" y="481"/>
                  </a:cubicBezTo>
                  <a:cubicBezTo>
                    <a:pt x="111" y="500"/>
                    <a:pt x="110" y="517"/>
                    <a:pt x="110" y="528"/>
                  </a:cubicBezTo>
                  <a:cubicBezTo>
                    <a:pt x="110" y="534"/>
                    <a:pt x="110" y="539"/>
                    <a:pt x="110" y="542"/>
                  </a:cubicBezTo>
                  <a:cubicBezTo>
                    <a:pt x="109" y="543"/>
                    <a:pt x="109" y="544"/>
                    <a:pt x="109" y="546"/>
                  </a:cubicBezTo>
                  <a:cubicBezTo>
                    <a:pt x="110" y="554"/>
                    <a:pt x="118" y="561"/>
                    <a:pt x="128" y="561"/>
                  </a:cubicBezTo>
                  <a:cubicBezTo>
                    <a:pt x="138" y="561"/>
                    <a:pt x="147" y="554"/>
                    <a:pt x="147" y="546"/>
                  </a:cubicBezTo>
                  <a:cubicBezTo>
                    <a:pt x="176" y="299"/>
                    <a:pt x="176" y="299"/>
                    <a:pt x="176" y="299"/>
                  </a:cubicBezTo>
                  <a:cubicBezTo>
                    <a:pt x="177" y="296"/>
                    <a:pt x="180" y="293"/>
                    <a:pt x="183" y="2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a:p>
          </p:txBody>
        </p:sp>
      </p:grpSp>
      <p:grpSp>
        <p:nvGrpSpPr>
          <p:cNvPr id="39" name="Group 4"/>
          <p:cNvGrpSpPr>
            <a:grpSpLocks noChangeAspect="1"/>
          </p:cNvGrpSpPr>
          <p:nvPr/>
        </p:nvGrpSpPr>
        <p:grpSpPr bwMode="auto">
          <a:xfrm>
            <a:off x="9734773" y="4869666"/>
            <a:ext cx="628762" cy="1248139"/>
            <a:chOff x="1506" y="3505"/>
            <a:chExt cx="871" cy="1729"/>
          </a:xfrm>
          <a:solidFill>
            <a:srgbClr val="133477"/>
          </a:solidFill>
        </p:grpSpPr>
        <p:sp>
          <p:nvSpPr>
            <p:cNvPr id="40" name="Freeform 5"/>
            <p:cNvSpPr>
              <a:spLocks noEditPoints="1"/>
            </p:cNvSpPr>
            <p:nvPr/>
          </p:nvSpPr>
          <p:spPr bwMode="auto">
            <a:xfrm>
              <a:off x="1777" y="3505"/>
              <a:ext cx="329" cy="325"/>
            </a:xfrm>
            <a:custGeom>
              <a:avLst/>
              <a:gdLst>
                <a:gd name="T0" fmla="*/ 69 w 138"/>
                <a:gd name="T1" fmla="*/ 137 h 137"/>
                <a:gd name="T2" fmla="*/ 0 w 138"/>
                <a:gd name="T3" fmla="*/ 68 h 137"/>
                <a:gd name="T4" fmla="*/ 69 w 138"/>
                <a:gd name="T5" fmla="*/ 0 h 137"/>
                <a:gd name="T6" fmla="*/ 138 w 138"/>
                <a:gd name="T7" fmla="*/ 68 h 137"/>
                <a:gd name="T8" fmla="*/ 69 w 138"/>
                <a:gd name="T9" fmla="*/ 137 h 137"/>
                <a:gd name="T10" fmla="*/ 69 w 138"/>
                <a:gd name="T11" fmla="*/ 14 h 137"/>
                <a:gd name="T12" fmla="*/ 14 w 138"/>
                <a:gd name="T13" fmla="*/ 68 h 137"/>
                <a:gd name="T14" fmla="*/ 69 w 138"/>
                <a:gd name="T15" fmla="*/ 123 h 137"/>
                <a:gd name="T16" fmla="*/ 124 w 138"/>
                <a:gd name="T17" fmla="*/ 68 h 137"/>
                <a:gd name="T18" fmla="*/ 69 w 138"/>
                <a:gd name="T19" fmla="*/ 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37">
                  <a:moveTo>
                    <a:pt x="69" y="137"/>
                  </a:moveTo>
                  <a:cubicBezTo>
                    <a:pt x="31" y="137"/>
                    <a:pt x="0" y="106"/>
                    <a:pt x="0" y="68"/>
                  </a:cubicBezTo>
                  <a:cubicBezTo>
                    <a:pt x="0" y="30"/>
                    <a:pt x="31" y="0"/>
                    <a:pt x="69" y="0"/>
                  </a:cubicBezTo>
                  <a:cubicBezTo>
                    <a:pt x="107" y="0"/>
                    <a:pt x="138" y="30"/>
                    <a:pt x="138" y="68"/>
                  </a:cubicBezTo>
                  <a:cubicBezTo>
                    <a:pt x="138" y="106"/>
                    <a:pt x="107" y="137"/>
                    <a:pt x="69" y="137"/>
                  </a:cubicBezTo>
                  <a:close/>
                  <a:moveTo>
                    <a:pt x="69" y="14"/>
                  </a:moveTo>
                  <a:cubicBezTo>
                    <a:pt x="39" y="14"/>
                    <a:pt x="14" y="38"/>
                    <a:pt x="14" y="68"/>
                  </a:cubicBezTo>
                  <a:cubicBezTo>
                    <a:pt x="14" y="99"/>
                    <a:pt x="39" y="123"/>
                    <a:pt x="69" y="123"/>
                  </a:cubicBezTo>
                  <a:cubicBezTo>
                    <a:pt x="100" y="123"/>
                    <a:pt x="124" y="99"/>
                    <a:pt x="124" y="68"/>
                  </a:cubicBezTo>
                  <a:cubicBezTo>
                    <a:pt x="124" y="38"/>
                    <a:pt x="100" y="14"/>
                    <a:pt x="6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a:p>
          </p:txBody>
        </p:sp>
        <p:sp>
          <p:nvSpPr>
            <p:cNvPr id="41" name="Freeform 6"/>
            <p:cNvSpPr>
              <a:spLocks noEditPoints="1"/>
            </p:cNvSpPr>
            <p:nvPr/>
          </p:nvSpPr>
          <p:spPr bwMode="auto">
            <a:xfrm>
              <a:off x="1506" y="3870"/>
              <a:ext cx="871" cy="1364"/>
            </a:xfrm>
            <a:custGeom>
              <a:avLst/>
              <a:gdLst>
                <a:gd name="T0" fmla="*/ 205 w 366"/>
                <a:gd name="T1" fmla="*/ 547 h 575"/>
                <a:gd name="T2" fmla="*/ 161 w 366"/>
                <a:gd name="T3" fmla="*/ 547 h 575"/>
                <a:gd name="T4" fmla="*/ 95 w 366"/>
                <a:gd name="T5" fmla="*/ 547 h 575"/>
                <a:gd name="T6" fmla="*/ 105 w 366"/>
                <a:gd name="T7" fmla="*/ 161 h 575"/>
                <a:gd name="T8" fmla="*/ 31 w 366"/>
                <a:gd name="T9" fmla="*/ 287 h 575"/>
                <a:gd name="T10" fmla="*/ 4 w 366"/>
                <a:gd name="T11" fmla="*/ 254 h 575"/>
                <a:gd name="T12" fmla="*/ 12 w 366"/>
                <a:gd name="T13" fmla="*/ 228 h 575"/>
                <a:gd name="T14" fmla="*/ 183 w 366"/>
                <a:gd name="T15" fmla="*/ 0 h 575"/>
                <a:gd name="T16" fmla="*/ 354 w 366"/>
                <a:gd name="T17" fmla="*/ 228 h 575"/>
                <a:gd name="T18" fmla="*/ 363 w 366"/>
                <a:gd name="T19" fmla="*/ 254 h 575"/>
                <a:gd name="T20" fmla="*/ 335 w 366"/>
                <a:gd name="T21" fmla="*/ 287 h 575"/>
                <a:gd name="T22" fmla="*/ 262 w 366"/>
                <a:gd name="T23" fmla="*/ 161 h 575"/>
                <a:gd name="T24" fmla="*/ 271 w 366"/>
                <a:gd name="T25" fmla="*/ 547 h 575"/>
                <a:gd name="T26" fmla="*/ 238 w 366"/>
                <a:gd name="T27" fmla="*/ 575 h 575"/>
                <a:gd name="T28" fmla="*/ 190 w 366"/>
                <a:gd name="T29" fmla="*/ 299 h 575"/>
                <a:gd name="T30" fmla="*/ 238 w 366"/>
                <a:gd name="T31" fmla="*/ 561 h 575"/>
                <a:gd name="T32" fmla="*/ 238 w 366"/>
                <a:gd name="T33" fmla="*/ 561 h 575"/>
                <a:gd name="T34" fmla="*/ 257 w 366"/>
                <a:gd name="T35" fmla="*/ 546 h 575"/>
                <a:gd name="T36" fmla="*/ 256 w 366"/>
                <a:gd name="T37" fmla="*/ 481 h 575"/>
                <a:gd name="T38" fmla="*/ 247 w 366"/>
                <a:gd name="T39" fmla="*/ 127 h 575"/>
                <a:gd name="T40" fmla="*/ 260 w 366"/>
                <a:gd name="T41" fmla="*/ 124 h 575"/>
                <a:gd name="T42" fmla="*/ 335 w 366"/>
                <a:gd name="T43" fmla="*/ 273 h 575"/>
                <a:gd name="T44" fmla="*/ 350 w 366"/>
                <a:gd name="T45" fmla="*/ 258 h 575"/>
                <a:gd name="T46" fmla="*/ 347 w 366"/>
                <a:gd name="T47" fmla="*/ 251 h 575"/>
                <a:gd name="T48" fmla="*/ 279 w 366"/>
                <a:gd name="T49" fmla="*/ 50 h 575"/>
                <a:gd name="T50" fmla="*/ 88 w 366"/>
                <a:gd name="T51" fmla="*/ 50 h 575"/>
                <a:gd name="T52" fmla="*/ 19 w 366"/>
                <a:gd name="T53" fmla="*/ 251 h 575"/>
                <a:gd name="T54" fmla="*/ 17 w 366"/>
                <a:gd name="T55" fmla="*/ 258 h 575"/>
                <a:gd name="T56" fmla="*/ 31 w 366"/>
                <a:gd name="T57" fmla="*/ 273 h 575"/>
                <a:gd name="T58" fmla="*/ 107 w 366"/>
                <a:gd name="T59" fmla="*/ 124 h 575"/>
                <a:gd name="T60" fmla="*/ 120 w 366"/>
                <a:gd name="T61" fmla="*/ 127 h 575"/>
                <a:gd name="T62" fmla="*/ 111 w 366"/>
                <a:gd name="T63" fmla="*/ 481 h 575"/>
                <a:gd name="T64" fmla="*/ 110 w 366"/>
                <a:gd name="T65" fmla="*/ 542 h 575"/>
                <a:gd name="T66" fmla="*/ 128 w 366"/>
                <a:gd name="T67" fmla="*/ 561 h 575"/>
                <a:gd name="T68" fmla="*/ 176 w 366"/>
                <a:gd name="T69" fmla="*/ 29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575">
                  <a:moveTo>
                    <a:pt x="238" y="575"/>
                  </a:moveTo>
                  <a:cubicBezTo>
                    <a:pt x="221" y="575"/>
                    <a:pt x="207" y="562"/>
                    <a:pt x="205" y="547"/>
                  </a:cubicBezTo>
                  <a:cubicBezTo>
                    <a:pt x="183" y="360"/>
                    <a:pt x="183" y="360"/>
                    <a:pt x="183" y="360"/>
                  </a:cubicBezTo>
                  <a:cubicBezTo>
                    <a:pt x="161" y="547"/>
                    <a:pt x="161" y="547"/>
                    <a:pt x="161" y="547"/>
                  </a:cubicBezTo>
                  <a:cubicBezTo>
                    <a:pt x="160" y="562"/>
                    <a:pt x="146" y="575"/>
                    <a:pt x="128" y="575"/>
                  </a:cubicBezTo>
                  <a:cubicBezTo>
                    <a:pt x="111" y="575"/>
                    <a:pt x="97" y="562"/>
                    <a:pt x="95" y="547"/>
                  </a:cubicBezTo>
                  <a:cubicBezTo>
                    <a:pt x="95" y="546"/>
                    <a:pt x="95" y="546"/>
                    <a:pt x="95" y="545"/>
                  </a:cubicBezTo>
                  <a:cubicBezTo>
                    <a:pt x="96" y="536"/>
                    <a:pt x="102" y="307"/>
                    <a:pt x="105" y="161"/>
                  </a:cubicBezTo>
                  <a:cubicBezTo>
                    <a:pt x="55" y="272"/>
                    <a:pt x="55" y="272"/>
                    <a:pt x="55" y="272"/>
                  </a:cubicBezTo>
                  <a:cubicBezTo>
                    <a:pt x="51" y="281"/>
                    <a:pt x="42" y="287"/>
                    <a:pt x="31" y="287"/>
                  </a:cubicBezTo>
                  <a:cubicBezTo>
                    <a:pt x="28" y="287"/>
                    <a:pt x="25" y="286"/>
                    <a:pt x="22" y="285"/>
                  </a:cubicBezTo>
                  <a:cubicBezTo>
                    <a:pt x="8" y="280"/>
                    <a:pt x="0" y="267"/>
                    <a:pt x="4" y="254"/>
                  </a:cubicBezTo>
                  <a:cubicBezTo>
                    <a:pt x="4" y="254"/>
                    <a:pt x="4" y="254"/>
                    <a:pt x="4" y="253"/>
                  </a:cubicBezTo>
                  <a:cubicBezTo>
                    <a:pt x="5" y="252"/>
                    <a:pt x="8" y="241"/>
                    <a:pt x="12" y="228"/>
                  </a:cubicBezTo>
                  <a:cubicBezTo>
                    <a:pt x="30" y="174"/>
                    <a:pt x="66" y="63"/>
                    <a:pt x="75" y="44"/>
                  </a:cubicBezTo>
                  <a:cubicBezTo>
                    <a:pt x="90" y="13"/>
                    <a:pt x="122" y="0"/>
                    <a:pt x="183" y="0"/>
                  </a:cubicBezTo>
                  <a:cubicBezTo>
                    <a:pt x="244" y="0"/>
                    <a:pt x="277" y="13"/>
                    <a:pt x="292" y="44"/>
                  </a:cubicBezTo>
                  <a:cubicBezTo>
                    <a:pt x="301" y="63"/>
                    <a:pt x="337" y="175"/>
                    <a:pt x="354" y="228"/>
                  </a:cubicBezTo>
                  <a:cubicBezTo>
                    <a:pt x="359" y="241"/>
                    <a:pt x="362" y="252"/>
                    <a:pt x="363" y="253"/>
                  </a:cubicBezTo>
                  <a:cubicBezTo>
                    <a:pt x="363" y="254"/>
                    <a:pt x="363" y="254"/>
                    <a:pt x="363" y="254"/>
                  </a:cubicBezTo>
                  <a:cubicBezTo>
                    <a:pt x="366" y="267"/>
                    <a:pt x="358" y="280"/>
                    <a:pt x="345" y="285"/>
                  </a:cubicBezTo>
                  <a:cubicBezTo>
                    <a:pt x="342" y="286"/>
                    <a:pt x="339" y="287"/>
                    <a:pt x="335" y="287"/>
                  </a:cubicBezTo>
                  <a:cubicBezTo>
                    <a:pt x="325" y="287"/>
                    <a:pt x="316" y="281"/>
                    <a:pt x="312" y="272"/>
                  </a:cubicBezTo>
                  <a:cubicBezTo>
                    <a:pt x="262" y="161"/>
                    <a:pt x="262" y="161"/>
                    <a:pt x="262" y="161"/>
                  </a:cubicBezTo>
                  <a:cubicBezTo>
                    <a:pt x="265" y="307"/>
                    <a:pt x="271" y="536"/>
                    <a:pt x="271" y="545"/>
                  </a:cubicBezTo>
                  <a:cubicBezTo>
                    <a:pt x="271" y="546"/>
                    <a:pt x="271" y="546"/>
                    <a:pt x="271" y="547"/>
                  </a:cubicBezTo>
                  <a:cubicBezTo>
                    <a:pt x="270" y="562"/>
                    <a:pt x="256" y="575"/>
                    <a:pt x="238" y="575"/>
                  </a:cubicBezTo>
                  <a:cubicBezTo>
                    <a:pt x="238" y="575"/>
                    <a:pt x="238" y="575"/>
                    <a:pt x="238" y="575"/>
                  </a:cubicBezTo>
                  <a:close/>
                  <a:moveTo>
                    <a:pt x="183" y="293"/>
                  </a:moveTo>
                  <a:cubicBezTo>
                    <a:pt x="187" y="293"/>
                    <a:pt x="190" y="296"/>
                    <a:pt x="190" y="299"/>
                  </a:cubicBezTo>
                  <a:cubicBezTo>
                    <a:pt x="219" y="545"/>
                    <a:pt x="219" y="545"/>
                    <a:pt x="219" y="545"/>
                  </a:cubicBezTo>
                  <a:cubicBezTo>
                    <a:pt x="220" y="554"/>
                    <a:pt x="228" y="561"/>
                    <a:pt x="238" y="561"/>
                  </a:cubicBezTo>
                  <a:cubicBezTo>
                    <a:pt x="238" y="568"/>
                    <a:pt x="238" y="568"/>
                    <a:pt x="238" y="568"/>
                  </a:cubicBezTo>
                  <a:cubicBezTo>
                    <a:pt x="238" y="561"/>
                    <a:pt x="238" y="561"/>
                    <a:pt x="238" y="561"/>
                  </a:cubicBezTo>
                  <a:cubicBezTo>
                    <a:pt x="248" y="561"/>
                    <a:pt x="257" y="554"/>
                    <a:pt x="257" y="546"/>
                  </a:cubicBezTo>
                  <a:cubicBezTo>
                    <a:pt x="257" y="546"/>
                    <a:pt x="257" y="546"/>
                    <a:pt x="257" y="546"/>
                  </a:cubicBezTo>
                  <a:cubicBezTo>
                    <a:pt x="257" y="542"/>
                    <a:pt x="257" y="537"/>
                    <a:pt x="257" y="528"/>
                  </a:cubicBezTo>
                  <a:cubicBezTo>
                    <a:pt x="256" y="517"/>
                    <a:pt x="256" y="500"/>
                    <a:pt x="256" y="481"/>
                  </a:cubicBezTo>
                  <a:cubicBezTo>
                    <a:pt x="255" y="441"/>
                    <a:pt x="253" y="389"/>
                    <a:pt x="252" y="337"/>
                  </a:cubicBezTo>
                  <a:cubicBezTo>
                    <a:pt x="249" y="232"/>
                    <a:pt x="247" y="127"/>
                    <a:pt x="247" y="127"/>
                  </a:cubicBezTo>
                  <a:cubicBezTo>
                    <a:pt x="247" y="124"/>
                    <a:pt x="249" y="121"/>
                    <a:pt x="252" y="120"/>
                  </a:cubicBezTo>
                  <a:cubicBezTo>
                    <a:pt x="255" y="120"/>
                    <a:pt x="259" y="121"/>
                    <a:pt x="260" y="124"/>
                  </a:cubicBezTo>
                  <a:cubicBezTo>
                    <a:pt x="325" y="266"/>
                    <a:pt x="325" y="266"/>
                    <a:pt x="325" y="266"/>
                  </a:cubicBezTo>
                  <a:cubicBezTo>
                    <a:pt x="326" y="270"/>
                    <a:pt x="330" y="273"/>
                    <a:pt x="335" y="273"/>
                  </a:cubicBezTo>
                  <a:cubicBezTo>
                    <a:pt x="337" y="273"/>
                    <a:pt x="339" y="272"/>
                    <a:pt x="340" y="272"/>
                  </a:cubicBezTo>
                  <a:cubicBezTo>
                    <a:pt x="347" y="270"/>
                    <a:pt x="351" y="263"/>
                    <a:pt x="350" y="258"/>
                  </a:cubicBezTo>
                  <a:cubicBezTo>
                    <a:pt x="350" y="258"/>
                    <a:pt x="350" y="258"/>
                    <a:pt x="350" y="258"/>
                  </a:cubicBezTo>
                  <a:cubicBezTo>
                    <a:pt x="349" y="256"/>
                    <a:pt x="348" y="254"/>
                    <a:pt x="347" y="251"/>
                  </a:cubicBezTo>
                  <a:cubicBezTo>
                    <a:pt x="346" y="247"/>
                    <a:pt x="344" y="240"/>
                    <a:pt x="341" y="232"/>
                  </a:cubicBezTo>
                  <a:cubicBezTo>
                    <a:pt x="325" y="183"/>
                    <a:pt x="288" y="69"/>
                    <a:pt x="279" y="50"/>
                  </a:cubicBezTo>
                  <a:cubicBezTo>
                    <a:pt x="270" y="32"/>
                    <a:pt x="252" y="14"/>
                    <a:pt x="183" y="14"/>
                  </a:cubicBezTo>
                  <a:cubicBezTo>
                    <a:pt x="115" y="14"/>
                    <a:pt x="96" y="32"/>
                    <a:pt x="88" y="50"/>
                  </a:cubicBezTo>
                  <a:cubicBezTo>
                    <a:pt x="79" y="69"/>
                    <a:pt x="42" y="183"/>
                    <a:pt x="26" y="232"/>
                  </a:cubicBezTo>
                  <a:cubicBezTo>
                    <a:pt x="23" y="240"/>
                    <a:pt x="21" y="247"/>
                    <a:pt x="19" y="251"/>
                  </a:cubicBezTo>
                  <a:cubicBezTo>
                    <a:pt x="19" y="254"/>
                    <a:pt x="18" y="256"/>
                    <a:pt x="17" y="258"/>
                  </a:cubicBezTo>
                  <a:cubicBezTo>
                    <a:pt x="17" y="258"/>
                    <a:pt x="17" y="258"/>
                    <a:pt x="17" y="258"/>
                  </a:cubicBezTo>
                  <a:cubicBezTo>
                    <a:pt x="16" y="263"/>
                    <a:pt x="20" y="270"/>
                    <a:pt x="26" y="272"/>
                  </a:cubicBezTo>
                  <a:cubicBezTo>
                    <a:pt x="28" y="272"/>
                    <a:pt x="30" y="273"/>
                    <a:pt x="31" y="273"/>
                  </a:cubicBezTo>
                  <a:cubicBezTo>
                    <a:pt x="36" y="273"/>
                    <a:pt x="41" y="270"/>
                    <a:pt x="42" y="266"/>
                  </a:cubicBezTo>
                  <a:cubicBezTo>
                    <a:pt x="107" y="124"/>
                    <a:pt x="107" y="124"/>
                    <a:pt x="107" y="124"/>
                  </a:cubicBezTo>
                  <a:cubicBezTo>
                    <a:pt x="108" y="121"/>
                    <a:pt x="111" y="120"/>
                    <a:pt x="115" y="120"/>
                  </a:cubicBezTo>
                  <a:cubicBezTo>
                    <a:pt x="118" y="121"/>
                    <a:pt x="120" y="124"/>
                    <a:pt x="120" y="127"/>
                  </a:cubicBezTo>
                  <a:cubicBezTo>
                    <a:pt x="120" y="127"/>
                    <a:pt x="117" y="232"/>
                    <a:pt x="115" y="337"/>
                  </a:cubicBezTo>
                  <a:cubicBezTo>
                    <a:pt x="114" y="389"/>
                    <a:pt x="112" y="442"/>
                    <a:pt x="111" y="481"/>
                  </a:cubicBezTo>
                  <a:cubicBezTo>
                    <a:pt x="111" y="500"/>
                    <a:pt x="110" y="517"/>
                    <a:pt x="110" y="528"/>
                  </a:cubicBezTo>
                  <a:cubicBezTo>
                    <a:pt x="110" y="534"/>
                    <a:pt x="110" y="539"/>
                    <a:pt x="110" y="542"/>
                  </a:cubicBezTo>
                  <a:cubicBezTo>
                    <a:pt x="109" y="543"/>
                    <a:pt x="109" y="544"/>
                    <a:pt x="109" y="546"/>
                  </a:cubicBezTo>
                  <a:cubicBezTo>
                    <a:pt x="110" y="554"/>
                    <a:pt x="118" y="561"/>
                    <a:pt x="128" y="561"/>
                  </a:cubicBezTo>
                  <a:cubicBezTo>
                    <a:pt x="138" y="561"/>
                    <a:pt x="147" y="554"/>
                    <a:pt x="147" y="546"/>
                  </a:cubicBezTo>
                  <a:cubicBezTo>
                    <a:pt x="176" y="299"/>
                    <a:pt x="176" y="299"/>
                    <a:pt x="176" y="299"/>
                  </a:cubicBezTo>
                  <a:cubicBezTo>
                    <a:pt x="177" y="296"/>
                    <a:pt x="180" y="293"/>
                    <a:pt x="183" y="2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a:p>
          </p:txBody>
        </p:sp>
      </p:grpSp>
      <p:grpSp>
        <p:nvGrpSpPr>
          <p:cNvPr id="45" name="Group 4"/>
          <p:cNvGrpSpPr>
            <a:grpSpLocks noChangeAspect="1"/>
          </p:cNvGrpSpPr>
          <p:nvPr/>
        </p:nvGrpSpPr>
        <p:grpSpPr bwMode="auto">
          <a:xfrm>
            <a:off x="3895938" y="4835343"/>
            <a:ext cx="647749" cy="1285830"/>
            <a:chOff x="1506" y="3505"/>
            <a:chExt cx="871" cy="1729"/>
          </a:xfrm>
          <a:solidFill>
            <a:srgbClr val="4068F7"/>
          </a:solidFill>
        </p:grpSpPr>
        <p:sp>
          <p:nvSpPr>
            <p:cNvPr id="46" name="Freeform 5"/>
            <p:cNvSpPr>
              <a:spLocks noEditPoints="1"/>
            </p:cNvSpPr>
            <p:nvPr/>
          </p:nvSpPr>
          <p:spPr bwMode="auto">
            <a:xfrm>
              <a:off x="1777" y="3505"/>
              <a:ext cx="329" cy="325"/>
            </a:xfrm>
            <a:custGeom>
              <a:avLst/>
              <a:gdLst>
                <a:gd name="T0" fmla="*/ 69 w 138"/>
                <a:gd name="T1" fmla="*/ 137 h 137"/>
                <a:gd name="T2" fmla="*/ 0 w 138"/>
                <a:gd name="T3" fmla="*/ 68 h 137"/>
                <a:gd name="T4" fmla="*/ 69 w 138"/>
                <a:gd name="T5" fmla="*/ 0 h 137"/>
                <a:gd name="T6" fmla="*/ 138 w 138"/>
                <a:gd name="T7" fmla="*/ 68 h 137"/>
                <a:gd name="T8" fmla="*/ 69 w 138"/>
                <a:gd name="T9" fmla="*/ 137 h 137"/>
                <a:gd name="T10" fmla="*/ 69 w 138"/>
                <a:gd name="T11" fmla="*/ 14 h 137"/>
                <a:gd name="T12" fmla="*/ 14 w 138"/>
                <a:gd name="T13" fmla="*/ 68 h 137"/>
                <a:gd name="T14" fmla="*/ 69 w 138"/>
                <a:gd name="T15" fmla="*/ 123 h 137"/>
                <a:gd name="T16" fmla="*/ 124 w 138"/>
                <a:gd name="T17" fmla="*/ 68 h 137"/>
                <a:gd name="T18" fmla="*/ 69 w 138"/>
                <a:gd name="T19" fmla="*/ 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37">
                  <a:moveTo>
                    <a:pt x="69" y="137"/>
                  </a:moveTo>
                  <a:cubicBezTo>
                    <a:pt x="31" y="137"/>
                    <a:pt x="0" y="106"/>
                    <a:pt x="0" y="68"/>
                  </a:cubicBezTo>
                  <a:cubicBezTo>
                    <a:pt x="0" y="30"/>
                    <a:pt x="31" y="0"/>
                    <a:pt x="69" y="0"/>
                  </a:cubicBezTo>
                  <a:cubicBezTo>
                    <a:pt x="107" y="0"/>
                    <a:pt x="138" y="30"/>
                    <a:pt x="138" y="68"/>
                  </a:cubicBezTo>
                  <a:cubicBezTo>
                    <a:pt x="138" y="106"/>
                    <a:pt x="107" y="137"/>
                    <a:pt x="69" y="137"/>
                  </a:cubicBezTo>
                  <a:close/>
                  <a:moveTo>
                    <a:pt x="69" y="14"/>
                  </a:moveTo>
                  <a:cubicBezTo>
                    <a:pt x="39" y="14"/>
                    <a:pt x="14" y="38"/>
                    <a:pt x="14" y="68"/>
                  </a:cubicBezTo>
                  <a:cubicBezTo>
                    <a:pt x="14" y="99"/>
                    <a:pt x="39" y="123"/>
                    <a:pt x="69" y="123"/>
                  </a:cubicBezTo>
                  <a:cubicBezTo>
                    <a:pt x="100" y="123"/>
                    <a:pt x="124" y="99"/>
                    <a:pt x="124" y="68"/>
                  </a:cubicBezTo>
                  <a:cubicBezTo>
                    <a:pt x="124" y="38"/>
                    <a:pt x="100" y="14"/>
                    <a:pt x="69" y="14"/>
                  </a:cubicBezTo>
                  <a:close/>
                </a:path>
              </a:pathLst>
            </a:custGeom>
            <a:grpFill/>
            <a:ln w="9525">
              <a:solidFill>
                <a:srgbClr val="4068F7"/>
              </a:solidFill>
              <a:round/>
              <a:headEnd/>
              <a:tailEnd/>
            </a:ln>
          </p:spPr>
          <p:txBody>
            <a:bodyPr vert="horz" wrap="square" lIns="121920" tIns="60960" rIns="121920" bIns="60960" numCol="1" anchor="t" anchorCtr="0" compatLnSpc="1">
              <a:prstTxWarp prst="textNoShape">
                <a:avLst/>
              </a:prstTxWarp>
            </a:bodyPr>
            <a:lstStyle/>
            <a:p>
              <a:endParaRPr lang="en-US" sz="2800"/>
            </a:p>
          </p:txBody>
        </p:sp>
        <p:sp>
          <p:nvSpPr>
            <p:cNvPr id="47" name="Freeform 6"/>
            <p:cNvSpPr>
              <a:spLocks noEditPoints="1"/>
            </p:cNvSpPr>
            <p:nvPr/>
          </p:nvSpPr>
          <p:spPr bwMode="auto">
            <a:xfrm>
              <a:off x="1506" y="3870"/>
              <a:ext cx="871" cy="1364"/>
            </a:xfrm>
            <a:custGeom>
              <a:avLst/>
              <a:gdLst>
                <a:gd name="T0" fmla="*/ 205 w 366"/>
                <a:gd name="T1" fmla="*/ 547 h 575"/>
                <a:gd name="T2" fmla="*/ 161 w 366"/>
                <a:gd name="T3" fmla="*/ 547 h 575"/>
                <a:gd name="T4" fmla="*/ 95 w 366"/>
                <a:gd name="T5" fmla="*/ 547 h 575"/>
                <a:gd name="T6" fmla="*/ 105 w 366"/>
                <a:gd name="T7" fmla="*/ 161 h 575"/>
                <a:gd name="T8" fmla="*/ 31 w 366"/>
                <a:gd name="T9" fmla="*/ 287 h 575"/>
                <a:gd name="T10" fmla="*/ 4 w 366"/>
                <a:gd name="T11" fmla="*/ 254 h 575"/>
                <a:gd name="T12" fmla="*/ 12 w 366"/>
                <a:gd name="T13" fmla="*/ 228 h 575"/>
                <a:gd name="T14" fmla="*/ 183 w 366"/>
                <a:gd name="T15" fmla="*/ 0 h 575"/>
                <a:gd name="T16" fmla="*/ 354 w 366"/>
                <a:gd name="T17" fmla="*/ 228 h 575"/>
                <a:gd name="T18" fmla="*/ 363 w 366"/>
                <a:gd name="T19" fmla="*/ 254 h 575"/>
                <a:gd name="T20" fmla="*/ 335 w 366"/>
                <a:gd name="T21" fmla="*/ 287 h 575"/>
                <a:gd name="T22" fmla="*/ 262 w 366"/>
                <a:gd name="T23" fmla="*/ 161 h 575"/>
                <a:gd name="T24" fmla="*/ 271 w 366"/>
                <a:gd name="T25" fmla="*/ 547 h 575"/>
                <a:gd name="T26" fmla="*/ 238 w 366"/>
                <a:gd name="T27" fmla="*/ 575 h 575"/>
                <a:gd name="T28" fmla="*/ 190 w 366"/>
                <a:gd name="T29" fmla="*/ 299 h 575"/>
                <a:gd name="T30" fmla="*/ 238 w 366"/>
                <a:gd name="T31" fmla="*/ 561 h 575"/>
                <a:gd name="T32" fmla="*/ 238 w 366"/>
                <a:gd name="T33" fmla="*/ 561 h 575"/>
                <a:gd name="T34" fmla="*/ 257 w 366"/>
                <a:gd name="T35" fmla="*/ 546 h 575"/>
                <a:gd name="T36" fmla="*/ 256 w 366"/>
                <a:gd name="T37" fmla="*/ 481 h 575"/>
                <a:gd name="T38" fmla="*/ 247 w 366"/>
                <a:gd name="T39" fmla="*/ 127 h 575"/>
                <a:gd name="T40" fmla="*/ 260 w 366"/>
                <a:gd name="T41" fmla="*/ 124 h 575"/>
                <a:gd name="T42" fmla="*/ 335 w 366"/>
                <a:gd name="T43" fmla="*/ 273 h 575"/>
                <a:gd name="T44" fmla="*/ 350 w 366"/>
                <a:gd name="T45" fmla="*/ 258 h 575"/>
                <a:gd name="T46" fmla="*/ 347 w 366"/>
                <a:gd name="T47" fmla="*/ 251 h 575"/>
                <a:gd name="T48" fmla="*/ 279 w 366"/>
                <a:gd name="T49" fmla="*/ 50 h 575"/>
                <a:gd name="T50" fmla="*/ 88 w 366"/>
                <a:gd name="T51" fmla="*/ 50 h 575"/>
                <a:gd name="T52" fmla="*/ 19 w 366"/>
                <a:gd name="T53" fmla="*/ 251 h 575"/>
                <a:gd name="T54" fmla="*/ 17 w 366"/>
                <a:gd name="T55" fmla="*/ 258 h 575"/>
                <a:gd name="T56" fmla="*/ 31 w 366"/>
                <a:gd name="T57" fmla="*/ 273 h 575"/>
                <a:gd name="T58" fmla="*/ 107 w 366"/>
                <a:gd name="T59" fmla="*/ 124 h 575"/>
                <a:gd name="T60" fmla="*/ 120 w 366"/>
                <a:gd name="T61" fmla="*/ 127 h 575"/>
                <a:gd name="T62" fmla="*/ 111 w 366"/>
                <a:gd name="T63" fmla="*/ 481 h 575"/>
                <a:gd name="T64" fmla="*/ 110 w 366"/>
                <a:gd name="T65" fmla="*/ 542 h 575"/>
                <a:gd name="T66" fmla="*/ 128 w 366"/>
                <a:gd name="T67" fmla="*/ 561 h 575"/>
                <a:gd name="T68" fmla="*/ 176 w 366"/>
                <a:gd name="T69" fmla="*/ 29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575">
                  <a:moveTo>
                    <a:pt x="238" y="575"/>
                  </a:moveTo>
                  <a:cubicBezTo>
                    <a:pt x="221" y="575"/>
                    <a:pt x="207" y="562"/>
                    <a:pt x="205" y="547"/>
                  </a:cubicBezTo>
                  <a:cubicBezTo>
                    <a:pt x="183" y="360"/>
                    <a:pt x="183" y="360"/>
                    <a:pt x="183" y="360"/>
                  </a:cubicBezTo>
                  <a:cubicBezTo>
                    <a:pt x="161" y="547"/>
                    <a:pt x="161" y="547"/>
                    <a:pt x="161" y="547"/>
                  </a:cubicBezTo>
                  <a:cubicBezTo>
                    <a:pt x="160" y="562"/>
                    <a:pt x="146" y="575"/>
                    <a:pt x="128" y="575"/>
                  </a:cubicBezTo>
                  <a:cubicBezTo>
                    <a:pt x="111" y="575"/>
                    <a:pt x="97" y="562"/>
                    <a:pt x="95" y="547"/>
                  </a:cubicBezTo>
                  <a:cubicBezTo>
                    <a:pt x="95" y="546"/>
                    <a:pt x="95" y="546"/>
                    <a:pt x="95" y="545"/>
                  </a:cubicBezTo>
                  <a:cubicBezTo>
                    <a:pt x="96" y="536"/>
                    <a:pt x="102" y="307"/>
                    <a:pt x="105" y="161"/>
                  </a:cubicBezTo>
                  <a:cubicBezTo>
                    <a:pt x="55" y="272"/>
                    <a:pt x="55" y="272"/>
                    <a:pt x="55" y="272"/>
                  </a:cubicBezTo>
                  <a:cubicBezTo>
                    <a:pt x="51" y="281"/>
                    <a:pt x="42" y="287"/>
                    <a:pt x="31" y="287"/>
                  </a:cubicBezTo>
                  <a:cubicBezTo>
                    <a:pt x="28" y="287"/>
                    <a:pt x="25" y="286"/>
                    <a:pt x="22" y="285"/>
                  </a:cubicBezTo>
                  <a:cubicBezTo>
                    <a:pt x="8" y="280"/>
                    <a:pt x="0" y="267"/>
                    <a:pt x="4" y="254"/>
                  </a:cubicBezTo>
                  <a:cubicBezTo>
                    <a:pt x="4" y="254"/>
                    <a:pt x="4" y="254"/>
                    <a:pt x="4" y="253"/>
                  </a:cubicBezTo>
                  <a:cubicBezTo>
                    <a:pt x="5" y="252"/>
                    <a:pt x="8" y="241"/>
                    <a:pt x="12" y="228"/>
                  </a:cubicBezTo>
                  <a:cubicBezTo>
                    <a:pt x="30" y="174"/>
                    <a:pt x="66" y="63"/>
                    <a:pt x="75" y="44"/>
                  </a:cubicBezTo>
                  <a:cubicBezTo>
                    <a:pt x="90" y="13"/>
                    <a:pt x="122" y="0"/>
                    <a:pt x="183" y="0"/>
                  </a:cubicBezTo>
                  <a:cubicBezTo>
                    <a:pt x="244" y="0"/>
                    <a:pt x="277" y="13"/>
                    <a:pt x="292" y="44"/>
                  </a:cubicBezTo>
                  <a:cubicBezTo>
                    <a:pt x="301" y="63"/>
                    <a:pt x="337" y="175"/>
                    <a:pt x="354" y="228"/>
                  </a:cubicBezTo>
                  <a:cubicBezTo>
                    <a:pt x="359" y="241"/>
                    <a:pt x="362" y="252"/>
                    <a:pt x="363" y="253"/>
                  </a:cubicBezTo>
                  <a:cubicBezTo>
                    <a:pt x="363" y="254"/>
                    <a:pt x="363" y="254"/>
                    <a:pt x="363" y="254"/>
                  </a:cubicBezTo>
                  <a:cubicBezTo>
                    <a:pt x="366" y="267"/>
                    <a:pt x="358" y="280"/>
                    <a:pt x="345" y="285"/>
                  </a:cubicBezTo>
                  <a:cubicBezTo>
                    <a:pt x="342" y="286"/>
                    <a:pt x="339" y="287"/>
                    <a:pt x="335" y="287"/>
                  </a:cubicBezTo>
                  <a:cubicBezTo>
                    <a:pt x="325" y="287"/>
                    <a:pt x="316" y="281"/>
                    <a:pt x="312" y="272"/>
                  </a:cubicBezTo>
                  <a:cubicBezTo>
                    <a:pt x="262" y="161"/>
                    <a:pt x="262" y="161"/>
                    <a:pt x="262" y="161"/>
                  </a:cubicBezTo>
                  <a:cubicBezTo>
                    <a:pt x="265" y="307"/>
                    <a:pt x="271" y="536"/>
                    <a:pt x="271" y="545"/>
                  </a:cubicBezTo>
                  <a:cubicBezTo>
                    <a:pt x="271" y="546"/>
                    <a:pt x="271" y="546"/>
                    <a:pt x="271" y="547"/>
                  </a:cubicBezTo>
                  <a:cubicBezTo>
                    <a:pt x="270" y="562"/>
                    <a:pt x="256" y="575"/>
                    <a:pt x="238" y="575"/>
                  </a:cubicBezTo>
                  <a:cubicBezTo>
                    <a:pt x="238" y="575"/>
                    <a:pt x="238" y="575"/>
                    <a:pt x="238" y="575"/>
                  </a:cubicBezTo>
                  <a:close/>
                  <a:moveTo>
                    <a:pt x="183" y="293"/>
                  </a:moveTo>
                  <a:cubicBezTo>
                    <a:pt x="187" y="293"/>
                    <a:pt x="190" y="296"/>
                    <a:pt x="190" y="299"/>
                  </a:cubicBezTo>
                  <a:cubicBezTo>
                    <a:pt x="219" y="545"/>
                    <a:pt x="219" y="545"/>
                    <a:pt x="219" y="545"/>
                  </a:cubicBezTo>
                  <a:cubicBezTo>
                    <a:pt x="220" y="554"/>
                    <a:pt x="228" y="561"/>
                    <a:pt x="238" y="561"/>
                  </a:cubicBezTo>
                  <a:cubicBezTo>
                    <a:pt x="238" y="568"/>
                    <a:pt x="238" y="568"/>
                    <a:pt x="238" y="568"/>
                  </a:cubicBezTo>
                  <a:cubicBezTo>
                    <a:pt x="238" y="561"/>
                    <a:pt x="238" y="561"/>
                    <a:pt x="238" y="561"/>
                  </a:cubicBezTo>
                  <a:cubicBezTo>
                    <a:pt x="248" y="561"/>
                    <a:pt x="257" y="554"/>
                    <a:pt x="257" y="546"/>
                  </a:cubicBezTo>
                  <a:cubicBezTo>
                    <a:pt x="257" y="546"/>
                    <a:pt x="257" y="546"/>
                    <a:pt x="257" y="546"/>
                  </a:cubicBezTo>
                  <a:cubicBezTo>
                    <a:pt x="257" y="542"/>
                    <a:pt x="257" y="537"/>
                    <a:pt x="257" y="528"/>
                  </a:cubicBezTo>
                  <a:cubicBezTo>
                    <a:pt x="256" y="517"/>
                    <a:pt x="256" y="500"/>
                    <a:pt x="256" y="481"/>
                  </a:cubicBezTo>
                  <a:cubicBezTo>
                    <a:pt x="255" y="441"/>
                    <a:pt x="253" y="389"/>
                    <a:pt x="252" y="337"/>
                  </a:cubicBezTo>
                  <a:cubicBezTo>
                    <a:pt x="249" y="232"/>
                    <a:pt x="247" y="127"/>
                    <a:pt x="247" y="127"/>
                  </a:cubicBezTo>
                  <a:cubicBezTo>
                    <a:pt x="247" y="124"/>
                    <a:pt x="249" y="121"/>
                    <a:pt x="252" y="120"/>
                  </a:cubicBezTo>
                  <a:cubicBezTo>
                    <a:pt x="255" y="120"/>
                    <a:pt x="259" y="121"/>
                    <a:pt x="260" y="124"/>
                  </a:cubicBezTo>
                  <a:cubicBezTo>
                    <a:pt x="325" y="266"/>
                    <a:pt x="325" y="266"/>
                    <a:pt x="325" y="266"/>
                  </a:cubicBezTo>
                  <a:cubicBezTo>
                    <a:pt x="326" y="270"/>
                    <a:pt x="330" y="273"/>
                    <a:pt x="335" y="273"/>
                  </a:cubicBezTo>
                  <a:cubicBezTo>
                    <a:pt x="337" y="273"/>
                    <a:pt x="339" y="272"/>
                    <a:pt x="340" y="272"/>
                  </a:cubicBezTo>
                  <a:cubicBezTo>
                    <a:pt x="347" y="270"/>
                    <a:pt x="351" y="263"/>
                    <a:pt x="350" y="258"/>
                  </a:cubicBezTo>
                  <a:cubicBezTo>
                    <a:pt x="350" y="258"/>
                    <a:pt x="350" y="258"/>
                    <a:pt x="350" y="258"/>
                  </a:cubicBezTo>
                  <a:cubicBezTo>
                    <a:pt x="349" y="256"/>
                    <a:pt x="348" y="254"/>
                    <a:pt x="347" y="251"/>
                  </a:cubicBezTo>
                  <a:cubicBezTo>
                    <a:pt x="346" y="247"/>
                    <a:pt x="344" y="240"/>
                    <a:pt x="341" y="232"/>
                  </a:cubicBezTo>
                  <a:cubicBezTo>
                    <a:pt x="325" y="183"/>
                    <a:pt x="288" y="69"/>
                    <a:pt x="279" y="50"/>
                  </a:cubicBezTo>
                  <a:cubicBezTo>
                    <a:pt x="270" y="32"/>
                    <a:pt x="252" y="14"/>
                    <a:pt x="183" y="14"/>
                  </a:cubicBezTo>
                  <a:cubicBezTo>
                    <a:pt x="115" y="14"/>
                    <a:pt x="96" y="32"/>
                    <a:pt x="88" y="50"/>
                  </a:cubicBezTo>
                  <a:cubicBezTo>
                    <a:pt x="79" y="69"/>
                    <a:pt x="42" y="183"/>
                    <a:pt x="26" y="232"/>
                  </a:cubicBezTo>
                  <a:cubicBezTo>
                    <a:pt x="23" y="240"/>
                    <a:pt x="21" y="247"/>
                    <a:pt x="19" y="251"/>
                  </a:cubicBezTo>
                  <a:cubicBezTo>
                    <a:pt x="19" y="254"/>
                    <a:pt x="18" y="256"/>
                    <a:pt x="17" y="258"/>
                  </a:cubicBezTo>
                  <a:cubicBezTo>
                    <a:pt x="17" y="258"/>
                    <a:pt x="17" y="258"/>
                    <a:pt x="17" y="258"/>
                  </a:cubicBezTo>
                  <a:cubicBezTo>
                    <a:pt x="16" y="263"/>
                    <a:pt x="20" y="270"/>
                    <a:pt x="26" y="272"/>
                  </a:cubicBezTo>
                  <a:cubicBezTo>
                    <a:pt x="28" y="272"/>
                    <a:pt x="30" y="273"/>
                    <a:pt x="31" y="273"/>
                  </a:cubicBezTo>
                  <a:cubicBezTo>
                    <a:pt x="36" y="273"/>
                    <a:pt x="41" y="270"/>
                    <a:pt x="42" y="266"/>
                  </a:cubicBezTo>
                  <a:cubicBezTo>
                    <a:pt x="107" y="124"/>
                    <a:pt x="107" y="124"/>
                    <a:pt x="107" y="124"/>
                  </a:cubicBezTo>
                  <a:cubicBezTo>
                    <a:pt x="108" y="121"/>
                    <a:pt x="111" y="120"/>
                    <a:pt x="115" y="120"/>
                  </a:cubicBezTo>
                  <a:cubicBezTo>
                    <a:pt x="118" y="121"/>
                    <a:pt x="120" y="124"/>
                    <a:pt x="120" y="127"/>
                  </a:cubicBezTo>
                  <a:cubicBezTo>
                    <a:pt x="120" y="127"/>
                    <a:pt x="117" y="232"/>
                    <a:pt x="115" y="337"/>
                  </a:cubicBezTo>
                  <a:cubicBezTo>
                    <a:pt x="114" y="389"/>
                    <a:pt x="112" y="442"/>
                    <a:pt x="111" y="481"/>
                  </a:cubicBezTo>
                  <a:cubicBezTo>
                    <a:pt x="111" y="500"/>
                    <a:pt x="110" y="517"/>
                    <a:pt x="110" y="528"/>
                  </a:cubicBezTo>
                  <a:cubicBezTo>
                    <a:pt x="110" y="534"/>
                    <a:pt x="110" y="539"/>
                    <a:pt x="110" y="542"/>
                  </a:cubicBezTo>
                  <a:cubicBezTo>
                    <a:pt x="109" y="543"/>
                    <a:pt x="109" y="544"/>
                    <a:pt x="109" y="546"/>
                  </a:cubicBezTo>
                  <a:cubicBezTo>
                    <a:pt x="110" y="554"/>
                    <a:pt x="118" y="561"/>
                    <a:pt x="128" y="561"/>
                  </a:cubicBezTo>
                  <a:cubicBezTo>
                    <a:pt x="138" y="561"/>
                    <a:pt x="147" y="554"/>
                    <a:pt x="147" y="546"/>
                  </a:cubicBezTo>
                  <a:cubicBezTo>
                    <a:pt x="176" y="299"/>
                    <a:pt x="176" y="299"/>
                    <a:pt x="176" y="299"/>
                  </a:cubicBezTo>
                  <a:cubicBezTo>
                    <a:pt x="177" y="296"/>
                    <a:pt x="180" y="293"/>
                    <a:pt x="183" y="293"/>
                  </a:cubicBezTo>
                  <a:close/>
                </a:path>
              </a:pathLst>
            </a:custGeom>
            <a:grpFill/>
            <a:ln w="9525">
              <a:solidFill>
                <a:srgbClr val="4068F7"/>
              </a:solidFill>
              <a:round/>
              <a:headEnd/>
              <a:tailEnd/>
            </a:ln>
          </p:spPr>
          <p:txBody>
            <a:bodyPr vert="horz" wrap="square" lIns="121920" tIns="60960" rIns="121920" bIns="60960" numCol="1" anchor="t" anchorCtr="0" compatLnSpc="1">
              <a:prstTxWarp prst="textNoShape">
                <a:avLst/>
              </a:prstTxWarp>
            </a:bodyPr>
            <a:lstStyle/>
            <a:p>
              <a:endParaRPr lang="en-US" sz="2800"/>
            </a:p>
          </p:txBody>
        </p:sp>
      </p:grpSp>
      <p:sp>
        <p:nvSpPr>
          <p:cNvPr id="48" name="Rectangle 2">
            <a:extLst>
              <a:ext uri="{FF2B5EF4-FFF2-40B4-BE49-F238E27FC236}">
                <a16:creationId xmlns:a16="http://schemas.microsoft.com/office/drawing/2014/main" id="{697CFF7B-150F-40FD-8C6E-01BB213B5157}"/>
              </a:ext>
            </a:extLst>
          </p:cNvPr>
          <p:cNvSpPr txBox="1">
            <a:spLocks noChangeArrowheads="1"/>
          </p:cNvSpPr>
          <p:nvPr/>
        </p:nvSpPr>
        <p:spPr>
          <a:xfrm>
            <a:off x="888192" y="1346339"/>
            <a:ext cx="10887496" cy="1385059"/>
          </a:xfrm>
          <a:prstGeom prst="rect">
            <a:avLst/>
          </a:prstGeom>
        </p:spPr>
        <p:txBody>
          <a:bodyPr vert="horz" wrap="square" lIns="0" tIns="46800" rIns="0" bIns="45720" rtlCol="0" anchor="t" anchorCtr="0">
            <a:spAutoFit/>
          </a:bodyPr>
          <a:lstStyle>
            <a:lvl1pPr marL="0" indent="0" algn="l" defTabSz="914400" rtl="0" eaLnBrk="1" latinLnBrk="0" hangingPunct="1">
              <a:lnSpc>
                <a:spcPct val="110000"/>
              </a:lnSpc>
              <a:spcBef>
                <a:spcPts val="0"/>
              </a:spcBef>
              <a:spcAft>
                <a:spcPts val="500"/>
              </a:spcAft>
              <a:buFont typeface="Arial" panose="020B0604020202020204" pitchFamily="34" charset="0"/>
              <a:buNone/>
              <a:defRPr sz="3200" kern="1200">
                <a:solidFill>
                  <a:schemeClr val="tx1"/>
                </a:solidFill>
                <a:latin typeface="+mn-lt"/>
                <a:ea typeface="+mn-ea"/>
                <a:cs typeface="+mn-cs"/>
              </a:defRPr>
            </a:lvl1pPr>
            <a:lvl2pPr marL="468000" indent="-216000" algn="l" defTabSz="914400" rtl="0" eaLnBrk="1" latinLnBrk="0" hangingPunct="1">
              <a:lnSpc>
                <a:spcPct val="110000"/>
              </a:lnSpc>
              <a:spcBef>
                <a:spcPts val="0"/>
              </a:spcBef>
              <a:spcAft>
                <a:spcPts val="500"/>
              </a:spcAft>
              <a:buFont typeface="Arial" panose="020B0604020202020204" pitchFamily="34" charset="0"/>
              <a:buChar char="•"/>
              <a:defRPr sz="2800" kern="1200">
                <a:solidFill>
                  <a:srgbClr val="003C57"/>
                </a:solidFill>
                <a:latin typeface="+mn-lt"/>
                <a:ea typeface="+mn-ea"/>
                <a:cs typeface="+mn-cs"/>
              </a:defRPr>
            </a:lvl2pPr>
            <a:lvl3pPr marL="648000" indent="-180000" algn="l" defTabSz="914400" rtl="0" eaLnBrk="1" latinLnBrk="0" hangingPunct="1">
              <a:lnSpc>
                <a:spcPct val="110000"/>
              </a:lnSpc>
              <a:spcBef>
                <a:spcPts val="0"/>
              </a:spcBef>
              <a:spcAft>
                <a:spcPts val="500"/>
              </a:spcAft>
              <a:buFont typeface="Arial" panose="020B0604020202020204" pitchFamily="34" charset="0"/>
              <a:buChar char="•"/>
              <a:defRPr sz="2400" kern="1200">
                <a:solidFill>
                  <a:srgbClr val="003C57"/>
                </a:solidFill>
                <a:latin typeface="+mn-lt"/>
                <a:ea typeface="+mn-ea"/>
                <a:cs typeface="+mn-cs"/>
              </a:defRPr>
            </a:lvl3pPr>
            <a:lvl4pPr marL="828000" indent="-180000" algn="l" defTabSz="914400" rtl="0" eaLnBrk="1" latinLnBrk="0" hangingPunct="1">
              <a:lnSpc>
                <a:spcPct val="110000"/>
              </a:lnSpc>
              <a:spcBef>
                <a:spcPts val="0"/>
              </a:spcBef>
              <a:spcAft>
                <a:spcPts val="500"/>
              </a:spcAft>
              <a:buFont typeface="Arial" panose="020B0604020202020204" pitchFamily="34" charset="0"/>
              <a:buChar char="•"/>
              <a:defRPr sz="2000" kern="1200">
                <a:solidFill>
                  <a:srgbClr val="003C57"/>
                </a:solidFill>
                <a:latin typeface="+mn-lt"/>
                <a:ea typeface="+mn-ea"/>
                <a:cs typeface="+mn-cs"/>
              </a:defRPr>
            </a:lvl4pPr>
            <a:lvl5pPr marL="1008000" indent="-180000" algn="l" defTabSz="914400" rtl="0" eaLnBrk="1" latinLnBrk="0" hangingPunct="1">
              <a:lnSpc>
                <a:spcPct val="110000"/>
              </a:lnSpc>
              <a:spcBef>
                <a:spcPts val="0"/>
              </a:spcBef>
              <a:spcAft>
                <a:spcPts val="500"/>
              </a:spcAft>
              <a:buFont typeface="Arial" panose="020B0604020202020204" pitchFamily="34" charset="0"/>
              <a:buChar char="•"/>
              <a:defRPr sz="2000" kern="1200">
                <a:solidFill>
                  <a:srgbClr val="003C57"/>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90000"/>
              </a:lnSpc>
              <a:buFont typeface="Arial" panose="020B0604020202020204" pitchFamily="34" charset="0"/>
              <a:buChar char="•"/>
            </a:pPr>
            <a:r>
              <a:rPr lang="en-GB" sz="2800" dirty="0">
                <a:solidFill>
                  <a:srgbClr val="003C57"/>
                </a:solidFill>
                <a:latin typeface="+mj-lt"/>
                <a:ea typeface="+mj-ea"/>
                <a:cs typeface="+mj-cs"/>
              </a:rPr>
              <a:t>A survey of the employment circumstances of the UK population</a:t>
            </a:r>
          </a:p>
          <a:p>
            <a:pPr marL="457200" indent="-457200">
              <a:lnSpc>
                <a:spcPct val="90000"/>
              </a:lnSpc>
              <a:buFont typeface="Arial" panose="020B0604020202020204" pitchFamily="34" charset="0"/>
              <a:buChar char="•"/>
            </a:pPr>
            <a:r>
              <a:rPr lang="en-GB" sz="2800" dirty="0">
                <a:solidFill>
                  <a:srgbClr val="003C57"/>
                </a:solidFill>
                <a:latin typeface="+mj-lt"/>
                <a:ea typeface="+mj-ea"/>
                <a:cs typeface="+mj-cs"/>
              </a:rPr>
              <a:t>Largest continuous household survey in the UK</a:t>
            </a:r>
          </a:p>
          <a:p>
            <a:pPr marL="457200" indent="-457200">
              <a:lnSpc>
                <a:spcPct val="90000"/>
              </a:lnSpc>
              <a:buFont typeface="Arial" panose="020B0604020202020204" pitchFamily="34" charset="0"/>
              <a:buChar char="•"/>
            </a:pPr>
            <a:r>
              <a:rPr lang="en-GB" sz="2800" dirty="0">
                <a:solidFill>
                  <a:srgbClr val="003C57"/>
                </a:solidFill>
                <a:latin typeface="+mj-lt"/>
                <a:ea typeface="+mj-ea"/>
                <a:cs typeface="+mj-cs"/>
              </a:rPr>
              <a:t>Over 1000 variables (questions and derived variables) covering: </a:t>
            </a:r>
          </a:p>
        </p:txBody>
      </p:sp>
      <p:sp>
        <p:nvSpPr>
          <p:cNvPr id="49" name="Freeform 6">
            <a:extLst>
              <a:ext uri="{FF2B5EF4-FFF2-40B4-BE49-F238E27FC236}">
                <a16:creationId xmlns:a16="http://schemas.microsoft.com/office/drawing/2014/main" id="{5D6A9531-94C2-4FF2-9686-7ED2299D89F7}"/>
              </a:ext>
            </a:extLst>
          </p:cNvPr>
          <p:cNvSpPr>
            <a:spLocks/>
          </p:cNvSpPr>
          <p:nvPr/>
        </p:nvSpPr>
        <p:spPr bwMode="auto">
          <a:xfrm rot="547283">
            <a:off x="243749" y="3879535"/>
            <a:ext cx="2027817" cy="1703194"/>
          </a:xfrm>
          <a:custGeom>
            <a:avLst/>
            <a:gdLst>
              <a:gd name="T0" fmla="*/ 340 w 423"/>
              <a:gd name="T1" fmla="*/ 339 h 419"/>
              <a:gd name="T2" fmla="*/ 423 w 423"/>
              <a:gd name="T3" fmla="*/ 182 h 419"/>
              <a:gd name="T4" fmla="*/ 210 w 423"/>
              <a:gd name="T5" fmla="*/ 10 h 419"/>
              <a:gd name="T6" fmla="*/ 0 w 423"/>
              <a:gd name="T7" fmla="*/ 197 h 419"/>
              <a:gd name="T8" fmla="*/ 210 w 423"/>
              <a:gd name="T9" fmla="*/ 384 h 419"/>
              <a:gd name="T10" fmla="*/ 262 w 423"/>
              <a:gd name="T11" fmla="*/ 377 h 419"/>
              <a:gd name="T12" fmla="*/ 382 w 423"/>
              <a:gd name="T13" fmla="*/ 419 h 419"/>
              <a:gd name="T14" fmla="*/ 340 w 423"/>
              <a:gd name="T15" fmla="*/ 339 h 4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3" h="419">
                <a:moveTo>
                  <a:pt x="340" y="339"/>
                </a:moveTo>
                <a:cubicBezTo>
                  <a:pt x="390" y="300"/>
                  <a:pt x="423" y="242"/>
                  <a:pt x="423" y="182"/>
                </a:cubicBezTo>
                <a:cubicBezTo>
                  <a:pt x="423" y="79"/>
                  <a:pt x="332" y="0"/>
                  <a:pt x="210" y="10"/>
                </a:cubicBezTo>
                <a:cubicBezTo>
                  <a:pt x="95" y="20"/>
                  <a:pt x="0" y="94"/>
                  <a:pt x="0" y="197"/>
                </a:cubicBezTo>
                <a:cubicBezTo>
                  <a:pt x="0" y="300"/>
                  <a:pt x="94" y="384"/>
                  <a:pt x="210" y="384"/>
                </a:cubicBezTo>
                <a:cubicBezTo>
                  <a:pt x="228" y="384"/>
                  <a:pt x="245" y="381"/>
                  <a:pt x="262" y="377"/>
                </a:cubicBezTo>
                <a:cubicBezTo>
                  <a:pt x="291" y="391"/>
                  <a:pt x="337" y="409"/>
                  <a:pt x="382" y="419"/>
                </a:cubicBezTo>
                <a:cubicBezTo>
                  <a:pt x="363" y="400"/>
                  <a:pt x="350" y="370"/>
                  <a:pt x="340" y="339"/>
                </a:cubicBezTo>
                <a:close/>
              </a:path>
            </a:pathLst>
          </a:custGeom>
          <a:solidFill>
            <a:srgbClr val="A8BD3A"/>
          </a:solidFill>
          <a:ln>
            <a:noFill/>
          </a:ln>
        </p:spPr>
        <p:txBody>
          <a:bodyPr vert="horz" wrap="square" lIns="121920" tIns="60960" rIns="121920" bIns="60960" numCol="1" anchor="t" anchorCtr="0" compatLnSpc="1">
            <a:prstTxWarp prst="textNoShape">
              <a:avLst/>
            </a:prstTxWarp>
          </a:bodyPr>
          <a:lstStyle/>
          <a:p>
            <a:endParaRPr lang="en-US" sz="3200"/>
          </a:p>
        </p:txBody>
      </p:sp>
      <p:sp>
        <p:nvSpPr>
          <p:cNvPr id="50" name="TextBox 49">
            <a:extLst>
              <a:ext uri="{FF2B5EF4-FFF2-40B4-BE49-F238E27FC236}">
                <a16:creationId xmlns:a16="http://schemas.microsoft.com/office/drawing/2014/main" id="{7AA9E58D-9BB1-4532-8DB9-055EB2704FC2}"/>
              </a:ext>
            </a:extLst>
          </p:cNvPr>
          <p:cNvSpPr txBox="1"/>
          <p:nvPr/>
        </p:nvSpPr>
        <p:spPr>
          <a:xfrm>
            <a:off x="171569" y="4023459"/>
            <a:ext cx="2172176" cy="1015663"/>
          </a:xfrm>
          <a:prstGeom prst="rect">
            <a:avLst/>
          </a:prstGeom>
          <a:noFill/>
        </p:spPr>
        <p:txBody>
          <a:bodyPr wrap="square" rtlCol="0">
            <a:spAutoFit/>
          </a:bodyPr>
          <a:lstStyle/>
          <a:p>
            <a:pPr algn="ctr"/>
            <a:r>
              <a:rPr lang="en-US" sz="2000" dirty="0">
                <a:solidFill>
                  <a:srgbClr val="FFFFFF"/>
                </a:solidFill>
              </a:rPr>
              <a:t>General household characteristics</a:t>
            </a:r>
            <a:endParaRPr lang="en-US" sz="1400" dirty="0">
              <a:solidFill>
                <a:srgbClr val="FFFFFF"/>
              </a:solidFill>
            </a:endParaRPr>
          </a:p>
        </p:txBody>
      </p:sp>
      <p:sp>
        <p:nvSpPr>
          <p:cNvPr id="51" name="TextBox 50">
            <a:extLst>
              <a:ext uri="{FF2B5EF4-FFF2-40B4-BE49-F238E27FC236}">
                <a16:creationId xmlns:a16="http://schemas.microsoft.com/office/drawing/2014/main" id="{461E57A2-132A-4C32-BF05-BE765888C710}"/>
              </a:ext>
            </a:extLst>
          </p:cNvPr>
          <p:cNvSpPr txBox="1"/>
          <p:nvPr/>
        </p:nvSpPr>
        <p:spPr>
          <a:xfrm>
            <a:off x="10202518" y="3746002"/>
            <a:ext cx="1668490" cy="707886"/>
          </a:xfrm>
          <a:prstGeom prst="rect">
            <a:avLst/>
          </a:prstGeom>
          <a:noFill/>
        </p:spPr>
        <p:txBody>
          <a:bodyPr wrap="square" rtlCol="0">
            <a:spAutoFit/>
          </a:bodyPr>
          <a:lstStyle/>
          <a:p>
            <a:pPr algn="ctr"/>
            <a:r>
              <a:rPr lang="en-US" sz="2000" dirty="0">
                <a:solidFill>
                  <a:srgbClr val="FFFFFF"/>
                </a:solidFill>
              </a:rPr>
              <a:t>Education &amp; training</a:t>
            </a:r>
            <a:endParaRPr lang="en-US" sz="1400" dirty="0">
              <a:solidFill>
                <a:srgbClr val="FFFFFF"/>
              </a:solidFill>
            </a:endParaRPr>
          </a:p>
        </p:txBody>
      </p:sp>
    </p:spTree>
    <p:extLst>
      <p:ext uri="{BB962C8B-B14F-4D97-AF65-F5344CB8AC3E}">
        <p14:creationId xmlns:p14="http://schemas.microsoft.com/office/powerpoint/2010/main" val="4085062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3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10" presetClass="entr" presetSubtype="0" fill="hold" nodeType="withEffect">
                                  <p:stCondLst>
                                    <p:cond delay="30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500"/>
                                        <p:tgtEl>
                                          <p:spTgt spid="45"/>
                                        </p:tgtEl>
                                      </p:cBhvr>
                                    </p:animEffect>
                                  </p:childTnLst>
                                </p:cTn>
                              </p:par>
                            </p:childTnLst>
                          </p:cTn>
                        </p:par>
                        <p:par>
                          <p:cTn id="17" fill="hold">
                            <p:stCondLst>
                              <p:cond delay="800"/>
                            </p:stCondLst>
                            <p:childTnLst>
                              <p:par>
                                <p:cTn id="18" presetID="10" presetClass="entr" presetSubtype="0" fill="hold" grpId="0" nodeType="after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300"/>
                                        <p:tgtEl>
                                          <p:spTgt spid="1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300"/>
                                        <p:tgtEl>
                                          <p:spTgt spid="6"/>
                                        </p:tgtEl>
                                      </p:cBhvr>
                                    </p:animEffect>
                                  </p:childTnLst>
                                </p:cTn>
                              </p:par>
                              <p:par>
                                <p:cTn id="24" presetID="10" presetClass="entr" presetSubtype="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par>
                          <p:cTn id="27" fill="hold">
                            <p:stCondLst>
                              <p:cond delay="1300"/>
                            </p:stCondLst>
                            <p:childTnLst>
                              <p:par>
                                <p:cTn id="28" presetID="10" presetClass="entr" presetSubtype="0" fill="hold" grpId="0" nodeType="after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300"/>
                                        <p:tgtEl>
                                          <p:spTgt spid="1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fade">
                                      <p:cBhvr>
                                        <p:cTn id="33" dur="300"/>
                                        <p:tgtEl>
                                          <p:spTgt spid="7"/>
                                        </p:tgtEl>
                                      </p:cBhvr>
                                    </p:animEffect>
                                  </p:childTnLst>
                                </p:cTn>
                              </p:par>
                              <p:par>
                                <p:cTn id="34" presetID="10" presetClass="entr" presetSubtype="0" fill="hold" nodeType="withEffect">
                                  <p:stCondLst>
                                    <p:cond delay="0"/>
                                  </p:stCondLst>
                                  <p:childTnLst>
                                    <p:set>
                                      <p:cBhvr>
                                        <p:cTn id="35" dur="1" fill="hold">
                                          <p:stCondLst>
                                            <p:cond delay="0"/>
                                          </p:stCondLst>
                                        </p:cTn>
                                        <p:tgtEl>
                                          <p:spTgt spid="33"/>
                                        </p:tgtEl>
                                        <p:attrNameLst>
                                          <p:attrName>style.visibility</p:attrName>
                                        </p:attrNameLst>
                                      </p:cBhvr>
                                      <p:to>
                                        <p:strVal val="visible"/>
                                      </p:to>
                                    </p:set>
                                    <p:animEffect transition="in" filter="fade">
                                      <p:cBhvr>
                                        <p:cTn id="36" dur="500"/>
                                        <p:tgtEl>
                                          <p:spTgt spid="33"/>
                                        </p:tgtEl>
                                      </p:cBhvr>
                                    </p:animEffect>
                                  </p:childTnLst>
                                </p:cTn>
                              </p:par>
                            </p:childTnLst>
                          </p:cTn>
                        </p:par>
                        <p:par>
                          <p:cTn id="37" fill="hold">
                            <p:stCondLst>
                              <p:cond delay="1800"/>
                            </p:stCondLst>
                            <p:childTnLst>
                              <p:par>
                                <p:cTn id="38" presetID="10" presetClass="entr" presetSubtype="0" fill="hold" grpId="0" nodeType="after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300"/>
                                        <p:tgtEl>
                                          <p:spTgt spid="2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fade">
                                      <p:cBhvr>
                                        <p:cTn id="43" dur="300"/>
                                        <p:tgtEl>
                                          <p:spTgt spid="9"/>
                                        </p:tgtEl>
                                      </p:cBhvr>
                                    </p:animEffect>
                                  </p:childTnLst>
                                </p:cTn>
                              </p:par>
                              <p:par>
                                <p:cTn id="44" presetID="10" presetClass="entr" presetSubtype="0" fill="hold" nodeType="withEffect">
                                  <p:stCondLst>
                                    <p:cond delay="0"/>
                                  </p:stCondLst>
                                  <p:childTnLst>
                                    <p:set>
                                      <p:cBhvr>
                                        <p:cTn id="45" dur="1" fill="hold">
                                          <p:stCondLst>
                                            <p:cond delay="0"/>
                                          </p:stCondLst>
                                        </p:cTn>
                                        <p:tgtEl>
                                          <p:spTgt spid="36"/>
                                        </p:tgtEl>
                                        <p:attrNameLst>
                                          <p:attrName>style.visibility</p:attrName>
                                        </p:attrNameLst>
                                      </p:cBhvr>
                                      <p:to>
                                        <p:strVal val="visible"/>
                                      </p:to>
                                    </p:set>
                                    <p:animEffect transition="in" filter="fade">
                                      <p:cBhvr>
                                        <p:cTn id="46" dur="500"/>
                                        <p:tgtEl>
                                          <p:spTgt spid="36"/>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8"/>
                                        </p:tgtEl>
                                        <p:attrNameLst>
                                          <p:attrName>style.visibility</p:attrName>
                                        </p:attrNameLst>
                                      </p:cBhvr>
                                      <p:to>
                                        <p:strVal val="visible"/>
                                      </p:to>
                                    </p:set>
                                    <p:animEffect transition="in" filter="fade">
                                      <p:cBhvr>
                                        <p:cTn id="49" dur="300"/>
                                        <p:tgtEl>
                                          <p:spTgt spid="8"/>
                                        </p:tgtEl>
                                      </p:cBhvr>
                                    </p:animEffect>
                                  </p:childTnLst>
                                </p:cTn>
                              </p:par>
                              <p:par>
                                <p:cTn id="50" presetID="10" presetClass="entr" presetSubtype="0" fill="hold" nodeType="withEffect">
                                  <p:stCondLst>
                                    <p:cond delay="0"/>
                                  </p:stCondLst>
                                  <p:childTnLst>
                                    <p:set>
                                      <p:cBhvr>
                                        <p:cTn id="51" dur="1" fill="hold">
                                          <p:stCondLst>
                                            <p:cond delay="0"/>
                                          </p:stCondLst>
                                        </p:cTn>
                                        <p:tgtEl>
                                          <p:spTgt spid="39"/>
                                        </p:tgtEl>
                                        <p:attrNameLst>
                                          <p:attrName>style.visibility</p:attrName>
                                        </p:attrNameLst>
                                      </p:cBhvr>
                                      <p:to>
                                        <p:strVal val="visible"/>
                                      </p:to>
                                    </p:set>
                                    <p:animEffect transition="in" filter="fade">
                                      <p:cBhvr>
                                        <p:cTn id="52" dur="500"/>
                                        <p:tgtEl>
                                          <p:spTgt spid="39"/>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9"/>
                                        </p:tgtEl>
                                        <p:attrNameLst>
                                          <p:attrName>style.visibility</p:attrName>
                                        </p:attrNameLst>
                                      </p:cBhvr>
                                      <p:to>
                                        <p:strVal val="visible"/>
                                      </p:to>
                                    </p:set>
                                    <p:animEffect transition="in" filter="fade">
                                      <p:cBhvr>
                                        <p:cTn id="55" dur="300"/>
                                        <p:tgtEl>
                                          <p:spTgt spid="4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50"/>
                                        </p:tgtEl>
                                        <p:attrNameLst>
                                          <p:attrName>style.visibility</p:attrName>
                                        </p:attrNameLst>
                                      </p:cBhvr>
                                      <p:to>
                                        <p:strVal val="visible"/>
                                      </p:to>
                                    </p:set>
                                    <p:animEffect transition="in" filter="fade">
                                      <p:cBhvr>
                                        <p:cTn id="58" dur="300"/>
                                        <p:tgtEl>
                                          <p:spTgt spid="50"/>
                                        </p:tgtEl>
                                      </p:cBhvr>
                                    </p:animEffect>
                                  </p:childTnLst>
                                </p:cTn>
                              </p:par>
                            </p:childTnLst>
                          </p:cTn>
                        </p:par>
                        <p:par>
                          <p:cTn id="59" fill="hold">
                            <p:stCondLst>
                              <p:cond delay="2300"/>
                            </p:stCondLst>
                            <p:childTnLst>
                              <p:par>
                                <p:cTn id="60" presetID="10" presetClass="entr" presetSubtype="0" fill="hold" grpId="0" nodeType="afterEffect">
                                  <p:stCondLst>
                                    <p:cond delay="0"/>
                                  </p:stCondLst>
                                  <p:childTnLst>
                                    <p:set>
                                      <p:cBhvr>
                                        <p:cTn id="61" dur="1" fill="hold">
                                          <p:stCondLst>
                                            <p:cond delay="0"/>
                                          </p:stCondLst>
                                        </p:cTn>
                                        <p:tgtEl>
                                          <p:spTgt spid="51"/>
                                        </p:tgtEl>
                                        <p:attrNameLst>
                                          <p:attrName>style.visibility</p:attrName>
                                        </p:attrNameLst>
                                      </p:cBhvr>
                                      <p:to>
                                        <p:strVal val="visible"/>
                                      </p:to>
                                    </p:set>
                                    <p:animEffect transition="in" filter="fade">
                                      <p:cBhvr>
                                        <p:cTn id="62" dur="3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 grpId="0" animBg="1"/>
      <p:bldP spid="6" grpId="0" animBg="1"/>
      <p:bldP spid="7" grpId="0" animBg="1"/>
      <p:bldP spid="9" grpId="0" animBg="1"/>
      <p:bldP spid="12" grpId="0"/>
      <p:bldP spid="15" grpId="0"/>
      <p:bldP spid="18" grpId="0"/>
      <p:bldP spid="21" grpId="0"/>
      <p:bldP spid="49" grpId="0" animBg="1"/>
      <p:bldP spid="50" grpId="0"/>
      <p:bldP spid="51"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BAF6C1D-5F90-4CD5-AB0E-15A4FD67E10F}"/>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9166FB31-C069-4AEC-85F0-8739050D28FB}"/>
              </a:ext>
            </a:extLst>
          </p:cNvPr>
          <p:cNvSpPr>
            <a:spLocks noGrp="1"/>
          </p:cNvSpPr>
          <p:nvPr>
            <p:ph type="title"/>
          </p:nvPr>
        </p:nvSpPr>
        <p:spPr/>
        <p:txBody>
          <a:bodyPr/>
          <a:lstStyle/>
          <a:p>
            <a:r>
              <a:rPr lang="en-GB" dirty="0"/>
              <a:t>What the future holds</a:t>
            </a:r>
          </a:p>
        </p:txBody>
      </p:sp>
      <p:sp>
        <p:nvSpPr>
          <p:cNvPr id="4" name="Content Placeholder 3">
            <a:extLst>
              <a:ext uri="{FF2B5EF4-FFF2-40B4-BE49-F238E27FC236}">
                <a16:creationId xmlns:a16="http://schemas.microsoft.com/office/drawing/2014/main" id="{CFAEE420-536F-4C39-96EB-9D8E440D4D27}"/>
              </a:ext>
            </a:extLst>
          </p:cNvPr>
          <p:cNvSpPr>
            <a:spLocks noGrp="1"/>
          </p:cNvSpPr>
          <p:nvPr>
            <p:ph idx="1"/>
          </p:nvPr>
        </p:nvSpPr>
        <p:spPr>
          <a:xfrm>
            <a:off x="838200" y="1273630"/>
            <a:ext cx="10515600" cy="4700082"/>
          </a:xfrm>
        </p:spPr>
        <p:txBody>
          <a:bodyPr/>
          <a:lstStyle/>
          <a:p>
            <a:r>
              <a:rPr lang="en-GB" sz="2800" dirty="0"/>
              <a:t>Reweighting exercise on going this year. </a:t>
            </a:r>
            <a:r>
              <a:rPr lang="en-GB" dirty="0"/>
              <a:t>	</a:t>
            </a:r>
          </a:p>
          <a:p>
            <a:pPr lvl="1">
              <a:buFont typeface="Wingdings" panose="05000000000000000000" pitchFamily="2" charset="2"/>
              <a:buChar char="ü"/>
            </a:pPr>
            <a:r>
              <a:rPr lang="en-GB" sz="2000" dirty="0"/>
              <a:t>Weight adjustment based on comparison with </a:t>
            </a:r>
            <a:r>
              <a:rPr lang="en-GB" sz="2000" dirty="0">
                <a:hlinkClick r:id="rId3"/>
              </a:rPr>
              <a:t>RTI data </a:t>
            </a:r>
            <a:endParaRPr lang="en-GB" sz="2000" dirty="0"/>
          </a:p>
          <a:p>
            <a:pPr lvl="1">
              <a:buFont typeface="Wingdings" panose="05000000000000000000" pitchFamily="2" charset="2"/>
              <a:buChar char="ü"/>
            </a:pPr>
            <a:r>
              <a:rPr lang="en-GB" sz="2000" dirty="0"/>
              <a:t>Detailed methods paper to be published in a few weeks</a:t>
            </a:r>
          </a:p>
          <a:p>
            <a:r>
              <a:rPr lang="en-GB" sz="2800" dirty="0"/>
              <a:t>Currently working on a roadmap back to in-house/F2F interviewing (trial planned for later this year)</a:t>
            </a:r>
          </a:p>
          <a:p>
            <a:r>
              <a:rPr lang="en-GB" sz="2800" dirty="0"/>
              <a:t>Ongoing development of the Labour Market Survey</a:t>
            </a:r>
          </a:p>
          <a:p>
            <a:pPr lvl="1">
              <a:buFont typeface="Wingdings" panose="05000000000000000000" pitchFamily="2" charset="2"/>
              <a:buChar char="ü"/>
            </a:pPr>
            <a:r>
              <a:rPr lang="en-GB" sz="2400" dirty="0"/>
              <a:t> </a:t>
            </a:r>
            <a:r>
              <a:rPr lang="en-GB" sz="2000" dirty="0"/>
              <a:t>LMS together with a combination of admin data will replace the LFS </a:t>
            </a:r>
          </a:p>
          <a:p>
            <a:pPr lvl="1">
              <a:buFont typeface="Wingdings" panose="05000000000000000000" pitchFamily="2" charset="2"/>
              <a:buChar char="ü"/>
            </a:pPr>
            <a:r>
              <a:rPr lang="en-GB" sz="2000" dirty="0"/>
              <a:t> On-line first</a:t>
            </a:r>
          </a:p>
          <a:p>
            <a:pPr lvl="1">
              <a:buFont typeface="Wingdings" panose="05000000000000000000" pitchFamily="2" charset="2"/>
              <a:buChar char="ü"/>
            </a:pPr>
            <a:r>
              <a:rPr lang="en-GB" sz="2000" dirty="0"/>
              <a:t> Mixed mode data collection</a:t>
            </a:r>
          </a:p>
          <a:p>
            <a:pPr lvl="1">
              <a:buFont typeface="Wingdings" panose="05000000000000000000" pitchFamily="2" charset="2"/>
              <a:buChar char="ü"/>
            </a:pPr>
            <a:r>
              <a:rPr lang="en-GB" sz="2000" dirty="0"/>
              <a:t> Latest results from the 2019 mixed-mode test published on ONS website</a:t>
            </a:r>
          </a:p>
        </p:txBody>
      </p:sp>
    </p:spTree>
    <p:extLst>
      <p:ext uri="{BB962C8B-B14F-4D97-AF65-F5344CB8AC3E}">
        <p14:creationId xmlns:p14="http://schemas.microsoft.com/office/powerpoint/2010/main" val="18741422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0BDAE9C-D123-4D67-A606-D42C42BEFBE8}"/>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3428AF2E-7C40-418C-9299-76418BC7D828}"/>
              </a:ext>
            </a:extLst>
          </p:cNvPr>
          <p:cNvSpPr>
            <a:spLocks noGrp="1"/>
          </p:cNvSpPr>
          <p:nvPr>
            <p:ph type="title"/>
          </p:nvPr>
        </p:nvSpPr>
        <p:spPr/>
        <p:txBody>
          <a:bodyPr/>
          <a:lstStyle/>
          <a:p>
            <a:r>
              <a:rPr lang="en-GB" dirty="0"/>
              <a:t>More information on the LMS</a:t>
            </a:r>
          </a:p>
        </p:txBody>
      </p:sp>
      <p:sp>
        <p:nvSpPr>
          <p:cNvPr id="4" name="Content Placeholder 3">
            <a:extLst>
              <a:ext uri="{FF2B5EF4-FFF2-40B4-BE49-F238E27FC236}">
                <a16:creationId xmlns:a16="http://schemas.microsoft.com/office/drawing/2014/main" id="{A4BD7B54-7381-423A-90B8-56D3852A1E7A}"/>
              </a:ext>
            </a:extLst>
          </p:cNvPr>
          <p:cNvSpPr>
            <a:spLocks noGrp="1"/>
          </p:cNvSpPr>
          <p:nvPr>
            <p:ph idx="1"/>
          </p:nvPr>
        </p:nvSpPr>
        <p:spPr>
          <a:xfrm>
            <a:off x="838200" y="1424324"/>
            <a:ext cx="10515600" cy="3528723"/>
          </a:xfrm>
        </p:spPr>
        <p:txBody>
          <a:bodyPr/>
          <a:lstStyle/>
          <a:p>
            <a:r>
              <a:rPr lang="en-GB" dirty="0">
                <a:hlinkClick r:id="rId2"/>
              </a:rPr>
              <a:t>LMS Technical Report</a:t>
            </a:r>
            <a:endParaRPr lang="en-GB" dirty="0"/>
          </a:p>
          <a:p>
            <a:endParaRPr lang="en-GB" dirty="0"/>
          </a:p>
          <a:p>
            <a:r>
              <a:rPr lang="en-GB" dirty="0">
                <a:hlinkClick r:id="rId3"/>
              </a:rPr>
              <a:t>LMS Characteristics Report</a:t>
            </a:r>
            <a:endParaRPr lang="en-GB" dirty="0"/>
          </a:p>
          <a:p>
            <a:endParaRPr lang="en-GB" dirty="0"/>
          </a:p>
          <a:p>
            <a:r>
              <a:rPr lang="en-GB" dirty="0">
                <a:hlinkClick r:id="rId4"/>
              </a:rPr>
              <a:t>LMS Comparative Estimates Report</a:t>
            </a:r>
            <a:endParaRPr lang="en-GB" dirty="0"/>
          </a:p>
          <a:p>
            <a:endParaRPr lang="en-GB" dirty="0"/>
          </a:p>
        </p:txBody>
      </p:sp>
    </p:spTree>
    <p:extLst>
      <p:ext uri="{BB962C8B-B14F-4D97-AF65-F5344CB8AC3E}">
        <p14:creationId xmlns:p14="http://schemas.microsoft.com/office/powerpoint/2010/main" val="5492871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60828CE-52B9-4D4D-BDC6-9F276A300486}"/>
              </a:ext>
            </a:extLst>
          </p:cNvPr>
          <p:cNvSpPr>
            <a:spLocks noGrp="1"/>
          </p:cNvSpPr>
          <p:nvPr>
            <p:ph type="ftr" sz="quarter" idx="3"/>
          </p:nvPr>
        </p:nvSpPr>
        <p:spPr>
          <a:xfrm>
            <a:off x="6988629" y="6250890"/>
            <a:ext cx="4383314" cy="365125"/>
          </a:xfrm>
        </p:spPr>
        <p:txBody>
          <a:bodyPr/>
          <a:lstStyle/>
          <a:p>
            <a:r>
              <a:rPr lang="en-US" dirty="0"/>
              <a:t>Simon Woodsford / Martina Helme</a:t>
            </a:r>
          </a:p>
        </p:txBody>
      </p:sp>
      <p:sp>
        <p:nvSpPr>
          <p:cNvPr id="6" name="Subtitle 5">
            <a:extLst>
              <a:ext uri="{FF2B5EF4-FFF2-40B4-BE49-F238E27FC236}">
                <a16:creationId xmlns:a16="http://schemas.microsoft.com/office/drawing/2014/main" id="{1C76375F-B5E3-4D9E-A7C5-19DC5F2B101C}"/>
              </a:ext>
            </a:extLst>
          </p:cNvPr>
          <p:cNvSpPr>
            <a:spLocks noGrp="1"/>
          </p:cNvSpPr>
          <p:nvPr>
            <p:ph type="subTitle" idx="1"/>
          </p:nvPr>
        </p:nvSpPr>
        <p:spPr>
          <a:xfrm>
            <a:off x="755073" y="1802367"/>
            <a:ext cx="10515600" cy="4131336"/>
          </a:xfrm>
        </p:spPr>
        <p:txBody>
          <a:bodyPr>
            <a:normAutofit/>
          </a:bodyPr>
          <a:lstStyle/>
          <a:p>
            <a:pPr>
              <a:lnSpc>
                <a:spcPct val="100000"/>
              </a:lnSpc>
            </a:pPr>
            <a:r>
              <a:rPr lang="en-GB" sz="4800" dirty="0"/>
              <a:t>Considerations when using the data</a:t>
            </a:r>
          </a:p>
          <a:p>
            <a:pPr marL="571500" indent="-571500">
              <a:lnSpc>
                <a:spcPct val="120000"/>
              </a:lnSpc>
              <a:spcAft>
                <a:spcPts val="1200"/>
              </a:spcAft>
              <a:buFont typeface="Arial" panose="020B0604020202020204" pitchFamily="34" charset="0"/>
              <a:buChar char="•"/>
            </a:pPr>
            <a:r>
              <a:rPr lang="en-GB" sz="3500" dirty="0"/>
              <a:t>Datasets - scope/limitations</a:t>
            </a:r>
          </a:p>
          <a:p>
            <a:pPr marL="571500" indent="-571500">
              <a:lnSpc>
                <a:spcPct val="120000"/>
              </a:lnSpc>
              <a:spcAft>
                <a:spcPts val="1200"/>
              </a:spcAft>
              <a:buFont typeface="Arial" panose="020B0604020202020204" pitchFamily="34" charset="0"/>
              <a:buChar char="•"/>
            </a:pPr>
            <a:r>
              <a:rPr lang="en-GB" sz="3500" dirty="0"/>
              <a:t>What to know about weights</a:t>
            </a:r>
          </a:p>
          <a:p>
            <a:pPr marL="571500" indent="-571500">
              <a:lnSpc>
                <a:spcPct val="120000"/>
              </a:lnSpc>
              <a:spcAft>
                <a:spcPts val="1200"/>
              </a:spcAft>
              <a:buFont typeface="Arial" panose="020B0604020202020204" pitchFamily="34" charset="0"/>
              <a:buChar char="•"/>
            </a:pPr>
            <a:r>
              <a:rPr lang="en-GB" sz="3500" dirty="0"/>
              <a:t>What to know about variables</a:t>
            </a:r>
          </a:p>
          <a:p>
            <a:pPr marL="571500" indent="-571500">
              <a:lnSpc>
                <a:spcPct val="120000"/>
              </a:lnSpc>
              <a:spcAft>
                <a:spcPts val="1200"/>
              </a:spcAft>
              <a:buFont typeface="Arial" panose="020B0604020202020204" pitchFamily="34" charset="0"/>
              <a:buChar char="•"/>
            </a:pPr>
            <a:r>
              <a:rPr lang="en-GB" sz="3500" dirty="0"/>
              <a:t>Data linking/pooling</a:t>
            </a:r>
          </a:p>
          <a:p>
            <a:pPr marL="571500" indent="-571500">
              <a:lnSpc>
                <a:spcPct val="120000"/>
              </a:lnSpc>
              <a:spcAft>
                <a:spcPts val="1200"/>
              </a:spcAft>
              <a:buFont typeface="Arial" panose="020B0604020202020204" pitchFamily="34" charset="0"/>
              <a:buChar char="•"/>
            </a:pPr>
            <a:endParaRPr lang="en-GB" sz="4400" dirty="0"/>
          </a:p>
        </p:txBody>
      </p:sp>
      <p:sp>
        <p:nvSpPr>
          <p:cNvPr id="5" name="Title 4">
            <a:extLst>
              <a:ext uri="{FF2B5EF4-FFF2-40B4-BE49-F238E27FC236}">
                <a16:creationId xmlns:a16="http://schemas.microsoft.com/office/drawing/2014/main" id="{1D47265F-E2C1-41CA-B63A-C53F72E0EF05}"/>
              </a:ext>
            </a:extLst>
          </p:cNvPr>
          <p:cNvSpPr>
            <a:spLocks noGrp="1"/>
          </p:cNvSpPr>
          <p:nvPr>
            <p:ph type="title"/>
          </p:nvPr>
        </p:nvSpPr>
        <p:spPr>
          <a:xfrm>
            <a:off x="755073" y="749770"/>
            <a:ext cx="10515600" cy="964880"/>
          </a:xfrm>
        </p:spPr>
        <p:txBody>
          <a:bodyPr/>
          <a:lstStyle/>
          <a:p>
            <a:r>
              <a:rPr lang="en-GB" sz="6600" dirty="0"/>
              <a:t>Session 2</a:t>
            </a:r>
          </a:p>
        </p:txBody>
      </p:sp>
    </p:spTree>
    <p:extLst>
      <p:ext uri="{BB962C8B-B14F-4D97-AF65-F5344CB8AC3E}">
        <p14:creationId xmlns:p14="http://schemas.microsoft.com/office/powerpoint/2010/main" val="32950042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644F89F-4398-4BDB-AFEC-FC111D288530}"/>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A367F7EE-C220-4E40-AA67-72F345D665B3}"/>
              </a:ext>
            </a:extLst>
          </p:cNvPr>
          <p:cNvSpPr>
            <a:spLocks noGrp="1"/>
          </p:cNvSpPr>
          <p:nvPr>
            <p:ph type="title"/>
          </p:nvPr>
        </p:nvSpPr>
        <p:spPr>
          <a:xfrm>
            <a:off x="838200" y="444804"/>
            <a:ext cx="10515600" cy="467820"/>
          </a:xfrm>
        </p:spPr>
        <p:txBody>
          <a:bodyPr/>
          <a:lstStyle/>
          <a:p>
            <a:r>
              <a:rPr lang="en-GB" dirty="0"/>
              <a:t>Dataset overview</a:t>
            </a:r>
          </a:p>
        </p:txBody>
      </p:sp>
      <p:sp>
        <p:nvSpPr>
          <p:cNvPr id="7" name="Rectangle 3">
            <a:extLst>
              <a:ext uri="{FF2B5EF4-FFF2-40B4-BE49-F238E27FC236}">
                <a16:creationId xmlns:a16="http://schemas.microsoft.com/office/drawing/2014/main" id="{CB9301F3-D25F-4A91-BFC4-F65A1EB66556}"/>
              </a:ext>
            </a:extLst>
          </p:cNvPr>
          <p:cNvSpPr>
            <a:spLocks noChangeArrowheads="1"/>
          </p:cNvSpPr>
          <p:nvPr/>
        </p:nvSpPr>
        <p:spPr bwMode="auto">
          <a:xfrm>
            <a:off x="685800" y="1264837"/>
            <a:ext cx="11012714" cy="4918250"/>
          </a:xfrm>
          <a:prstGeom prst="rect">
            <a:avLst/>
          </a:prstGeom>
          <a:noFill/>
          <a:ln w="9525">
            <a:noFill/>
            <a:miter lim="800000"/>
            <a:headEnd/>
            <a:tailEnd/>
          </a:ln>
        </p:spPr>
        <p:txBody>
          <a:bodyPr/>
          <a:lstStyle/>
          <a:p>
            <a:pPr marL="342900" indent="-342900" eaLnBrk="1" hangingPunct="1">
              <a:spcBef>
                <a:spcPct val="20000"/>
              </a:spcBef>
              <a:buFontTx/>
              <a:buChar char="•"/>
            </a:pPr>
            <a:r>
              <a:rPr lang="en-GB" sz="2400" b="1" dirty="0">
                <a:solidFill>
                  <a:schemeClr val="accent1"/>
                </a:solidFill>
              </a:rPr>
              <a:t>LFS</a:t>
            </a:r>
            <a:r>
              <a:rPr lang="en-GB" sz="2400" dirty="0">
                <a:solidFill>
                  <a:schemeClr val="accent1"/>
                </a:solidFill>
              </a:rPr>
              <a:t> </a:t>
            </a:r>
            <a:r>
              <a:rPr lang="en-GB" sz="2400" b="1" u="sng" dirty="0">
                <a:solidFill>
                  <a:schemeClr val="accent1"/>
                </a:solidFill>
              </a:rPr>
              <a:t>person level</a:t>
            </a:r>
            <a:r>
              <a:rPr lang="en-GB" sz="2400" dirty="0">
                <a:solidFill>
                  <a:schemeClr val="accent1"/>
                </a:solidFill>
              </a:rPr>
              <a:t> data - quarterly</a:t>
            </a:r>
          </a:p>
          <a:p>
            <a:pPr marL="342900" indent="-342900" eaLnBrk="1" hangingPunct="1">
              <a:spcBef>
                <a:spcPct val="20000"/>
              </a:spcBef>
              <a:buFontTx/>
              <a:buChar char="•"/>
            </a:pPr>
            <a:r>
              <a:rPr lang="en-GB" sz="2400" b="1" dirty="0">
                <a:solidFill>
                  <a:schemeClr val="accent1"/>
                </a:solidFill>
              </a:rPr>
              <a:t>LFS</a:t>
            </a:r>
            <a:r>
              <a:rPr lang="en-GB" sz="2400" dirty="0">
                <a:solidFill>
                  <a:schemeClr val="accent1"/>
                </a:solidFill>
              </a:rPr>
              <a:t> </a:t>
            </a:r>
            <a:r>
              <a:rPr lang="en-GB" sz="2400" b="1" u="sng" dirty="0">
                <a:solidFill>
                  <a:schemeClr val="accent1"/>
                </a:solidFill>
              </a:rPr>
              <a:t>household level</a:t>
            </a:r>
            <a:r>
              <a:rPr lang="en-GB" sz="2400" dirty="0">
                <a:solidFill>
                  <a:schemeClr val="accent1"/>
                </a:solidFill>
              </a:rPr>
              <a:t> data - now all quarters</a:t>
            </a:r>
          </a:p>
          <a:p>
            <a:pPr marL="342900" indent="-342900" eaLnBrk="1" hangingPunct="1">
              <a:spcBef>
                <a:spcPct val="20000"/>
              </a:spcBef>
              <a:buFontTx/>
              <a:buChar char="•"/>
            </a:pPr>
            <a:r>
              <a:rPr lang="en-GB" sz="2400" b="1" dirty="0">
                <a:solidFill>
                  <a:schemeClr val="accent1"/>
                </a:solidFill>
              </a:rPr>
              <a:t>LFS</a:t>
            </a:r>
            <a:r>
              <a:rPr lang="en-GB" sz="2400" dirty="0">
                <a:solidFill>
                  <a:schemeClr val="accent1"/>
                </a:solidFill>
              </a:rPr>
              <a:t> </a:t>
            </a:r>
            <a:r>
              <a:rPr lang="en-GB" sz="2400" b="1" u="sng" dirty="0">
                <a:solidFill>
                  <a:schemeClr val="accent1"/>
                </a:solidFill>
              </a:rPr>
              <a:t>longitudinal</a:t>
            </a:r>
            <a:r>
              <a:rPr lang="en-GB" sz="2400" dirty="0">
                <a:solidFill>
                  <a:schemeClr val="accent1"/>
                </a:solidFill>
              </a:rPr>
              <a:t> data – 2 quarters and 5 quarters </a:t>
            </a:r>
          </a:p>
          <a:p>
            <a:pPr marL="342900" indent="-342900" eaLnBrk="1" hangingPunct="1">
              <a:spcBef>
                <a:spcPct val="20000"/>
              </a:spcBef>
              <a:buFontTx/>
              <a:buChar char="•"/>
            </a:pPr>
            <a:r>
              <a:rPr lang="en-GB" sz="2400" b="1" dirty="0">
                <a:solidFill>
                  <a:schemeClr val="accent1"/>
                </a:solidFill>
              </a:rPr>
              <a:t>APS</a:t>
            </a:r>
            <a:r>
              <a:rPr lang="en-GB" sz="2400" dirty="0">
                <a:solidFill>
                  <a:schemeClr val="accent1"/>
                </a:solidFill>
              </a:rPr>
              <a:t> </a:t>
            </a:r>
            <a:r>
              <a:rPr lang="en-GB" sz="2400" b="1" u="sng" dirty="0">
                <a:solidFill>
                  <a:schemeClr val="accent1"/>
                </a:solidFill>
              </a:rPr>
              <a:t>person level</a:t>
            </a:r>
            <a:r>
              <a:rPr lang="en-GB" sz="2400" dirty="0">
                <a:solidFill>
                  <a:schemeClr val="accent1"/>
                </a:solidFill>
              </a:rPr>
              <a:t> data - quarterly, covering 12 months</a:t>
            </a:r>
          </a:p>
          <a:p>
            <a:pPr marL="342900" indent="-342900" eaLnBrk="1" hangingPunct="1">
              <a:spcBef>
                <a:spcPct val="20000"/>
              </a:spcBef>
              <a:buFontTx/>
              <a:buChar char="•"/>
            </a:pPr>
            <a:r>
              <a:rPr lang="en-GB" sz="2400" b="1" dirty="0">
                <a:solidFill>
                  <a:schemeClr val="accent1"/>
                </a:solidFill>
              </a:rPr>
              <a:t>APS</a:t>
            </a:r>
            <a:r>
              <a:rPr lang="en-GB" sz="2400" dirty="0">
                <a:solidFill>
                  <a:schemeClr val="accent1"/>
                </a:solidFill>
              </a:rPr>
              <a:t> </a:t>
            </a:r>
            <a:r>
              <a:rPr lang="en-GB" sz="2400" b="1" u="sng" dirty="0">
                <a:solidFill>
                  <a:schemeClr val="accent1"/>
                </a:solidFill>
              </a:rPr>
              <a:t>household level</a:t>
            </a:r>
            <a:r>
              <a:rPr lang="en-GB" sz="2400" dirty="0">
                <a:solidFill>
                  <a:schemeClr val="accent1"/>
                </a:solidFill>
              </a:rPr>
              <a:t> data – annually </a:t>
            </a:r>
          </a:p>
          <a:p>
            <a:pPr marL="342900" indent="-342900" eaLnBrk="1" hangingPunct="1">
              <a:spcBef>
                <a:spcPct val="20000"/>
              </a:spcBef>
              <a:buFontTx/>
              <a:buChar char="•"/>
            </a:pPr>
            <a:r>
              <a:rPr lang="en-GB" sz="2400" b="1" dirty="0">
                <a:solidFill>
                  <a:schemeClr val="accent1"/>
                </a:solidFill>
              </a:rPr>
              <a:t>APS</a:t>
            </a:r>
            <a:r>
              <a:rPr lang="en-GB" sz="2400" dirty="0">
                <a:solidFill>
                  <a:schemeClr val="accent1"/>
                </a:solidFill>
              </a:rPr>
              <a:t> </a:t>
            </a:r>
            <a:r>
              <a:rPr lang="en-GB" sz="2400" b="1" u="sng" dirty="0">
                <a:solidFill>
                  <a:schemeClr val="accent1"/>
                </a:solidFill>
              </a:rPr>
              <a:t>3 year pooled</a:t>
            </a:r>
            <a:r>
              <a:rPr lang="en-GB" sz="2400" dirty="0">
                <a:solidFill>
                  <a:schemeClr val="accent1"/>
                </a:solidFill>
              </a:rPr>
              <a:t> data – annually</a:t>
            </a:r>
          </a:p>
          <a:p>
            <a:pPr marL="342900" indent="-342900" eaLnBrk="1" hangingPunct="1">
              <a:spcBef>
                <a:spcPct val="20000"/>
              </a:spcBef>
              <a:buFontTx/>
              <a:buChar char="•"/>
            </a:pPr>
            <a:endParaRPr lang="en-GB" dirty="0">
              <a:solidFill>
                <a:schemeClr val="accent1"/>
              </a:solidFill>
            </a:endParaRPr>
          </a:p>
          <a:p>
            <a:pPr marL="342900" indent="-342900" eaLnBrk="1" hangingPunct="1">
              <a:spcBef>
                <a:spcPct val="20000"/>
              </a:spcBef>
              <a:buFontTx/>
              <a:buChar char="•"/>
            </a:pPr>
            <a:r>
              <a:rPr lang="en-GB" sz="2400" dirty="0">
                <a:solidFill>
                  <a:schemeClr val="accent1"/>
                </a:solidFill>
              </a:rPr>
              <a:t>Government level files</a:t>
            </a:r>
          </a:p>
          <a:p>
            <a:pPr marL="342900" indent="-342900" eaLnBrk="1" hangingPunct="1">
              <a:spcBef>
                <a:spcPct val="20000"/>
              </a:spcBef>
              <a:buFontTx/>
              <a:buChar char="•"/>
            </a:pPr>
            <a:r>
              <a:rPr lang="en-GB" sz="2400" dirty="0">
                <a:solidFill>
                  <a:schemeClr val="accent1"/>
                </a:solidFill>
              </a:rPr>
              <a:t>Public files (now only end user licence)  </a:t>
            </a:r>
          </a:p>
          <a:p>
            <a:pPr marL="342900" indent="-342900" eaLnBrk="1" hangingPunct="1">
              <a:spcBef>
                <a:spcPct val="20000"/>
              </a:spcBef>
              <a:buFontTx/>
              <a:buChar char="•"/>
            </a:pPr>
            <a:endParaRPr lang="en-GB" sz="2400" dirty="0">
              <a:solidFill>
                <a:schemeClr val="accent1"/>
              </a:solidFill>
            </a:endParaRPr>
          </a:p>
          <a:p>
            <a:pPr marL="342900" indent="-342900" eaLnBrk="1" hangingPunct="1">
              <a:spcBef>
                <a:spcPct val="20000"/>
              </a:spcBef>
              <a:buFontTx/>
              <a:buChar char="•"/>
            </a:pPr>
            <a:r>
              <a:rPr lang="en-GB" sz="2400" dirty="0">
                <a:solidFill>
                  <a:schemeClr val="accent1"/>
                </a:solidFill>
              </a:rPr>
              <a:t>Data accessible from UK Data Archive/SRS</a:t>
            </a:r>
          </a:p>
          <a:p>
            <a:pPr marL="763588" lvl="1" indent="-285750" eaLnBrk="1" hangingPunct="1">
              <a:spcBef>
                <a:spcPct val="20000"/>
              </a:spcBef>
              <a:buFontTx/>
              <a:buChar char="-"/>
            </a:pPr>
            <a:endParaRPr lang="en-GB" sz="2000" dirty="0">
              <a:solidFill>
                <a:schemeClr val="bg1"/>
              </a:solidFill>
            </a:endParaRPr>
          </a:p>
        </p:txBody>
      </p:sp>
      <p:sp>
        <p:nvSpPr>
          <p:cNvPr id="8" name="Rectangle: Rounded Corners 7">
            <a:extLst>
              <a:ext uri="{FF2B5EF4-FFF2-40B4-BE49-F238E27FC236}">
                <a16:creationId xmlns:a16="http://schemas.microsoft.com/office/drawing/2014/main" id="{4BCBE7D3-F376-4E3D-9EB4-9E9EA8FD5C1A}"/>
              </a:ext>
            </a:extLst>
          </p:cNvPr>
          <p:cNvSpPr/>
          <p:nvPr/>
        </p:nvSpPr>
        <p:spPr>
          <a:xfrm>
            <a:off x="685800" y="1177751"/>
            <a:ext cx="10668000" cy="2775858"/>
          </a:xfrm>
          <a:prstGeom prst="roundRect">
            <a:avLst>
              <a:gd name="adj" fmla="val 8432"/>
            </a:avLst>
          </a:prstGeom>
          <a:noFill/>
          <a:ln w="50800">
            <a:solidFill>
              <a:srgbClr val="A8BD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Rounded Corners 8">
            <a:extLst>
              <a:ext uri="{FF2B5EF4-FFF2-40B4-BE49-F238E27FC236}">
                <a16:creationId xmlns:a16="http://schemas.microsoft.com/office/drawing/2014/main" id="{32B0D731-1BDB-4841-91B1-18DAB0109709}"/>
              </a:ext>
            </a:extLst>
          </p:cNvPr>
          <p:cNvSpPr/>
          <p:nvPr/>
        </p:nvSpPr>
        <p:spPr>
          <a:xfrm>
            <a:off x="685800" y="4108500"/>
            <a:ext cx="10668000" cy="1171071"/>
          </a:xfrm>
          <a:prstGeom prst="roundRect">
            <a:avLst>
              <a:gd name="adj" fmla="val 16798"/>
            </a:avLst>
          </a:prstGeom>
          <a:no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Rounded Corners 9">
            <a:extLst>
              <a:ext uri="{FF2B5EF4-FFF2-40B4-BE49-F238E27FC236}">
                <a16:creationId xmlns:a16="http://schemas.microsoft.com/office/drawing/2014/main" id="{1748A9E3-20C4-4E68-8C76-303F165CD4F8}"/>
              </a:ext>
            </a:extLst>
          </p:cNvPr>
          <p:cNvSpPr/>
          <p:nvPr/>
        </p:nvSpPr>
        <p:spPr>
          <a:xfrm>
            <a:off x="685800" y="5412691"/>
            <a:ext cx="10668000" cy="661538"/>
          </a:xfrm>
          <a:prstGeom prst="roundRect">
            <a:avLst>
              <a:gd name="adj" fmla="val 28178"/>
            </a:avLst>
          </a:prstGeom>
          <a:noFill/>
          <a:ln w="508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0452691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D1CE1BF-6DCF-4D02-BFF2-1E0CBD3D4541}"/>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98A21A92-6D3D-412D-B38E-B93A58F49232}"/>
              </a:ext>
            </a:extLst>
          </p:cNvPr>
          <p:cNvSpPr>
            <a:spLocks noGrp="1"/>
          </p:cNvSpPr>
          <p:nvPr>
            <p:ph type="title"/>
          </p:nvPr>
        </p:nvSpPr>
        <p:spPr/>
        <p:txBody>
          <a:bodyPr/>
          <a:lstStyle/>
          <a:p>
            <a:r>
              <a:rPr lang="en-GB" dirty="0"/>
              <a:t>LFS Person level data</a:t>
            </a:r>
          </a:p>
        </p:txBody>
      </p:sp>
      <p:sp>
        <p:nvSpPr>
          <p:cNvPr id="4" name="Content Placeholder 3">
            <a:extLst>
              <a:ext uri="{FF2B5EF4-FFF2-40B4-BE49-F238E27FC236}">
                <a16:creationId xmlns:a16="http://schemas.microsoft.com/office/drawing/2014/main" id="{8302BF9C-571C-4AA0-A048-B35C71F3FC53}"/>
              </a:ext>
            </a:extLst>
          </p:cNvPr>
          <p:cNvSpPr>
            <a:spLocks noGrp="1"/>
          </p:cNvSpPr>
          <p:nvPr>
            <p:ph idx="1"/>
          </p:nvPr>
        </p:nvSpPr>
        <p:spPr>
          <a:xfrm>
            <a:off x="856343" y="1160177"/>
            <a:ext cx="10515600" cy="5703229"/>
          </a:xfrm>
        </p:spPr>
        <p:txBody>
          <a:bodyPr/>
          <a:lstStyle/>
          <a:p>
            <a:r>
              <a:rPr lang="en-GB" sz="2200" b="1" dirty="0"/>
              <a:t>Purpose</a:t>
            </a:r>
            <a:r>
              <a:rPr lang="en-GB" sz="2200" dirty="0"/>
              <a:t> 	</a:t>
            </a:r>
            <a:r>
              <a:rPr lang="en-GB" sz="2200" dirty="0">
                <a:sym typeface="Wingdings" panose="05000000000000000000" pitchFamily="2" charset="2"/>
              </a:rPr>
              <a:t></a:t>
            </a:r>
            <a:r>
              <a:rPr lang="en-GB" sz="2200" dirty="0"/>
              <a:t> Personal level analysis at a national or regional level</a:t>
            </a:r>
          </a:p>
          <a:p>
            <a:r>
              <a:rPr lang="en-GB" sz="2200" b="1" dirty="0"/>
              <a:t>Frequency</a:t>
            </a:r>
            <a:r>
              <a:rPr lang="en-GB" sz="2200" dirty="0"/>
              <a:t> 	</a:t>
            </a:r>
            <a:r>
              <a:rPr lang="en-GB" sz="2200" dirty="0">
                <a:sym typeface="Wingdings" panose="05000000000000000000" pitchFamily="2" charset="2"/>
              </a:rPr>
              <a:t> Q</a:t>
            </a:r>
            <a:r>
              <a:rPr lang="en-GB" sz="2200" dirty="0">
                <a:solidFill>
                  <a:schemeClr val="accent3">
                    <a:lumMod val="50000"/>
                  </a:schemeClr>
                </a:solidFill>
              </a:rPr>
              <a:t>uarterly </a:t>
            </a:r>
            <a:r>
              <a:rPr lang="en-GB" sz="2200" dirty="0">
                <a:solidFill>
                  <a:schemeClr val="accent3">
                    <a:lumMod val="50000"/>
                  </a:schemeClr>
                </a:solidFill>
                <a:sym typeface="Wingdings" panose="05000000000000000000" pitchFamily="2" charset="2"/>
              </a:rPr>
              <a:t>– official released around 6 weeks after the end of data 	                collection period, available through UKDS/SRS several weeks later</a:t>
            </a:r>
          </a:p>
          <a:p>
            <a:r>
              <a:rPr lang="en-GB" sz="2200" b="1" dirty="0">
                <a:sym typeface="Wingdings" panose="05000000000000000000" pitchFamily="2" charset="2"/>
              </a:rPr>
              <a:t>Time periods </a:t>
            </a:r>
            <a:r>
              <a:rPr lang="en-GB" sz="2200" dirty="0">
                <a:sym typeface="Wingdings" panose="05000000000000000000" pitchFamily="2" charset="2"/>
              </a:rPr>
              <a:t> Normally released for calendar quarters only (e.g. Jan to March)</a:t>
            </a:r>
          </a:p>
          <a:p>
            <a:r>
              <a:rPr lang="en-GB" sz="2200" b="1" dirty="0">
                <a:sym typeface="Wingdings" panose="05000000000000000000" pitchFamily="2" charset="2"/>
              </a:rPr>
              <a:t>Availability</a:t>
            </a:r>
            <a:r>
              <a:rPr lang="en-GB" sz="2200" dirty="0">
                <a:sym typeface="Wingdings" panose="05000000000000000000" pitchFamily="2" charset="2"/>
              </a:rPr>
              <a:t> 	 AJ92 to AJ01 (2007 weight)</a:t>
            </a:r>
            <a:br>
              <a:rPr lang="en-GB" sz="2200" dirty="0">
                <a:sym typeface="Wingdings" panose="05000000000000000000" pitchFamily="2" charset="2"/>
              </a:rPr>
            </a:br>
            <a:r>
              <a:rPr lang="en-GB" sz="2200" dirty="0">
                <a:sym typeface="Wingdings" panose="05000000000000000000" pitchFamily="2" charset="2"/>
              </a:rPr>
              <a:t>		    JS01 to AJ11 (2014 weight)</a:t>
            </a:r>
          </a:p>
          <a:p>
            <a:r>
              <a:rPr lang="en-GB" sz="2200" dirty="0">
                <a:sym typeface="Wingdings" panose="05000000000000000000" pitchFamily="2" charset="2"/>
              </a:rPr>
              <a:t>	               JS11 onwards (2018 weight)</a:t>
            </a:r>
          </a:p>
          <a:p>
            <a:r>
              <a:rPr lang="en-GB" sz="2200" b="1" dirty="0">
                <a:sym typeface="Wingdings" panose="05000000000000000000" pitchFamily="2" charset="2"/>
              </a:rPr>
              <a:t>Weights</a:t>
            </a:r>
            <a:r>
              <a:rPr lang="en-GB" sz="2200" dirty="0">
                <a:sym typeface="Wingdings" panose="05000000000000000000" pitchFamily="2" charset="2"/>
              </a:rPr>
              <a:t>	 PWT (person analysis) and PIWT (earnings analysis)</a:t>
            </a:r>
          </a:p>
          <a:p>
            <a:r>
              <a:rPr lang="en-GB" sz="2200" b="1" dirty="0">
                <a:sym typeface="Wingdings" panose="05000000000000000000" pitchFamily="2" charset="2"/>
              </a:rPr>
              <a:t>Limitations</a:t>
            </a:r>
            <a:r>
              <a:rPr lang="en-GB" sz="2200" dirty="0">
                <a:sym typeface="Wingdings" panose="05000000000000000000" pitchFamily="2" charset="2"/>
              </a:rPr>
              <a:t> 	 Not for analysis below regional level</a:t>
            </a:r>
          </a:p>
          <a:p>
            <a:r>
              <a:rPr lang="en-GB" sz="2200" dirty="0">
                <a:sym typeface="Wingdings" panose="05000000000000000000" pitchFamily="2" charset="2"/>
              </a:rPr>
              <a:t>		    No earnings information for self employed</a:t>
            </a:r>
          </a:p>
          <a:p>
            <a:r>
              <a:rPr lang="en-GB" sz="2200" dirty="0">
                <a:sym typeface="Wingdings" panose="05000000000000000000" pitchFamily="2" charset="2"/>
              </a:rPr>
              <a:t>		    Some variables are specific to certain quarters</a:t>
            </a:r>
          </a:p>
          <a:p>
            <a:r>
              <a:rPr lang="en-GB" sz="2200" dirty="0">
                <a:sym typeface="Wingdings" panose="05000000000000000000" pitchFamily="2" charset="2"/>
              </a:rPr>
              <a:t>		    Not for Well-Being, Sexual Orientation, Family/Household analysis</a:t>
            </a:r>
          </a:p>
          <a:p>
            <a:endParaRPr lang="en-GB" dirty="0"/>
          </a:p>
        </p:txBody>
      </p:sp>
    </p:spTree>
    <p:extLst>
      <p:ext uri="{BB962C8B-B14F-4D97-AF65-F5344CB8AC3E}">
        <p14:creationId xmlns:p14="http://schemas.microsoft.com/office/powerpoint/2010/main" val="20565038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6897868-5355-4667-86A5-0753CE2B5E40}"/>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DFA51290-D5A1-4C2E-83B4-0D12F1FD61E2}"/>
              </a:ext>
            </a:extLst>
          </p:cNvPr>
          <p:cNvSpPr>
            <a:spLocks noGrp="1"/>
          </p:cNvSpPr>
          <p:nvPr>
            <p:ph type="title"/>
          </p:nvPr>
        </p:nvSpPr>
        <p:spPr/>
        <p:txBody>
          <a:bodyPr/>
          <a:lstStyle/>
          <a:p>
            <a:r>
              <a:rPr lang="en-GB" dirty="0"/>
              <a:t>LFS longitudinal data for 2 quarters</a:t>
            </a:r>
          </a:p>
        </p:txBody>
      </p:sp>
      <p:sp>
        <p:nvSpPr>
          <p:cNvPr id="5" name="Content Placeholder 3">
            <a:extLst>
              <a:ext uri="{FF2B5EF4-FFF2-40B4-BE49-F238E27FC236}">
                <a16:creationId xmlns:a16="http://schemas.microsoft.com/office/drawing/2014/main" id="{B081A4F9-28F4-421D-BC4E-3E08527EFA6F}"/>
              </a:ext>
            </a:extLst>
          </p:cNvPr>
          <p:cNvSpPr>
            <a:spLocks noGrp="1"/>
          </p:cNvSpPr>
          <p:nvPr>
            <p:ph idx="1"/>
          </p:nvPr>
        </p:nvSpPr>
        <p:spPr>
          <a:xfrm>
            <a:off x="856343" y="1160176"/>
            <a:ext cx="10515600" cy="5510869"/>
          </a:xfrm>
        </p:spPr>
        <p:txBody>
          <a:bodyPr/>
          <a:lstStyle/>
          <a:p>
            <a:r>
              <a:rPr lang="en-GB" sz="2200" b="1" dirty="0"/>
              <a:t>Purpose</a:t>
            </a:r>
            <a:r>
              <a:rPr lang="en-GB" sz="2200" dirty="0"/>
              <a:t> 	</a:t>
            </a:r>
            <a:r>
              <a:rPr lang="en-GB" sz="2200" dirty="0">
                <a:sym typeface="Wingdings" panose="05000000000000000000" pitchFamily="2" charset="2"/>
              </a:rPr>
              <a:t></a:t>
            </a:r>
            <a:r>
              <a:rPr lang="en-GB" sz="2200" dirty="0"/>
              <a:t> Conducting analysis on flows over 3 months</a:t>
            </a:r>
          </a:p>
          <a:p>
            <a:r>
              <a:rPr lang="en-GB" sz="2200" b="1" dirty="0"/>
              <a:t>Frequency</a:t>
            </a:r>
            <a:r>
              <a:rPr lang="en-GB" sz="2200" dirty="0"/>
              <a:t> 	</a:t>
            </a:r>
            <a:r>
              <a:rPr lang="en-GB" sz="2200" dirty="0">
                <a:sym typeface="Wingdings" panose="05000000000000000000" pitchFamily="2" charset="2"/>
              </a:rPr>
              <a:t> Q</a:t>
            </a:r>
            <a:r>
              <a:rPr lang="en-GB" sz="2200" dirty="0">
                <a:solidFill>
                  <a:schemeClr val="accent3">
                    <a:lumMod val="50000"/>
                  </a:schemeClr>
                </a:solidFill>
              </a:rPr>
              <a:t>uarterly </a:t>
            </a:r>
            <a:r>
              <a:rPr lang="en-GB" sz="2200" dirty="0">
                <a:solidFill>
                  <a:schemeClr val="accent3">
                    <a:lumMod val="50000"/>
                  </a:schemeClr>
                </a:solidFill>
                <a:sym typeface="Wingdings" panose="05000000000000000000" pitchFamily="2" charset="2"/>
              </a:rPr>
              <a:t>– official released around 6 weeks after the end of data 	                collection period, available through UKDS/SRS several weeks later</a:t>
            </a:r>
            <a:endParaRPr lang="en-GB" sz="2200" dirty="0">
              <a:solidFill>
                <a:srgbClr val="FF0000"/>
              </a:solidFill>
              <a:sym typeface="Wingdings" panose="05000000000000000000" pitchFamily="2" charset="2"/>
            </a:endParaRPr>
          </a:p>
          <a:p>
            <a:r>
              <a:rPr lang="en-GB" sz="2200" b="1" dirty="0">
                <a:sym typeface="Wingdings" panose="05000000000000000000" pitchFamily="2" charset="2"/>
              </a:rPr>
              <a:t>Time periods </a:t>
            </a:r>
            <a:r>
              <a:rPr lang="en-GB" sz="2200" dirty="0">
                <a:sym typeface="Wingdings" panose="05000000000000000000" pitchFamily="2" charset="2"/>
              </a:rPr>
              <a:t> Two calendar quarters only (e.g. JM to AJ)</a:t>
            </a:r>
          </a:p>
          <a:p>
            <a:r>
              <a:rPr lang="en-GB" sz="2200" b="1" dirty="0">
                <a:sym typeface="Wingdings" panose="05000000000000000000" pitchFamily="2" charset="2"/>
              </a:rPr>
              <a:t>Availability</a:t>
            </a:r>
            <a:r>
              <a:rPr lang="en-GB" sz="2200" dirty="0">
                <a:sym typeface="Wingdings" panose="05000000000000000000" pitchFamily="2" charset="2"/>
              </a:rPr>
              <a:t> 	 </a:t>
            </a:r>
            <a:r>
              <a:rPr lang="en-GB" sz="2200" dirty="0"/>
              <a:t>Q197-Q297 to Q306 –Q406 (2007 weight) </a:t>
            </a:r>
            <a:br>
              <a:rPr lang="en-GB" sz="2200" dirty="0"/>
            </a:br>
            <a:r>
              <a:rPr lang="en-GB" sz="2200" dirty="0"/>
              <a:t>		     Q107-Q207 to Q211-Q311 (2014 weight) </a:t>
            </a:r>
            <a:br>
              <a:rPr lang="en-GB" sz="2200" dirty="0"/>
            </a:br>
            <a:r>
              <a:rPr lang="en-GB" sz="2200" dirty="0"/>
              <a:t>		     Q311-Q411 onwards (2018 weight)</a:t>
            </a:r>
          </a:p>
          <a:p>
            <a:r>
              <a:rPr lang="en-GB" sz="2200" b="1" dirty="0">
                <a:sym typeface="Wingdings" panose="05000000000000000000" pitchFamily="2" charset="2"/>
              </a:rPr>
              <a:t>Weights</a:t>
            </a:r>
            <a:r>
              <a:rPr lang="en-GB" sz="2200" dirty="0">
                <a:sym typeface="Wingdings" panose="05000000000000000000" pitchFamily="2" charset="2"/>
              </a:rPr>
              <a:t>	 </a:t>
            </a:r>
            <a:r>
              <a:rPr lang="en-GB" sz="2200" dirty="0"/>
              <a:t>LGWT </a:t>
            </a:r>
          </a:p>
          <a:p>
            <a:r>
              <a:rPr lang="en-GB" sz="2200" b="1" dirty="0">
                <a:sym typeface="Wingdings" panose="05000000000000000000" pitchFamily="2" charset="2"/>
              </a:rPr>
              <a:t>Limitations</a:t>
            </a:r>
            <a:r>
              <a:rPr lang="en-GB" sz="2200" dirty="0">
                <a:sym typeface="Wingdings" panose="05000000000000000000" pitchFamily="2" charset="2"/>
              </a:rPr>
              <a:t> 	 O</a:t>
            </a:r>
            <a:r>
              <a:rPr lang="en-GB" sz="2200" dirty="0"/>
              <a:t>nly available for person level analysis</a:t>
            </a:r>
            <a:br>
              <a:rPr lang="en-GB" sz="2200" dirty="0"/>
            </a:br>
            <a:r>
              <a:rPr lang="en-GB" sz="2200" dirty="0"/>
              <a:t>		     Only includes respondents who responded in both quarters</a:t>
            </a:r>
            <a:br>
              <a:rPr lang="en-GB" sz="2200" dirty="0"/>
            </a:br>
            <a:r>
              <a:rPr lang="en-GB" sz="2200" dirty="0"/>
              <a:t>		     Only includes variables asked in both quarters</a:t>
            </a:r>
          </a:p>
          <a:p>
            <a:r>
              <a:rPr lang="en-GB" sz="2200" dirty="0">
                <a:sym typeface="Wingdings" panose="05000000000000000000" pitchFamily="2" charset="2"/>
              </a:rPr>
              <a:t>		     Doesn’t contain all variables available on LFS person datasets</a:t>
            </a:r>
          </a:p>
          <a:p>
            <a:endParaRPr lang="en-GB" dirty="0"/>
          </a:p>
        </p:txBody>
      </p:sp>
    </p:spTree>
    <p:extLst>
      <p:ext uri="{BB962C8B-B14F-4D97-AF65-F5344CB8AC3E}">
        <p14:creationId xmlns:p14="http://schemas.microsoft.com/office/powerpoint/2010/main" val="29596350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6897868-5355-4667-86A5-0753CE2B5E40}"/>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DFA51290-D5A1-4C2E-83B4-0D12F1FD61E2}"/>
              </a:ext>
            </a:extLst>
          </p:cNvPr>
          <p:cNvSpPr>
            <a:spLocks noGrp="1"/>
          </p:cNvSpPr>
          <p:nvPr>
            <p:ph type="title"/>
          </p:nvPr>
        </p:nvSpPr>
        <p:spPr/>
        <p:txBody>
          <a:bodyPr/>
          <a:lstStyle/>
          <a:p>
            <a:r>
              <a:rPr lang="en-GB" dirty="0"/>
              <a:t>LFS longitudinal data for 5 quarters</a:t>
            </a:r>
          </a:p>
        </p:txBody>
      </p:sp>
      <p:sp>
        <p:nvSpPr>
          <p:cNvPr id="5" name="Content Placeholder 3">
            <a:extLst>
              <a:ext uri="{FF2B5EF4-FFF2-40B4-BE49-F238E27FC236}">
                <a16:creationId xmlns:a16="http://schemas.microsoft.com/office/drawing/2014/main" id="{B081A4F9-28F4-421D-BC4E-3E08527EFA6F}"/>
              </a:ext>
            </a:extLst>
          </p:cNvPr>
          <p:cNvSpPr>
            <a:spLocks noGrp="1"/>
          </p:cNvSpPr>
          <p:nvPr>
            <p:ph idx="1"/>
          </p:nvPr>
        </p:nvSpPr>
        <p:spPr>
          <a:xfrm>
            <a:off x="462988" y="1160176"/>
            <a:ext cx="11729012" cy="5947398"/>
          </a:xfrm>
        </p:spPr>
        <p:txBody>
          <a:bodyPr/>
          <a:lstStyle/>
          <a:p>
            <a:r>
              <a:rPr lang="en-GB" sz="2200" b="1" dirty="0"/>
              <a:t>Purpose</a:t>
            </a:r>
            <a:r>
              <a:rPr lang="en-GB" sz="2200" dirty="0"/>
              <a:t> 	</a:t>
            </a:r>
            <a:r>
              <a:rPr lang="en-GB" sz="2200" dirty="0">
                <a:sym typeface="Wingdings" panose="05000000000000000000" pitchFamily="2" charset="2"/>
              </a:rPr>
              <a:t></a:t>
            </a:r>
            <a:r>
              <a:rPr lang="en-GB" sz="2200" dirty="0"/>
              <a:t> Conducting analysis on flows over 12 months</a:t>
            </a:r>
          </a:p>
          <a:p>
            <a:r>
              <a:rPr lang="en-GB" sz="2200" b="1" dirty="0"/>
              <a:t>Frequency</a:t>
            </a:r>
            <a:r>
              <a:rPr lang="en-GB" sz="2200" dirty="0"/>
              <a:t> 	</a:t>
            </a:r>
            <a:r>
              <a:rPr lang="en-GB" sz="2200" dirty="0">
                <a:sym typeface="Wingdings" panose="05000000000000000000" pitchFamily="2" charset="2"/>
              </a:rPr>
              <a:t> Q</a:t>
            </a:r>
            <a:r>
              <a:rPr lang="en-GB" sz="2200" dirty="0">
                <a:solidFill>
                  <a:schemeClr val="accent3">
                    <a:lumMod val="50000"/>
                  </a:schemeClr>
                </a:solidFill>
              </a:rPr>
              <a:t>uarterly </a:t>
            </a:r>
            <a:r>
              <a:rPr lang="en-GB" sz="2200" dirty="0">
                <a:solidFill>
                  <a:schemeClr val="accent3">
                    <a:lumMod val="50000"/>
                  </a:schemeClr>
                </a:solidFill>
                <a:sym typeface="Wingdings" panose="05000000000000000000" pitchFamily="2" charset="2"/>
              </a:rPr>
              <a:t>– official released around 6 weeks after the end of data 	                 	 	     collection period, available through UKDS/SRS several weeks later </a:t>
            </a:r>
          </a:p>
          <a:p>
            <a:r>
              <a:rPr lang="en-GB" sz="2200" b="1" dirty="0">
                <a:sym typeface="Wingdings" panose="05000000000000000000" pitchFamily="2" charset="2"/>
              </a:rPr>
              <a:t>Time periods </a:t>
            </a:r>
            <a:r>
              <a:rPr lang="en-GB" sz="2200" dirty="0">
                <a:sym typeface="Wingdings" panose="05000000000000000000" pitchFamily="2" charset="2"/>
              </a:rPr>
              <a:t> Five calendar quarters only (e.g. JM to AJ)</a:t>
            </a:r>
            <a:endParaRPr lang="en-GB" sz="2200" dirty="0"/>
          </a:p>
          <a:p>
            <a:r>
              <a:rPr lang="en-GB" sz="2200" b="1" dirty="0">
                <a:sym typeface="Wingdings" panose="05000000000000000000" pitchFamily="2" charset="2"/>
              </a:rPr>
              <a:t>Availability</a:t>
            </a:r>
            <a:r>
              <a:rPr lang="en-GB" sz="2200" dirty="0">
                <a:sym typeface="Wingdings" panose="05000000000000000000" pitchFamily="2" charset="2"/>
              </a:rPr>
              <a:t> 	 </a:t>
            </a:r>
            <a:r>
              <a:rPr lang="en-GB" sz="2200" dirty="0"/>
              <a:t>Q1’05-Q1’06 to Q2’10-Q2’11 (2010 weight) </a:t>
            </a:r>
            <a:br>
              <a:rPr lang="en-GB" sz="2200" dirty="0"/>
            </a:br>
            <a:r>
              <a:rPr lang="en-GB" sz="2200" dirty="0"/>
              <a:t>		    Q3’10-Q3’11 to Q2’11 to Q2’12 (2014 weight)</a:t>
            </a:r>
            <a:br>
              <a:rPr lang="en-GB" sz="2200" dirty="0"/>
            </a:br>
            <a:r>
              <a:rPr lang="en-GB" sz="2200" dirty="0"/>
              <a:t>		    Q2’12 –Q3’13 onwards (2018 weight) </a:t>
            </a:r>
          </a:p>
          <a:p>
            <a:r>
              <a:rPr lang="en-GB" sz="2200" b="1" dirty="0">
                <a:sym typeface="Wingdings" panose="05000000000000000000" pitchFamily="2" charset="2"/>
              </a:rPr>
              <a:t>Weights</a:t>
            </a:r>
            <a:r>
              <a:rPr lang="en-GB" sz="2200" dirty="0">
                <a:sym typeface="Wingdings" panose="05000000000000000000" pitchFamily="2" charset="2"/>
              </a:rPr>
              <a:t>	 </a:t>
            </a:r>
            <a:r>
              <a:rPr lang="en-GB" sz="2200" dirty="0"/>
              <a:t>LGWT </a:t>
            </a:r>
          </a:p>
          <a:p>
            <a:r>
              <a:rPr lang="en-GB" sz="2200" b="1" dirty="0">
                <a:sym typeface="Wingdings" panose="05000000000000000000" pitchFamily="2" charset="2"/>
              </a:rPr>
              <a:t>Limitations</a:t>
            </a:r>
            <a:r>
              <a:rPr lang="en-GB" sz="2200" dirty="0">
                <a:sym typeface="Wingdings" panose="05000000000000000000" pitchFamily="2" charset="2"/>
              </a:rPr>
              <a:t> 	 O</a:t>
            </a:r>
            <a:r>
              <a:rPr lang="en-GB" sz="2200" dirty="0"/>
              <a:t>nly available for person level analysis</a:t>
            </a:r>
            <a:br>
              <a:rPr lang="en-GB" sz="2200" dirty="0"/>
            </a:br>
            <a:r>
              <a:rPr lang="en-GB" sz="2200" dirty="0"/>
              <a:t>		     Only includes respondents who responded in all 5 quarters</a:t>
            </a:r>
          </a:p>
          <a:p>
            <a:r>
              <a:rPr lang="en-GB" sz="2200" dirty="0"/>
              <a:t>		     As a result sample size drastically reduced</a:t>
            </a:r>
            <a:br>
              <a:rPr lang="en-GB" sz="2200" dirty="0"/>
            </a:br>
            <a:r>
              <a:rPr lang="en-GB" sz="2200" dirty="0"/>
              <a:t>		</a:t>
            </a:r>
            <a:r>
              <a:rPr lang="en-GB" sz="2200" dirty="0">
                <a:sym typeface="Wingdings" panose="05000000000000000000" pitchFamily="2" charset="2"/>
              </a:rPr>
              <a:t>     Doesn’t contain all variables available on LFS person datasets</a:t>
            </a:r>
          </a:p>
          <a:p>
            <a:endParaRPr lang="en-GB" sz="2200" dirty="0">
              <a:sym typeface="Wingdings" panose="05000000000000000000" pitchFamily="2" charset="2"/>
            </a:endParaRPr>
          </a:p>
          <a:p>
            <a:endParaRPr lang="en-GB" dirty="0"/>
          </a:p>
        </p:txBody>
      </p:sp>
    </p:spTree>
    <p:extLst>
      <p:ext uri="{BB962C8B-B14F-4D97-AF65-F5344CB8AC3E}">
        <p14:creationId xmlns:p14="http://schemas.microsoft.com/office/powerpoint/2010/main" val="34165094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B3FCC0E-7228-4839-A6A0-278C523E13AC}"/>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9352A258-DCC5-4778-AC63-8BA9588B313D}"/>
              </a:ext>
            </a:extLst>
          </p:cNvPr>
          <p:cNvSpPr>
            <a:spLocks noGrp="1"/>
          </p:cNvSpPr>
          <p:nvPr>
            <p:ph type="title"/>
          </p:nvPr>
        </p:nvSpPr>
        <p:spPr/>
        <p:txBody>
          <a:bodyPr/>
          <a:lstStyle/>
          <a:p>
            <a:r>
              <a:rPr lang="en-GB" dirty="0"/>
              <a:t>APS Person level data</a:t>
            </a:r>
          </a:p>
        </p:txBody>
      </p:sp>
      <p:sp>
        <p:nvSpPr>
          <p:cNvPr id="5" name="Content Placeholder 3">
            <a:extLst>
              <a:ext uri="{FF2B5EF4-FFF2-40B4-BE49-F238E27FC236}">
                <a16:creationId xmlns:a16="http://schemas.microsoft.com/office/drawing/2014/main" id="{9B346188-C8F7-4868-827A-16A7885217E1}"/>
              </a:ext>
            </a:extLst>
          </p:cNvPr>
          <p:cNvSpPr>
            <a:spLocks noGrp="1"/>
          </p:cNvSpPr>
          <p:nvPr>
            <p:ph idx="1"/>
          </p:nvPr>
        </p:nvSpPr>
        <p:spPr>
          <a:xfrm>
            <a:off x="856343" y="1109946"/>
            <a:ext cx="10515600" cy="5663218"/>
          </a:xfrm>
        </p:spPr>
        <p:txBody>
          <a:bodyPr/>
          <a:lstStyle/>
          <a:p>
            <a:r>
              <a:rPr lang="en-GB" sz="2100" b="1" dirty="0"/>
              <a:t>Purpose</a:t>
            </a:r>
            <a:r>
              <a:rPr lang="en-GB" sz="2100" dirty="0"/>
              <a:t> 	</a:t>
            </a:r>
            <a:r>
              <a:rPr lang="en-GB" sz="2100" dirty="0">
                <a:sym typeface="Wingdings" panose="05000000000000000000" pitchFamily="2" charset="2"/>
              </a:rPr>
              <a:t></a:t>
            </a:r>
            <a:r>
              <a:rPr lang="en-GB" sz="2100" dirty="0"/>
              <a:t> Personal level analysis below regional level or for </a:t>
            </a:r>
            <a:br>
              <a:rPr lang="en-GB" sz="2100" dirty="0"/>
            </a:br>
            <a:r>
              <a:rPr lang="en-GB" sz="2100" dirty="0"/>
              <a:t>		     breakdowns on certain characteristics</a:t>
            </a:r>
          </a:p>
          <a:p>
            <a:r>
              <a:rPr lang="en-GB" sz="2100" b="1" dirty="0"/>
              <a:t>Frequency</a:t>
            </a:r>
            <a:r>
              <a:rPr lang="en-GB" sz="2100" dirty="0"/>
              <a:t> 	</a:t>
            </a:r>
            <a:r>
              <a:rPr lang="en-GB" sz="2100" dirty="0">
                <a:sym typeface="Wingdings" panose="05000000000000000000" pitchFamily="2" charset="2"/>
              </a:rPr>
              <a:t> Q</a:t>
            </a:r>
            <a:r>
              <a:rPr lang="en-GB" sz="2100" dirty="0">
                <a:solidFill>
                  <a:schemeClr val="accent3">
                    <a:lumMod val="50000"/>
                  </a:schemeClr>
                </a:solidFill>
              </a:rPr>
              <a:t>uarterly </a:t>
            </a:r>
            <a:r>
              <a:rPr lang="en-GB" sz="2100" dirty="0">
                <a:solidFill>
                  <a:schemeClr val="accent3">
                    <a:lumMod val="50000"/>
                  </a:schemeClr>
                </a:solidFill>
                <a:sym typeface="Wingdings" panose="05000000000000000000" pitchFamily="2" charset="2"/>
              </a:rPr>
              <a:t>– official released around 11 weeks after the end of data 	                		     collection period, available through UKDS/SRS several weeks later</a:t>
            </a:r>
            <a:endParaRPr lang="en-GB" sz="2100" dirty="0">
              <a:sym typeface="Wingdings" panose="05000000000000000000" pitchFamily="2" charset="2"/>
            </a:endParaRPr>
          </a:p>
          <a:p>
            <a:r>
              <a:rPr lang="en-GB" sz="2100" b="1" dirty="0">
                <a:sym typeface="Wingdings" panose="05000000000000000000" pitchFamily="2" charset="2"/>
              </a:rPr>
              <a:t>Time periods </a:t>
            </a:r>
            <a:r>
              <a:rPr lang="en-GB" sz="2100" dirty="0">
                <a:sym typeface="Wingdings" panose="05000000000000000000" pitchFamily="2" charset="2"/>
              </a:rPr>
              <a:t>  Rolling 12 months (e.g. January to December, April to March)</a:t>
            </a:r>
          </a:p>
          <a:p>
            <a:r>
              <a:rPr lang="en-GB" sz="2100" b="1" dirty="0">
                <a:sym typeface="Wingdings" panose="05000000000000000000" pitchFamily="2" charset="2"/>
              </a:rPr>
              <a:t>Availability</a:t>
            </a:r>
            <a:r>
              <a:rPr lang="en-GB" sz="2100" dirty="0">
                <a:sym typeface="Wingdings" panose="05000000000000000000" pitchFamily="2" charset="2"/>
              </a:rPr>
              <a:t> 	 JD04 to JD11 (2014 weight)</a:t>
            </a:r>
            <a:br>
              <a:rPr lang="en-GB" sz="2100" dirty="0">
                <a:sym typeface="Wingdings" panose="05000000000000000000" pitchFamily="2" charset="2"/>
              </a:rPr>
            </a:br>
            <a:r>
              <a:rPr lang="en-GB" sz="2100" dirty="0">
                <a:sym typeface="Wingdings" panose="05000000000000000000" pitchFamily="2" charset="2"/>
              </a:rPr>
              <a:t>		    A11M12 onwards (2018 weight)</a:t>
            </a:r>
          </a:p>
          <a:p>
            <a:r>
              <a:rPr lang="en-GB" sz="2100" b="1" dirty="0">
                <a:sym typeface="Wingdings" panose="05000000000000000000" pitchFamily="2" charset="2"/>
              </a:rPr>
              <a:t>Weights</a:t>
            </a:r>
            <a:r>
              <a:rPr lang="en-GB" sz="2100" dirty="0">
                <a:sym typeface="Wingdings" panose="05000000000000000000" pitchFamily="2" charset="2"/>
              </a:rPr>
              <a:t>	 PWTA (A05M onwards, before then PWAPS, PWLFS) </a:t>
            </a:r>
            <a:br>
              <a:rPr lang="en-GB" sz="2100" dirty="0">
                <a:sym typeface="Wingdings" panose="05000000000000000000" pitchFamily="2" charset="2"/>
              </a:rPr>
            </a:br>
            <a:r>
              <a:rPr lang="en-GB" sz="2100" dirty="0">
                <a:sym typeface="Wingdings" panose="05000000000000000000" pitchFamily="2" charset="2"/>
              </a:rPr>
              <a:t>		    PIWTA (for earnings analysis) – JD only from 2012-17, all periods </a:t>
            </a:r>
            <a:br>
              <a:rPr lang="en-GB" sz="2100" dirty="0">
                <a:sym typeface="Wingdings" panose="05000000000000000000" pitchFamily="2" charset="2"/>
              </a:rPr>
            </a:br>
            <a:r>
              <a:rPr lang="en-GB" sz="2100" dirty="0">
                <a:sym typeface="Wingdings" panose="05000000000000000000" pitchFamily="2" charset="2"/>
              </a:rPr>
              <a:t>		    from 2018 onwards</a:t>
            </a:r>
            <a:br>
              <a:rPr lang="en-GB" sz="2100" dirty="0">
                <a:sym typeface="Wingdings" panose="05000000000000000000" pitchFamily="2" charset="2"/>
              </a:rPr>
            </a:br>
            <a:r>
              <a:rPr lang="en-GB" sz="2100" dirty="0">
                <a:sym typeface="Wingdings" panose="05000000000000000000" pitchFamily="2" charset="2"/>
              </a:rPr>
              <a:t>		    SIDWT (for Sexual Orientation analysis) – 2011 onwards</a:t>
            </a:r>
          </a:p>
          <a:p>
            <a:r>
              <a:rPr lang="en-GB" sz="2100" dirty="0">
                <a:sym typeface="Wingdings" panose="05000000000000000000" pitchFamily="2" charset="2"/>
              </a:rPr>
              <a:t>	 	    NPWT (for Personal Well-being analysis) – 2011 onwards</a:t>
            </a:r>
          </a:p>
          <a:p>
            <a:r>
              <a:rPr lang="en-GB" sz="2100" b="1" dirty="0">
                <a:sym typeface="Wingdings" panose="05000000000000000000" pitchFamily="2" charset="2"/>
              </a:rPr>
              <a:t>Limitations</a:t>
            </a:r>
            <a:r>
              <a:rPr lang="en-GB" sz="2100" dirty="0">
                <a:sym typeface="Wingdings" panose="05000000000000000000" pitchFamily="2" charset="2"/>
              </a:rPr>
              <a:t> 	 Some LFS quarterly specific variables not available on APS</a:t>
            </a:r>
          </a:p>
          <a:p>
            <a:endParaRPr lang="en-GB" dirty="0"/>
          </a:p>
        </p:txBody>
      </p:sp>
    </p:spTree>
    <p:extLst>
      <p:ext uri="{BB962C8B-B14F-4D97-AF65-F5344CB8AC3E}">
        <p14:creationId xmlns:p14="http://schemas.microsoft.com/office/powerpoint/2010/main" val="8954030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B3FCC0E-7228-4839-A6A0-278C523E13AC}"/>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9352A258-DCC5-4778-AC63-8BA9588B313D}"/>
              </a:ext>
            </a:extLst>
          </p:cNvPr>
          <p:cNvSpPr>
            <a:spLocks noGrp="1"/>
          </p:cNvSpPr>
          <p:nvPr>
            <p:ph type="title"/>
          </p:nvPr>
        </p:nvSpPr>
        <p:spPr>
          <a:xfrm>
            <a:off x="838200" y="620355"/>
            <a:ext cx="10515600" cy="467820"/>
          </a:xfrm>
        </p:spPr>
        <p:txBody>
          <a:bodyPr/>
          <a:lstStyle/>
          <a:p>
            <a:r>
              <a:rPr lang="en-GB" dirty="0"/>
              <a:t>APS longitudinal data for 2 years</a:t>
            </a:r>
          </a:p>
        </p:txBody>
      </p:sp>
      <p:sp>
        <p:nvSpPr>
          <p:cNvPr id="5" name="Content Placeholder 3">
            <a:extLst>
              <a:ext uri="{FF2B5EF4-FFF2-40B4-BE49-F238E27FC236}">
                <a16:creationId xmlns:a16="http://schemas.microsoft.com/office/drawing/2014/main" id="{9B346188-C8F7-4868-827A-16A7885217E1}"/>
              </a:ext>
            </a:extLst>
          </p:cNvPr>
          <p:cNvSpPr>
            <a:spLocks noGrp="1"/>
          </p:cNvSpPr>
          <p:nvPr>
            <p:ph idx="1"/>
          </p:nvPr>
        </p:nvSpPr>
        <p:spPr>
          <a:xfrm>
            <a:off x="856343" y="1284514"/>
            <a:ext cx="10515600" cy="4185729"/>
          </a:xfrm>
        </p:spPr>
        <p:txBody>
          <a:bodyPr/>
          <a:lstStyle/>
          <a:p>
            <a:pPr>
              <a:spcAft>
                <a:spcPts val="1200"/>
              </a:spcAft>
            </a:pPr>
            <a:r>
              <a:rPr lang="en-GB" sz="2100" b="1" dirty="0"/>
              <a:t>Purpose</a:t>
            </a:r>
            <a:r>
              <a:rPr lang="en-GB" sz="2100" dirty="0"/>
              <a:t> 	</a:t>
            </a:r>
            <a:r>
              <a:rPr lang="en-GB" sz="2100" dirty="0">
                <a:sym typeface="Wingdings" panose="05000000000000000000" pitchFamily="2" charset="2"/>
              </a:rPr>
              <a:t></a:t>
            </a:r>
            <a:r>
              <a:rPr lang="en-GB" sz="2100" dirty="0"/>
              <a:t> Personal level analysis on flows below regional level over 12 months</a:t>
            </a:r>
          </a:p>
          <a:p>
            <a:pPr>
              <a:spcAft>
                <a:spcPts val="1200"/>
              </a:spcAft>
            </a:pPr>
            <a:r>
              <a:rPr lang="en-GB" sz="2100" b="1" dirty="0"/>
              <a:t>Frequency</a:t>
            </a:r>
            <a:r>
              <a:rPr lang="en-GB" sz="2100" dirty="0"/>
              <a:t> 	</a:t>
            </a:r>
            <a:r>
              <a:rPr lang="en-GB" sz="2100" dirty="0">
                <a:sym typeface="Wingdings" panose="05000000000000000000" pitchFamily="2" charset="2"/>
              </a:rPr>
              <a:t> Annual</a:t>
            </a:r>
          </a:p>
          <a:p>
            <a:pPr>
              <a:spcAft>
                <a:spcPts val="1200"/>
              </a:spcAft>
            </a:pPr>
            <a:r>
              <a:rPr lang="en-GB" sz="2100" b="1" dirty="0">
                <a:sym typeface="Wingdings" panose="05000000000000000000" pitchFamily="2" charset="2"/>
              </a:rPr>
              <a:t>Time periods  </a:t>
            </a:r>
            <a:r>
              <a:rPr lang="en-GB" sz="2100" dirty="0">
                <a:sym typeface="Wingdings" panose="05000000000000000000" pitchFamily="2" charset="2"/>
              </a:rPr>
              <a:t> January to December for two consecutive years</a:t>
            </a:r>
          </a:p>
          <a:p>
            <a:pPr>
              <a:spcAft>
                <a:spcPts val="1200"/>
              </a:spcAft>
            </a:pPr>
            <a:r>
              <a:rPr lang="en-GB" sz="2100" b="1" dirty="0">
                <a:sym typeface="Wingdings" panose="05000000000000000000" pitchFamily="2" charset="2"/>
              </a:rPr>
              <a:t>Availability</a:t>
            </a:r>
            <a:r>
              <a:rPr lang="en-GB" sz="2100" dirty="0">
                <a:sym typeface="Wingdings" panose="05000000000000000000" pitchFamily="2" charset="2"/>
              </a:rPr>
              <a:t> 	 </a:t>
            </a:r>
            <a:r>
              <a:rPr lang="en-GB" sz="2000" dirty="0"/>
              <a:t>JD12 - JD13 onwards (2018 weight)</a:t>
            </a:r>
          </a:p>
          <a:p>
            <a:pPr>
              <a:spcAft>
                <a:spcPts val="1200"/>
              </a:spcAft>
            </a:pPr>
            <a:r>
              <a:rPr lang="en-GB" sz="2100" b="1" dirty="0">
                <a:sym typeface="Wingdings" panose="05000000000000000000" pitchFamily="2" charset="2"/>
              </a:rPr>
              <a:t>Weights</a:t>
            </a:r>
            <a:r>
              <a:rPr lang="en-GB" sz="2100" dirty="0">
                <a:sym typeface="Wingdings" panose="05000000000000000000" pitchFamily="2" charset="2"/>
              </a:rPr>
              <a:t>	 LGWT</a:t>
            </a:r>
          </a:p>
          <a:p>
            <a:pPr>
              <a:spcAft>
                <a:spcPts val="1200"/>
              </a:spcAft>
            </a:pPr>
            <a:r>
              <a:rPr lang="en-GB" sz="2100" b="1" dirty="0">
                <a:sym typeface="Wingdings" panose="05000000000000000000" pitchFamily="2" charset="2"/>
              </a:rPr>
              <a:t>Limitations</a:t>
            </a:r>
            <a:r>
              <a:rPr lang="en-GB" sz="2100" dirty="0">
                <a:sym typeface="Wingdings" panose="05000000000000000000" pitchFamily="2" charset="2"/>
              </a:rPr>
              <a:t> 	 Only at person not household level</a:t>
            </a:r>
            <a:br>
              <a:rPr lang="en-GB" sz="2100" dirty="0">
                <a:sym typeface="Wingdings" panose="05000000000000000000" pitchFamily="2" charset="2"/>
              </a:rPr>
            </a:br>
            <a:r>
              <a:rPr lang="en-GB" sz="2100" dirty="0">
                <a:sym typeface="Wingdings" panose="05000000000000000000" pitchFamily="2" charset="2"/>
              </a:rPr>
              <a:t>		    Only for a sub-set of variables</a:t>
            </a:r>
            <a:br>
              <a:rPr lang="en-GB" sz="2100" dirty="0">
                <a:sym typeface="Wingdings" panose="05000000000000000000" pitchFamily="2" charset="2"/>
              </a:rPr>
            </a:br>
            <a:r>
              <a:rPr lang="en-GB" sz="2100" dirty="0">
                <a:sym typeface="Wingdings" panose="05000000000000000000" pitchFamily="2" charset="2"/>
              </a:rPr>
              <a:t>		    Only includes respondents who have responded in both years</a:t>
            </a:r>
          </a:p>
          <a:p>
            <a:endParaRPr lang="en-GB" dirty="0"/>
          </a:p>
        </p:txBody>
      </p:sp>
    </p:spTree>
    <p:extLst>
      <p:ext uri="{BB962C8B-B14F-4D97-AF65-F5344CB8AC3E}">
        <p14:creationId xmlns:p14="http://schemas.microsoft.com/office/powerpoint/2010/main" val="27029882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B3FCC0E-7228-4839-A6A0-278C523E13AC}"/>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9352A258-DCC5-4778-AC63-8BA9588B313D}"/>
              </a:ext>
            </a:extLst>
          </p:cNvPr>
          <p:cNvSpPr>
            <a:spLocks noGrp="1"/>
          </p:cNvSpPr>
          <p:nvPr>
            <p:ph type="title"/>
          </p:nvPr>
        </p:nvSpPr>
        <p:spPr/>
        <p:txBody>
          <a:bodyPr/>
          <a:lstStyle/>
          <a:p>
            <a:r>
              <a:rPr lang="en-GB" dirty="0"/>
              <a:t>APS 3-year pooled person level data</a:t>
            </a:r>
          </a:p>
        </p:txBody>
      </p:sp>
      <p:sp>
        <p:nvSpPr>
          <p:cNvPr id="5" name="Content Placeholder 3">
            <a:extLst>
              <a:ext uri="{FF2B5EF4-FFF2-40B4-BE49-F238E27FC236}">
                <a16:creationId xmlns:a16="http://schemas.microsoft.com/office/drawing/2014/main" id="{9B346188-C8F7-4868-827A-16A7885217E1}"/>
              </a:ext>
            </a:extLst>
          </p:cNvPr>
          <p:cNvSpPr>
            <a:spLocks noGrp="1"/>
          </p:cNvSpPr>
          <p:nvPr>
            <p:ph idx="1"/>
          </p:nvPr>
        </p:nvSpPr>
        <p:spPr>
          <a:xfrm>
            <a:off x="856343" y="1109946"/>
            <a:ext cx="10515600" cy="5510869"/>
          </a:xfrm>
        </p:spPr>
        <p:txBody>
          <a:bodyPr/>
          <a:lstStyle/>
          <a:p>
            <a:endParaRPr lang="en-GB" sz="2400" b="1" dirty="0"/>
          </a:p>
          <a:p>
            <a:r>
              <a:rPr lang="en-GB" sz="2400" b="1" dirty="0"/>
              <a:t>Purpose</a:t>
            </a:r>
            <a:r>
              <a:rPr lang="en-GB" sz="2400" dirty="0"/>
              <a:t> 	</a:t>
            </a:r>
            <a:r>
              <a:rPr lang="en-GB" sz="2400" dirty="0">
                <a:sym typeface="Wingdings" panose="05000000000000000000" pitchFamily="2" charset="2"/>
              </a:rPr>
              <a:t></a:t>
            </a:r>
            <a:r>
              <a:rPr lang="en-GB" sz="2400" dirty="0"/>
              <a:t> Personal level analysis at lower level geographies and for </a:t>
            </a:r>
            <a:br>
              <a:rPr lang="en-GB" sz="2400" dirty="0"/>
            </a:br>
            <a:r>
              <a:rPr lang="en-GB" sz="2400" dirty="0"/>
              <a:t>		     certain topics where achieved sample is much smaller</a:t>
            </a:r>
          </a:p>
          <a:p>
            <a:r>
              <a:rPr lang="en-GB" sz="2400" b="1" dirty="0"/>
              <a:t>Frequency</a:t>
            </a:r>
            <a:r>
              <a:rPr lang="en-GB" sz="2400" dirty="0"/>
              <a:t> 	</a:t>
            </a:r>
            <a:r>
              <a:rPr lang="en-GB" sz="2400" dirty="0">
                <a:sym typeface="Wingdings" panose="05000000000000000000" pitchFamily="2" charset="2"/>
              </a:rPr>
              <a:t> annual – normally </a:t>
            </a:r>
            <a:r>
              <a:rPr lang="en-GB" sz="2400" dirty="0">
                <a:solidFill>
                  <a:schemeClr val="accent3">
                    <a:lumMod val="50000"/>
                  </a:schemeClr>
                </a:solidFill>
                <a:sym typeface="Wingdings" panose="05000000000000000000" pitchFamily="2" charset="2"/>
              </a:rPr>
              <a:t>released around July every year</a:t>
            </a:r>
          </a:p>
          <a:p>
            <a:r>
              <a:rPr lang="en-GB" sz="2400" b="1" dirty="0">
                <a:sym typeface="Wingdings" panose="05000000000000000000" pitchFamily="2" charset="2"/>
              </a:rPr>
              <a:t>Time periods </a:t>
            </a:r>
            <a:r>
              <a:rPr lang="en-GB" sz="2400" dirty="0">
                <a:sym typeface="Wingdings" panose="05000000000000000000" pitchFamily="2" charset="2"/>
              </a:rPr>
              <a:t> January to December covering 3 years</a:t>
            </a:r>
          </a:p>
          <a:p>
            <a:r>
              <a:rPr lang="en-GB" sz="2400" b="1" dirty="0">
                <a:sym typeface="Wingdings" panose="05000000000000000000" pitchFamily="2" charset="2"/>
              </a:rPr>
              <a:t>Availability</a:t>
            </a:r>
            <a:r>
              <a:rPr lang="en-GB" sz="2400" dirty="0">
                <a:sym typeface="Wingdings" panose="05000000000000000000" pitchFamily="2" charset="2"/>
              </a:rPr>
              <a:t> 	 JD13 to JD15 (2016 weight)</a:t>
            </a:r>
            <a:br>
              <a:rPr lang="en-GB" sz="2400" dirty="0">
                <a:sym typeface="Wingdings" panose="05000000000000000000" pitchFamily="2" charset="2"/>
              </a:rPr>
            </a:br>
            <a:r>
              <a:rPr lang="en-GB" sz="2400" dirty="0">
                <a:sym typeface="Wingdings" panose="05000000000000000000" pitchFamily="2" charset="2"/>
              </a:rPr>
              <a:t>		    </a:t>
            </a:r>
            <a:r>
              <a:rPr lang="en-GB" sz="2400" dirty="0"/>
              <a:t>JD14 - JD16 to JD15 - JD17 (2017 weight)</a:t>
            </a:r>
            <a:br>
              <a:rPr lang="en-GB" sz="2400" dirty="0">
                <a:sym typeface="Wingdings" panose="05000000000000000000" pitchFamily="2" charset="2"/>
              </a:rPr>
            </a:br>
            <a:r>
              <a:rPr lang="en-GB" sz="2400" dirty="0">
                <a:sym typeface="Wingdings" panose="05000000000000000000" pitchFamily="2" charset="2"/>
              </a:rPr>
              <a:t>		    </a:t>
            </a:r>
            <a:r>
              <a:rPr lang="en-GB" sz="2400" dirty="0"/>
              <a:t>JD16 - JD18 to JD17 to JD19 (2018 weight)</a:t>
            </a:r>
          </a:p>
          <a:p>
            <a:r>
              <a:rPr lang="en-GB" sz="2400" b="1" dirty="0">
                <a:sym typeface="Wingdings" panose="05000000000000000000" pitchFamily="2" charset="2"/>
              </a:rPr>
              <a:t>Weights</a:t>
            </a:r>
            <a:r>
              <a:rPr lang="en-GB" sz="2400" dirty="0">
                <a:sym typeface="Wingdings" panose="05000000000000000000" pitchFamily="2" charset="2"/>
              </a:rPr>
              <a:t>	 </a:t>
            </a:r>
            <a:r>
              <a:rPr lang="en-GB" sz="2400" dirty="0"/>
              <a:t>PWTA**C, SIDWT**C and NPWT**C</a:t>
            </a:r>
            <a:endParaRPr lang="en-GB" sz="2400" dirty="0">
              <a:sym typeface="Wingdings" panose="05000000000000000000" pitchFamily="2" charset="2"/>
            </a:endParaRPr>
          </a:p>
          <a:p>
            <a:r>
              <a:rPr lang="en-GB" sz="2400" b="1" dirty="0">
                <a:sym typeface="Wingdings" panose="05000000000000000000" pitchFamily="2" charset="2"/>
              </a:rPr>
              <a:t>Limitations</a:t>
            </a:r>
            <a:r>
              <a:rPr lang="en-GB" sz="2400" dirty="0">
                <a:sym typeface="Wingdings" panose="05000000000000000000" pitchFamily="2" charset="2"/>
              </a:rPr>
              <a:t> 	 Point in time estimates and not to be used for any time series 		     analysis</a:t>
            </a:r>
          </a:p>
          <a:p>
            <a:endParaRPr lang="en-GB" dirty="0"/>
          </a:p>
        </p:txBody>
      </p:sp>
    </p:spTree>
    <p:extLst>
      <p:ext uri="{BB962C8B-B14F-4D97-AF65-F5344CB8AC3E}">
        <p14:creationId xmlns:p14="http://schemas.microsoft.com/office/powerpoint/2010/main" val="41984159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p:cNvGrpSpPr/>
          <p:nvPr/>
        </p:nvGrpSpPr>
        <p:grpSpPr>
          <a:xfrm>
            <a:off x="799800" y="1086355"/>
            <a:ext cx="4374366" cy="5091421"/>
            <a:chOff x="-1528164" y="1075734"/>
            <a:chExt cx="2815921" cy="3303984"/>
          </a:xfrm>
          <a:solidFill>
            <a:srgbClr val="133477">
              <a:alpha val="15000"/>
            </a:srgbClr>
          </a:solidFill>
        </p:grpSpPr>
        <p:sp>
          <p:nvSpPr>
            <p:cNvPr id="5" name="Freeform 5"/>
            <p:cNvSpPr>
              <a:spLocks noEditPoints="1"/>
            </p:cNvSpPr>
            <p:nvPr/>
          </p:nvSpPr>
          <p:spPr bwMode="auto">
            <a:xfrm>
              <a:off x="-1528164" y="2455521"/>
              <a:ext cx="1043024" cy="1359878"/>
            </a:xfrm>
            <a:custGeom>
              <a:avLst/>
              <a:gdLst>
                <a:gd name="T0" fmla="*/ 537 w 548"/>
                <a:gd name="T1" fmla="*/ 372 h 761"/>
                <a:gd name="T2" fmla="*/ 514 w 548"/>
                <a:gd name="T3" fmla="*/ 301 h 761"/>
                <a:gd name="T4" fmla="*/ 526 w 548"/>
                <a:gd name="T5" fmla="*/ 259 h 761"/>
                <a:gd name="T6" fmla="*/ 465 w 548"/>
                <a:gd name="T7" fmla="*/ 237 h 761"/>
                <a:gd name="T8" fmla="*/ 400 w 548"/>
                <a:gd name="T9" fmla="*/ 247 h 761"/>
                <a:gd name="T10" fmla="*/ 339 w 548"/>
                <a:gd name="T11" fmla="*/ 223 h 761"/>
                <a:gd name="T12" fmla="*/ 332 w 548"/>
                <a:gd name="T13" fmla="*/ 165 h 761"/>
                <a:gd name="T14" fmla="*/ 339 w 548"/>
                <a:gd name="T15" fmla="*/ 140 h 761"/>
                <a:gd name="T16" fmla="*/ 386 w 548"/>
                <a:gd name="T17" fmla="*/ 109 h 761"/>
                <a:gd name="T18" fmla="*/ 445 w 548"/>
                <a:gd name="T19" fmla="*/ 40 h 761"/>
                <a:gd name="T20" fmla="*/ 402 w 548"/>
                <a:gd name="T21" fmla="*/ 11 h 761"/>
                <a:gd name="T22" fmla="*/ 385 w 548"/>
                <a:gd name="T23" fmla="*/ 18 h 761"/>
                <a:gd name="T24" fmla="*/ 376 w 548"/>
                <a:gd name="T25" fmla="*/ 28 h 761"/>
                <a:gd name="T26" fmla="*/ 348 w 548"/>
                <a:gd name="T27" fmla="*/ 41 h 761"/>
                <a:gd name="T28" fmla="*/ 303 w 548"/>
                <a:gd name="T29" fmla="*/ 39 h 761"/>
                <a:gd name="T30" fmla="*/ 279 w 548"/>
                <a:gd name="T31" fmla="*/ 80 h 761"/>
                <a:gd name="T32" fmla="*/ 264 w 548"/>
                <a:gd name="T33" fmla="*/ 104 h 761"/>
                <a:gd name="T34" fmla="*/ 241 w 548"/>
                <a:gd name="T35" fmla="*/ 139 h 761"/>
                <a:gd name="T36" fmla="*/ 275 w 548"/>
                <a:gd name="T37" fmla="*/ 159 h 761"/>
                <a:gd name="T38" fmla="*/ 302 w 548"/>
                <a:gd name="T39" fmla="*/ 155 h 761"/>
                <a:gd name="T40" fmla="*/ 267 w 548"/>
                <a:gd name="T41" fmla="*/ 172 h 761"/>
                <a:gd name="T42" fmla="*/ 249 w 548"/>
                <a:gd name="T43" fmla="*/ 192 h 761"/>
                <a:gd name="T44" fmla="*/ 222 w 548"/>
                <a:gd name="T45" fmla="*/ 208 h 761"/>
                <a:gd name="T46" fmla="*/ 155 w 548"/>
                <a:gd name="T47" fmla="*/ 198 h 761"/>
                <a:gd name="T48" fmla="*/ 87 w 548"/>
                <a:gd name="T49" fmla="*/ 199 h 761"/>
                <a:gd name="T50" fmla="*/ 92 w 548"/>
                <a:gd name="T51" fmla="*/ 219 h 761"/>
                <a:gd name="T52" fmla="*/ 110 w 548"/>
                <a:gd name="T53" fmla="*/ 266 h 761"/>
                <a:gd name="T54" fmla="*/ 79 w 548"/>
                <a:gd name="T55" fmla="*/ 253 h 761"/>
                <a:gd name="T56" fmla="*/ 87 w 548"/>
                <a:gd name="T57" fmla="*/ 278 h 761"/>
                <a:gd name="T58" fmla="*/ 119 w 548"/>
                <a:gd name="T59" fmla="*/ 299 h 761"/>
                <a:gd name="T60" fmla="*/ 59 w 548"/>
                <a:gd name="T61" fmla="*/ 340 h 761"/>
                <a:gd name="T62" fmla="*/ 71 w 548"/>
                <a:gd name="T63" fmla="*/ 371 h 761"/>
                <a:gd name="T64" fmla="*/ 96 w 548"/>
                <a:gd name="T65" fmla="*/ 392 h 761"/>
                <a:gd name="T66" fmla="*/ 121 w 548"/>
                <a:gd name="T67" fmla="*/ 396 h 761"/>
                <a:gd name="T68" fmla="*/ 122 w 548"/>
                <a:gd name="T69" fmla="*/ 409 h 761"/>
                <a:gd name="T70" fmla="*/ 191 w 548"/>
                <a:gd name="T71" fmla="*/ 409 h 761"/>
                <a:gd name="T72" fmla="*/ 170 w 548"/>
                <a:gd name="T73" fmla="*/ 429 h 761"/>
                <a:gd name="T74" fmla="*/ 127 w 548"/>
                <a:gd name="T75" fmla="*/ 501 h 761"/>
                <a:gd name="T76" fmla="*/ 88 w 548"/>
                <a:gd name="T77" fmla="*/ 543 h 761"/>
                <a:gd name="T78" fmla="*/ 152 w 548"/>
                <a:gd name="T79" fmla="*/ 539 h 761"/>
                <a:gd name="T80" fmla="*/ 77 w 548"/>
                <a:gd name="T81" fmla="*/ 575 h 761"/>
                <a:gd name="T82" fmla="*/ 47 w 548"/>
                <a:gd name="T83" fmla="*/ 598 h 761"/>
                <a:gd name="T84" fmla="*/ 4 w 548"/>
                <a:gd name="T85" fmla="*/ 611 h 761"/>
                <a:gd name="T86" fmla="*/ 74 w 548"/>
                <a:gd name="T87" fmla="*/ 624 h 761"/>
                <a:gd name="T88" fmla="*/ 11 w 548"/>
                <a:gd name="T89" fmla="*/ 659 h 761"/>
                <a:gd name="T90" fmla="*/ 30 w 548"/>
                <a:gd name="T91" fmla="*/ 686 h 761"/>
                <a:gd name="T92" fmla="*/ 56 w 548"/>
                <a:gd name="T93" fmla="*/ 702 h 761"/>
                <a:gd name="T94" fmla="*/ 67 w 548"/>
                <a:gd name="T95" fmla="*/ 722 h 761"/>
                <a:gd name="T96" fmla="*/ 81 w 548"/>
                <a:gd name="T97" fmla="*/ 741 h 761"/>
                <a:gd name="T98" fmla="*/ 110 w 548"/>
                <a:gd name="T99" fmla="*/ 751 h 761"/>
                <a:gd name="T100" fmla="*/ 150 w 548"/>
                <a:gd name="T101" fmla="*/ 756 h 761"/>
                <a:gd name="T102" fmla="*/ 198 w 548"/>
                <a:gd name="T103" fmla="*/ 742 h 761"/>
                <a:gd name="T104" fmla="*/ 233 w 548"/>
                <a:gd name="T105" fmla="*/ 735 h 761"/>
                <a:gd name="T106" fmla="*/ 262 w 548"/>
                <a:gd name="T107" fmla="*/ 689 h 761"/>
                <a:gd name="T108" fmla="*/ 308 w 548"/>
                <a:gd name="T109" fmla="*/ 692 h 761"/>
                <a:gd name="T110" fmla="*/ 358 w 548"/>
                <a:gd name="T111" fmla="*/ 655 h 761"/>
                <a:gd name="T112" fmla="*/ 392 w 548"/>
                <a:gd name="T113" fmla="*/ 644 h 761"/>
                <a:gd name="T114" fmla="*/ 449 w 548"/>
                <a:gd name="T115" fmla="*/ 626 h 761"/>
                <a:gd name="T116" fmla="*/ 491 w 548"/>
                <a:gd name="T117" fmla="*/ 634 h 761"/>
                <a:gd name="T118" fmla="*/ 501 w 548"/>
                <a:gd name="T119" fmla="*/ 593 h 761"/>
                <a:gd name="T120" fmla="*/ 363 w 548"/>
                <a:gd name="T121" fmla="*/ 39 h 761"/>
                <a:gd name="T122" fmla="*/ 200 w 548"/>
                <a:gd name="T123" fmla="*/ 525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8" h="761">
                  <a:moveTo>
                    <a:pt x="545" y="477"/>
                  </a:moveTo>
                  <a:cubicBezTo>
                    <a:pt x="543" y="473"/>
                    <a:pt x="544" y="468"/>
                    <a:pt x="545" y="463"/>
                  </a:cubicBezTo>
                  <a:cubicBezTo>
                    <a:pt x="546" y="459"/>
                    <a:pt x="547" y="454"/>
                    <a:pt x="546" y="450"/>
                  </a:cubicBezTo>
                  <a:cubicBezTo>
                    <a:pt x="545" y="446"/>
                    <a:pt x="544" y="443"/>
                    <a:pt x="542" y="441"/>
                  </a:cubicBezTo>
                  <a:cubicBezTo>
                    <a:pt x="541" y="439"/>
                    <a:pt x="540" y="437"/>
                    <a:pt x="540" y="435"/>
                  </a:cubicBezTo>
                  <a:cubicBezTo>
                    <a:pt x="539" y="433"/>
                    <a:pt x="539" y="431"/>
                    <a:pt x="539" y="429"/>
                  </a:cubicBezTo>
                  <a:cubicBezTo>
                    <a:pt x="538" y="426"/>
                    <a:pt x="538" y="422"/>
                    <a:pt x="537" y="420"/>
                  </a:cubicBezTo>
                  <a:cubicBezTo>
                    <a:pt x="535" y="417"/>
                    <a:pt x="533" y="415"/>
                    <a:pt x="531" y="412"/>
                  </a:cubicBezTo>
                  <a:cubicBezTo>
                    <a:pt x="530" y="411"/>
                    <a:pt x="529" y="410"/>
                    <a:pt x="528" y="409"/>
                  </a:cubicBezTo>
                  <a:cubicBezTo>
                    <a:pt x="525" y="405"/>
                    <a:pt x="525" y="405"/>
                    <a:pt x="529" y="401"/>
                  </a:cubicBezTo>
                  <a:cubicBezTo>
                    <a:pt x="529" y="400"/>
                    <a:pt x="529" y="400"/>
                    <a:pt x="529" y="400"/>
                  </a:cubicBezTo>
                  <a:cubicBezTo>
                    <a:pt x="534" y="395"/>
                    <a:pt x="534" y="390"/>
                    <a:pt x="535" y="384"/>
                  </a:cubicBezTo>
                  <a:cubicBezTo>
                    <a:pt x="535" y="381"/>
                    <a:pt x="535" y="381"/>
                    <a:pt x="535" y="381"/>
                  </a:cubicBezTo>
                  <a:cubicBezTo>
                    <a:pt x="535" y="379"/>
                    <a:pt x="535" y="377"/>
                    <a:pt x="536" y="375"/>
                  </a:cubicBezTo>
                  <a:cubicBezTo>
                    <a:pt x="536" y="374"/>
                    <a:pt x="537" y="373"/>
                    <a:pt x="537" y="372"/>
                  </a:cubicBezTo>
                  <a:cubicBezTo>
                    <a:pt x="538" y="371"/>
                    <a:pt x="539" y="370"/>
                    <a:pt x="540" y="368"/>
                  </a:cubicBezTo>
                  <a:cubicBezTo>
                    <a:pt x="541" y="364"/>
                    <a:pt x="538" y="361"/>
                    <a:pt x="536" y="359"/>
                  </a:cubicBezTo>
                  <a:cubicBezTo>
                    <a:pt x="536" y="359"/>
                    <a:pt x="536" y="359"/>
                    <a:pt x="535" y="358"/>
                  </a:cubicBezTo>
                  <a:cubicBezTo>
                    <a:pt x="534" y="357"/>
                    <a:pt x="533" y="356"/>
                    <a:pt x="533" y="355"/>
                  </a:cubicBezTo>
                  <a:cubicBezTo>
                    <a:pt x="532" y="353"/>
                    <a:pt x="531" y="352"/>
                    <a:pt x="529" y="351"/>
                  </a:cubicBezTo>
                  <a:cubicBezTo>
                    <a:pt x="529" y="350"/>
                    <a:pt x="529" y="350"/>
                    <a:pt x="529" y="350"/>
                  </a:cubicBezTo>
                  <a:cubicBezTo>
                    <a:pt x="527" y="348"/>
                    <a:pt x="525" y="346"/>
                    <a:pt x="524" y="343"/>
                  </a:cubicBezTo>
                  <a:cubicBezTo>
                    <a:pt x="523" y="340"/>
                    <a:pt x="523" y="337"/>
                    <a:pt x="524" y="334"/>
                  </a:cubicBezTo>
                  <a:cubicBezTo>
                    <a:pt x="524" y="332"/>
                    <a:pt x="524" y="330"/>
                    <a:pt x="524" y="328"/>
                  </a:cubicBezTo>
                  <a:cubicBezTo>
                    <a:pt x="523" y="325"/>
                    <a:pt x="524" y="323"/>
                    <a:pt x="524" y="320"/>
                  </a:cubicBezTo>
                  <a:cubicBezTo>
                    <a:pt x="524" y="317"/>
                    <a:pt x="524" y="313"/>
                    <a:pt x="524" y="310"/>
                  </a:cubicBezTo>
                  <a:cubicBezTo>
                    <a:pt x="524" y="309"/>
                    <a:pt x="524" y="309"/>
                    <a:pt x="524" y="309"/>
                  </a:cubicBezTo>
                  <a:cubicBezTo>
                    <a:pt x="524" y="307"/>
                    <a:pt x="523" y="303"/>
                    <a:pt x="521" y="301"/>
                  </a:cubicBezTo>
                  <a:cubicBezTo>
                    <a:pt x="520" y="301"/>
                    <a:pt x="519" y="301"/>
                    <a:pt x="518" y="301"/>
                  </a:cubicBezTo>
                  <a:cubicBezTo>
                    <a:pt x="516" y="301"/>
                    <a:pt x="515" y="301"/>
                    <a:pt x="514" y="301"/>
                  </a:cubicBezTo>
                  <a:cubicBezTo>
                    <a:pt x="513" y="302"/>
                    <a:pt x="513" y="302"/>
                    <a:pt x="512" y="302"/>
                  </a:cubicBezTo>
                  <a:cubicBezTo>
                    <a:pt x="512" y="302"/>
                    <a:pt x="512" y="302"/>
                    <a:pt x="512" y="302"/>
                  </a:cubicBezTo>
                  <a:cubicBezTo>
                    <a:pt x="512" y="301"/>
                    <a:pt x="512" y="301"/>
                    <a:pt x="512" y="301"/>
                  </a:cubicBezTo>
                  <a:cubicBezTo>
                    <a:pt x="512" y="300"/>
                    <a:pt x="512" y="298"/>
                    <a:pt x="512" y="297"/>
                  </a:cubicBezTo>
                  <a:cubicBezTo>
                    <a:pt x="511" y="296"/>
                    <a:pt x="510" y="294"/>
                    <a:pt x="509" y="293"/>
                  </a:cubicBezTo>
                  <a:cubicBezTo>
                    <a:pt x="509" y="292"/>
                    <a:pt x="508" y="292"/>
                    <a:pt x="508" y="291"/>
                  </a:cubicBezTo>
                  <a:cubicBezTo>
                    <a:pt x="508" y="287"/>
                    <a:pt x="509" y="282"/>
                    <a:pt x="511" y="279"/>
                  </a:cubicBezTo>
                  <a:cubicBezTo>
                    <a:pt x="512" y="278"/>
                    <a:pt x="513" y="278"/>
                    <a:pt x="514" y="278"/>
                  </a:cubicBezTo>
                  <a:cubicBezTo>
                    <a:pt x="516" y="278"/>
                    <a:pt x="519" y="279"/>
                    <a:pt x="522" y="281"/>
                  </a:cubicBezTo>
                  <a:cubicBezTo>
                    <a:pt x="526" y="282"/>
                    <a:pt x="530" y="284"/>
                    <a:pt x="533" y="284"/>
                  </a:cubicBezTo>
                  <a:cubicBezTo>
                    <a:pt x="535" y="284"/>
                    <a:pt x="536" y="284"/>
                    <a:pt x="537" y="284"/>
                  </a:cubicBezTo>
                  <a:cubicBezTo>
                    <a:pt x="539" y="283"/>
                    <a:pt x="540" y="281"/>
                    <a:pt x="541" y="280"/>
                  </a:cubicBezTo>
                  <a:cubicBezTo>
                    <a:pt x="541" y="275"/>
                    <a:pt x="536" y="269"/>
                    <a:pt x="527" y="261"/>
                  </a:cubicBezTo>
                  <a:cubicBezTo>
                    <a:pt x="527" y="260"/>
                    <a:pt x="527" y="260"/>
                    <a:pt x="527" y="260"/>
                  </a:cubicBezTo>
                  <a:cubicBezTo>
                    <a:pt x="526" y="259"/>
                    <a:pt x="526" y="259"/>
                    <a:pt x="526" y="259"/>
                  </a:cubicBezTo>
                  <a:cubicBezTo>
                    <a:pt x="525" y="258"/>
                    <a:pt x="524" y="257"/>
                    <a:pt x="522" y="257"/>
                  </a:cubicBezTo>
                  <a:cubicBezTo>
                    <a:pt x="520" y="255"/>
                    <a:pt x="516" y="254"/>
                    <a:pt x="513" y="254"/>
                  </a:cubicBezTo>
                  <a:cubicBezTo>
                    <a:pt x="511" y="254"/>
                    <a:pt x="511" y="254"/>
                    <a:pt x="511" y="254"/>
                  </a:cubicBezTo>
                  <a:cubicBezTo>
                    <a:pt x="510" y="256"/>
                    <a:pt x="510" y="256"/>
                    <a:pt x="510" y="256"/>
                  </a:cubicBezTo>
                  <a:cubicBezTo>
                    <a:pt x="507" y="261"/>
                    <a:pt x="504" y="262"/>
                    <a:pt x="499" y="262"/>
                  </a:cubicBezTo>
                  <a:cubicBezTo>
                    <a:pt x="497" y="262"/>
                    <a:pt x="495" y="262"/>
                    <a:pt x="493" y="263"/>
                  </a:cubicBezTo>
                  <a:cubicBezTo>
                    <a:pt x="491" y="263"/>
                    <a:pt x="490" y="264"/>
                    <a:pt x="488" y="264"/>
                  </a:cubicBezTo>
                  <a:cubicBezTo>
                    <a:pt x="486" y="265"/>
                    <a:pt x="483" y="266"/>
                    <a:pt x="482" y="266"/>
                  </a:cubicBezTo>
                  <a:cubicBezTo>
                    <a:pt x="479" y="266"/>
                    <a:pt x="477" y="266"/>
                    <a:pt x="476" y="264"/>
                  </a:cubicBezTo>
                  <a:cubicBezTo>
                    <a:pt x="473" y="260"/>
                    <a:pt x="476" y="252"/>
                    <a:pt x="478" y="248"/>
                  </a:cubicBezTo>
                  <a:cubicBezTo>
                    <a:pt x="480" y="244"/>
                    <a:pt x="481" y="240"/>
                    <a:pt x="476" y="237"/>
                  </a:cubicBezTo>
                  <a:cubicBezTo>
                    <a:pt x="475" y="236"/>
                    <a:pt x="474" y="236"/>
                    <a:pt x="473" y="236"/>
                  </a:cubicBezTo>
                  <a:cubicBezTo>
                    <a:pt x="472" y="236"/>
                    <a:pt x="471" y="236"/>
                    <a:pt x="470" y="237"/>
                  </a:cubicBezTo>
                  <a:cubicBezTo>
                    <a:pt x="469" y="237"/>
                    <a:pt x="468" y="238"/>
                    <a:pt x="467" y="238"/>
                  </a:cubicBezTo>
                  <a:cubicBezTo>
                    <a:pt x="466" y="238"/>
                    <a:pt x="466" y="237"/>
                    <a:pt x="465" y="237"/>
                  </a:cubicBezTo>
                  <a:cubicBezTo>
                    <a:pt x="458" y="235"/>
                    <a:pt x="456" y="224"/>
                    <a:pt x="455" y="217"/>
                  </a:cubicBezTo>
                  <a:cubicBezTo>
                    <a:pt x="453" y="211"/>
                    <a:pt x="452" y="204"/>
                    <a:pt x="447" y="200"/>
                  </a:cubicBezTo>
                  <a:cubicBezTo>
                    <a:pt x="442" y="195"/>
                    <a:pt x="438" y="193"/>
                    <a:pt x="435" y="193"/>
                  </a:cubicBezTo>
                  <a:cubicBezTo>
                    <a:pt x="434" y="193"/>
                    <a:pt x="434" y="193"/>
                    <a:pt x="434" y="193"/>
                  </a:cubicBezTo>
                  <a:cubicBezTo>
                    <a:pt x="433" y="193"/>
                    <a:pt x="432" y="194"/>
                    <a:pt x="431" y="195"/>
                  </a:cubicBezTo>
                  <a:cubicBezTo>
                    <a:pt x="430" y="196"/>
                    <a:pt x="430" y="197"/>
                    <a:pt x="429" y="198"/>
                  </a:cubicBezTo>
                  <a:cubicBezTo>
                    <a:pt x="427" y="201"/>
                    <a:pt x="425" y="204"/>
                    <a:pt x="421" y="206"/>
                  </a:cubicBezTo>
                  <a:cubicBezTo>
                    <a:pt x="416" y="208"/>
                    <a:pt x="414" y="210"/>
                    <a:pt x="414" y="212"/>
                  </a:cubicBezTo>
                  <a:cubicBezTo>
                    <a:pt x="413" y="213"/>
                    <a:pt x="414" y="215"/>
                    <a:pt x="416" y="217"/>
                  </a:cubicBezTo>
                  <a:cubicBezTo>
                    <a:pt x="418" y="219"/>
                    <a:pt x="421" y="222"/>
                    <a:pt x="421" y="225"/>
                  </a:cubicBezTo>
                  <a:cubicBezTo>
                    <a:pt x="421" y="226"/>
                    <a:pt x="421" y="227"/>
                    <a:pt x="419" y="228"/>
                  </a:cubicBezTo>
                  <a:cubicBezTo>
                    <a:pt x="418" y="229"/>
                    <a:pt x="417" y="230"/>
                    <a:pt x="416" y="230"/>
                  </a:cubicBezTo>
                  <a:cubicBezTo>
                    <a:pt x="415" y="230"/>
                    <a:pt x="414" y="230"/>
                    <a:pt x="413" y="231"/>
                  </a:cubicBezTo>
                  <a:cubicBezTo>
                    <a:pt x="410" y="232"/>
                    <a:pt x="409" y="234"/>
                    <a:pt x="408" y="236"/>
                  </a:cubicBezTo>
                  <a:cubicBezTo>
                    <a:pt x="406" y="241"/>
                    <a:pt x="403" y="245"/>
                    <a:pt x="400" y="247"/>
                  </a:cubicBezTo>
                  <a:cubicBezTo>
                    <a:pt x="399" y="248"/>
                    <a:pt x="398" y="249"/>
                    <a:pt x="397" y="249"/>
                  </a:cubicBezTo>
                  <a:cubicBezTo>
                    <a:pt x="396" y="249"/>
                    <a:pt x="394" y="247"/>
                    <a:pt x="393" y="246"/>
                  </a:cubicBezTo>
                  <a:cubicBezTo>
                    <a:pt x="392" y="245"/>
                    <a:pt x="391" y="244"/>
                    <a:pt x="389" y="244"/>
                  </a:cubicBezTo>
                  <a:cubicBezTo>
                    <a:pt x="388" y="243"/>
                    <a:pt x="388" y="243"/>
                    <a:pt x="387" y="243"/>
                  </a:cubicBezTo>
                  <a:cubicBezTo>
                    <a:pt x="385" y="243"/>
                    <a:pt x="384" y="244"/>
                    <a:pt x="382" y="244"/>
                  </a:cubicBezTo>
                  <a:cubicBezTo>
                    <a:pt x="381" y="245"/>
                    <a:pt x="380" y="246"/>
                    <a:pt x="378" y="246"/>
                  </a:cubicBezTo>
                  <a:cubicBezTo>
                    <a:pt x="378" y="246"/>
                    <a:pt x="378" y="246"/>
                    <a:pt x="377" y="246"/>
                  </a:cubicBezTo>
                  <a:cubicBezTo>
                    <a:pt x="373" y="246"/>
                    <a:pt x="369" y="243"/>
                    <a:pt x="366" y="240"/>
                  </a:cubicBezTo>
                  <a:cubicBezTo>
                    <a:pt x="365" y="239"/>
                    <a:pt x="365" y="238"/>
                    <a:pt x="364" y="238"/>
                  </a:cubicBezTo>
                  <a:cubicBezTo>
                    <a:pt x="362" y="235"/>
                    <a:pt x="360" y="231"/>
                    <a:pt x="356" y="230"/>
                  </a:cubicBezTo>
                  <a:cubicBezTo>
                    <a:pt x="355" y="230"/>
                    <a:pt x="354" y="229"/>
                    <a:pt x="352" y="229"/>
                  </a:cubicBezTo>
                  <a:cubicBezTo>
                    <a:pt x="351" y="229"/>
                    <a:pt x="350" y="229"/>
                    <a:pt x="349" y="230"/>
                  </a:cubicBezTo>
                  <a:cubicBezTo>
                    <a:pt x="348" y="230"/>
                    <a:pt x="347" y="230"/>
                    <a:pt x="346" y="230"/>
                  </a:cubicBezTo>
                  <a:cubicBezTo>
                    <a:pt x="345" y="230"/>
                    <a:pt x="343" y="230"/>
                    <a:pt x="342" y="229"/>
                  </a:cubicBezTo>
                  <a:cubicBezTo>
                    <a:pt x="340" y="228"/>
                    <a:pt x="339" y="226"/>
                    <a:pt x="339" y="223"/>
                  </a:cubicBezTo>
                  <a:cubicBezTo>
                    <a:pt x="339" y="222"/>
                    <a:pt x="339" y="221"/>
                    <a:pt x="339" y="220"/>
                  </a:cubicBezTo>
                  <a:cubicBezTo>
                    <a:pt x="339" y="214"/>
                    <a:pt x="337" y="213"/>
                    <a:pt x="332" y="210"/>
                  </a:cubicBezTo>
                  <a:cubicBezTo>
                    <a:pt x="329" y="209"/>
                    <a:pt x="328" y="208"/>
                    <a:pt x="328" y="204"/>
                  </a:cubicBezTo>
                  <a:cubicBezTo>
                    <a:pt x="328" y="203"/>
                    <a:pt x="328" y="203"/>
                    <a:pt x="328" y="203"/>
                  </a:cubicBezTo>
                  <a:cubicBezTo>
                    <a:pt x="327" y="199"/>
                    <a:pt x="325" y="198"/>
                    <a:pt x="322" y="197"/>
                  </a:cubicBezTo>
                  <a:cubicBezTo>
                    <a:pt x="320" y="197"/>
                    <a:pt x="319" y="196"/>
                    <a:pt x="318" y="195"/>
                  </a:cubicBezTo>
                  <a:cubicBezTo>
                    <a:pt x="315" y="192"/>
                    <a:pt x="312" y="188"/>
                    <a:pt x="310" y="185"/>
                  </a:cubicBezTo>
                  <a:cubicBezTo>
                    <a:pt x="309" y="185"/>
                    <a:pt x="309" y="185"/>
                    <a:pt x="309" y="185"/>
                  </a:cubicBezTo>
                  <a:cubicBezTo>
                    <a:pt x="307" y="182"/>
                    <a:pt x="308" y="181"/>
                    <a:pt x="308" y="180"/>
                  </a:cubicBezTo>
                  <a:cubicBezTo>
                    <a:pt x="308" y="178"/>
                    <a:pt x="311" y="177"/>
                    <a:pt x="314" y="175"/>
                  </a:cubicBezTo>
                  <a:cubicBezTo>
                    <a:pt x="317" y="174"/>
                    <a:pt x="320" y="172"/>
                    <a:pt x="322" y="169"/>
                  </a:cubicBezTo>
                  <a:cubicBezTo>
                    <a:pt x="322" y="169"/>
                    <a:pt x="322" y="168"/>
                    <a:pt x="323" y="167"/>
                  </a:cubicBezTo>
                  <a:cubicBezTo>
                    <a:pt x="324" y="165"/>
                    <a:pt x="325" y="163"/>
                    <a:pt x="327" y="163"/>
                  </a:cubicBezTo>
                  <a:cubicBezTo>
                    <a:pt x="327" y="163"/>
                    <a:pt x="328" y="163"/>
                    <a:pt x="328" y="163"/>
                  </a:cubicBezTo>
                  <a:cubicBezTo>
                    <a:pt x="329" y="164"/>
                    <a:pt x="331" y="164"/>
                    <a:pt x="332" y="165"/>
                  </a:cubicBezTo>
                  <a:cubicBezTo>
                    <a:pt x="334" y="165"/>
                    <a:pt x="335" y="166"/>
                    <a:pt x="337" y="166"/>
                  </a:cubicBezTo>
                  <a:cubicBezTo>
                    <a:pt x="339" y="166"/>
                    <a:pt x="340" y="166"/>
                    <a:pt x="342" y="165"/>
                  </a:cubicBezTo>
                  <a:cubicBezTo>
                    <a:pt x="344" y="164"/>
                    <a:pt x="345" y="162"/>
                    <a:pt x="347" y="161"/>
                  </a:cubicBezTo>
                  <a:cubicBezTo>
                    <a:pt x="348" y="160"/>
                    <a:pt x="350" y="159"/>
                    <a:pt x="351" y="158"/>
                  </a:cubicBezTo>
                  <a:cubicBezTo>
                    <a:pt x="352" y="158"/>
                    <a:pt x="352" y="157"/>
                    <a:pt x="353" y="157"/>
                  </a:cubicBezTo>
                  <a:cubicBezTo>
                    <a:pt x="356" y="155"/>
                    <a:pt x="358" y="154"/>
                    <a:pt x="359" y="153"/>
                  </a:cubicBezTo>
                  <a:cubicBezTo>
                    <a:pt x="363" y="148"/>
                    <a:pt x="363" y="148"/>
                    <a:pt x="363" y="148"/>
                  </a:cubicBezTo>
                  <a:cubicBezTo>
                    <a:pt x="357" y="148"/>
                    <a:pt x="357" y="148"/>
                    <a:pt x="357" y="148"/>
                  </a:cubicBezTo>
                  <a:cubicBezTo>
                    <a:pt x="356" y="148"/>
                    <a:pt x="356" y="148"/>
                    <a:pt x="356" y="148"/>
                  </a:cubicBezTo>
                  <a:cubicBezTo>
                    <a:pt x="355" y="148"/>
                    <a:pt x="354" y="148"/>
                    <a:pt x="353" y="148"/>
                  </a:cubicBezTo>
                  <a:cubicBezTo>
                    <a:pt x="353" y="148"/>
                    <a:pt x="352" y="148"/>
                    <a:pt x="352" y="148"/>
                  </a:cubicBezTo>
                  <a:cubicBezTo>
                    <a:pt x="351" y="148"/>
                    <a:pt x="351" y="147"/>
                    <a:pt x="351" y="147"/>
                  </a:cubicBezTo>
                  <a:cubicBezTo>
                    <a:pt x="351" y="146"/>
                    <a:pt x="351" y="145"/>
                    <a:pt x="350" y="145"/>
                  </a:cubicBezTo>
                  <a:cubicBezTo>
                    <a:pt x="349" y="143"/>
                    <a:pt x="346" y="143"/>
                    <a:pt x="344" y="142"/>
                  </a:cubicBezTo>
                  <a:cubicBezTo>
                    <a:pt x="342" y="142"/>
                    <a:pt x="340" y="141"/>
                    <a:pt x="339" y="140"/>
                  </a:cubicBezTo>
                  <a:cubicBezTo>
                    <a:pt x="338" y="139"/>
                    <a:pt x="338" y="137"/>
                    <a:pt x="338" y="136"/>
                  </a:cubicBezTo>
                  <a:cubicBezTo>
                    <a:pt x="339" y="133"/>
                    <a:pt x="340" y="131"/>
                    <a:pt x="342" y="130"/>
                  </a:cubicBezTo>
                  <a:cubicBezTo>
                    <a:pt x="343" y="129"/>
                    <a:pt x="344" y="129"/>
                    <a:pt x="345" y="129"/>
                  </a:cubicBezTo>
                  <a:cubicBezTo>
                    <a:pt x="346" y="129"/>
                    <a:pt x="348" y="130"/>
                    <a:pt x="350" y="131"/>
                  </a:cubicBezTo>
                  <a:cubicBezTo>
                    <a:pt x="351" y="132"/>
                    <a:pt x="353" y="133"/>
                    <a:pt x="355" y="133"/>
                  </a:cubicBezTo>
                  <a:cubicBezTo>
                    <a:pt x="355" y="133"/>
                    <a:pt x="355" y="133"/>
                    <a:pt x="355" y="133"/>
                  </a:cubicBezTo>
                  <a:cubicBezTo>
                    <a:pt x="358" y="133"/>
                    <a:pt x="360" y="131"/>
                    <a:pt x="361" y="130"/>
                  </a:cubicBezTo>
                  <a:cubicBezTo>
                    <a:pt x="363" y="128"/>
                    <a:pt x="364" y="127"/>
                    <a:pt x="366" y="127"/>
                  </a:cubicBezTo>
                  <a:cubicBezTo>
                    <a:pt x="366" y="127"/>
                    <a:pt x="367" y="127"/>
                    <a:pt x="367" y="127"/>
                  </a:cubicBezTo>
                  <a:cubicBezTo>
                    <a:pt x="369" y="127"/>
                    <a:pt x="370" y="127"/>
                    <a:pt x="371" y="127"/>
                  </a:cubicBezTo>
                  <a:cubicBezTo>
                    <a:pt x="372" y="127"/>
                    <a:pt x="373" y="127"/>
                    <a:pt x="374" y="127"/>
                  </a:cubicBezTo>
                  <a:cubicBezTo>
                    <a:pt x="375" y="127"/>
                    <a:pt x="377" y="127"/>
                    <a:pt x="379" y="125"/>
                  </a:cubicBezTo>
                  <a:cubicBezTo>
                    <a:pt x="381" y="123"/>
                    <a:pt x="381" y="121"/>
                    <a:pt x="381" y="119"/>
                  </a:cubicBezTo>
                  <a:cubicBezTo>
                    <a:pt x="381" y="116"/>
                    <a:pt x="381" y="114"/>
                    <a:pt x="383" y="112"/>
                  </a:cubicBezTo>
                  <a:cubicBezTo>
                    <a:pt x="384" y="111"/>
                    <a:pt x="385" y="110"/>
                    <a:pt x="386" y="109"/>
                  </a:cubicBezTo>
                  <a:cubicBezTo>
                    <a:pt x="388" y="107"/>
                    <a:pt x="390" y="105"/>
                    <a:pt x="391" y="101"/>
                  </a:cubicBezTo>
                  <a:cubicBezTo>
                    <a:pt x="391" y="100"/>
                    <a:pt x="391" y="99"/>
                    <a:pt x="391" y="98"/>
                  </a:cubicBezTo>
                  <a:cubicBezTo>
                    <a:pt x="391" y="98"/>
                    <a:pt x="391" y="98"/>
                    <a:pt x="391" y="98"/>
                  </a:cubicBezTo>
                  <a:cubicBezTo>
                    <a:pt x="391" y="94"/>
                    <a:pt x="391" y="91"/>
                    <a:pt x="393" y="88"/>
                  </a:cubicBezTo>
                  <a:cubicBezTo>
                    <a:pt x="395" y="85"/>
                    <a:pt x="396" y="82"/>
                    <a:pt x="396" y="79"/>
                  </a:cubicBezTo>
                  <a:cubicBezTo>
                    <a:pt x="397" y="78"/>
                    <a:pt x="397" y="76"/>
                    <a:pt x="398" y="75"/>
                  </a:cubicBezTo>
                  <a:cubicBezTo>
                    <a:pt x="400" y="69"/>
                    <a:pt x="409" y="66"/>
                    <a:pt x="415" y="65"/>
                  </a:cubicBezTo>
                  <a:cubicBezTo>
                    <a:pt x="416" y="65"/>
                    <a:pt x="416" y="65"/>
                    <a:pt x="416" y="65"/>
                  </a:cubicBezTo>
                  <a:cubicBezTo>
                    <a:pt x="417" y="64"/>
                    <a:pt x="417" y="64"/>
                    <a:pt x="417" y="64"/>
                  </a:cubicBezTo>
                  <a:cubicBezTo>
                    <a:pt x="418" y="62"/>
                    <a:pt x="419" y="61"/>
                    <a:pt x="420" y="60"/>
                  </a:cubicBezTo>
                  <a:cubicBezTo>
                    <a:pt x="420" y="59"/>
                    <a:pt x="421" y="59"/>
                    <a:pt x="421" y="58"/>
                  </a:cubicBezTo>
                  <a:cubicBezTo>
                    <a:pt x="423" y="55"/>
                    <a:pt x="426" y="52"/>
                    <a:pt x="429" y="50"/>
                  </a:cubicBezTo>
                  <a:cubicBezTo>
                    <a:pt x="431" y="48"/>
                    <a:pt x="434" y="47"/>
                    <a:pt x="438" y="45"/>
                  </a:cubicBezTo>
                  <a:cubicBezTo>
                    <a:pt x="440" y="43"/>
                    <a:pt x="442" y="42"/>
                    <a:pt x="444" y="41"/>
                  </a:cubicBezTo>
                  <a:cubicBezTo>
                    <a:pt x="444" y="41"/>
                    <a:pt x="445" y="40"/>
                    <a:pt x="445" y="40"/>
                  </a:cubicBezTo>
                  <a:cubicBezTo>
                    <a:pt x="448" y="39"/>
                    <a:pt x="451" y="37"/>
                    <a:pt x="452" y="35"/>
                  </a:cubicBezTo>
                  <a:cubicBezTo>
                    <a:pt x="453" y="34"/>
                    <a:pt x="454" y="32"/>
                    <a:pt x="453" y="30"/>
                  </a:cubicBezTo>
                  <a:cubicBezTo>
                    <a:pt x="452" y="28"/>
                    <a:pt x="451" y="28"/>
                    <a:pt x="449" y="27"/>
                  </a:cubicBezTo>
                  <a:cubicBezTo>
                    <a:pt x="449" y="27"/>
                    <a:pt x="449" y="27"/>
                    <a:pt x="449" y="27"/>
                  </a:cubicBezTo>
                  <a:cubicBezTo>
                    <a:pt x="447" y="27"/>
                    <a:pt x="446" y="27"/>
                    <a:pt x="444" y="26"/>
                  </a:cubicBezTo>
                  <a:cubicBezTo>
                    <a:pt x="440" y="25"/>
                    <a:pt x="435" y="24"/>
                    <a:pt x="432" y="21"/>
                  </a:cubicBezTo>
                  <a:cubicBezTo>
                    <a:pt x="430" y="20"/>
                    <a:pt x="429" y="18"/>
                    <a:pt x="428" y="16"/>
                  </a:cubicBezTo>
                  <a:cubicBezTo>
                    <a:pt x="426" y="14"/>
                    <a:pt x="424" y="10"/>
                    <a:pt x="420" y="9"/>
                  </a:cubicBezTo>
                  <a:cubicBezTo>
                    <a:pt x="420" y="8"/>
                    <a:pt x="419" y="8"/>
                    <a:pt x="418" y="7"/>
                  </a:cubicBezTo>
                  <a:cubicBezTo>
                    <a:pt x="416" y="6"/>
                    <a:pt x="414" y="5"/>
                    <a:pt x="413" y="4"/>
                  </a:cubicBezTo>
                  <a:cubicBezTo>
                    <a:pt x="412" y="4"/>
                    <a:pt x="412" y="4"/>
                    <a:pt x="412" y="4"/>
                  </a:cubicBezTo>
                  <a:cubicBezTo>
                    <a:pt x="410" y="2"/>
                    <a:pt x="407" y="0"/>
                    <a:pt x="404" y="0"/>
                  </a:cubicBezTo>
                  <a:cubicBezTo>
                    <a:pt x="403" y="0"/>
                    <a:pt x="403" y="0"/>
                    <a:pt x="402" y="1"/>
                  </a:cubicBezTo>
                  <a:cubicBezTo>
                    <a:pt x="400" y="1"/>
                    <a:pt x="399" y="3"/>
                    <a:pt x="399" y="4"/>
                  </a:cubicBezTo>
                  <a:cubicBezTo>
                    <a:pt x="398" y="7"/>
                    <a:pt x="402" y="10"/>
                    <a:pt x="402" y="11"/>
                  </a:cubicBezTo>
                  <a:cubicBezTo>
                    <a:pt x="403" y="11"/>
                    <a:pt x="403" y="11"/>
                    <a:pt x="404" y="12"/>
                  </a:cubicBezTo>
                  <a:cubicBezTo>
                    <a:pt x="404" y="12"/>
                    <a:pt x="404" y="12"/>
                    <a:pt x="404" y="12"/>
                  </a:cubicBezTo>
                  <a:cubicBezTo>
                    <a:pt x="404" y="13"/>
                    <a:pt x="404" y="13"/>
                    <a:pt x="405" y="14"/>
                  </a:cubicBezTo>
                  <a:cubicBezTo>
                    <a:pt x="406" y="15"/>
                    <a:pt x="407" y="16"/>
                    <a:pt x="408" y="17"/>
                  </a:cubicBezTo>
                  <a:cubicBezTo>
                    <a:pt x="409" y="17"/>
                    <a:pt x="409" y="17"/>
                    <a:pt x="410" y="17"/>
                  </a:cubicBezTo>
                  <a:cubicBezTo>
                    <a:pt x="410" y="18"/>
                    <a:pt x="411" y="19"/>
                    <a:pt x="411" y="19"/>
                  </a:cubicBezTo>
                  <a:cubicBezTo>
                    <a:pt x="411" y="19"/>
                    <a:pt x="410" y="19"/>
                    <a:pt x="410" y="19"/>
                  </a:cubicBezTo>
                  <a:cubicBezTo>
                    <a:pt x="408" y="18"/>
                    <a:pt x="407" y="17"/>
                    <a:pt x="405" y="16"/>
                  </a:cubicBezTo>
                  <a:cubicBezTo>
                    <a:pt x="404" y="16"/>
                    <a:pt x="403" y="16"/>
                    <a:pt x="402" y="16"/>
                  </a:cubicBezTo>
                  <a:cubicBezTo>
                    <a:pt x="400" y="16"/>
                    <a:pt x="397" y="17"/>
                    <a:pt x="394" y="18"/>
                  </a:cubicBezTo>
                  <a:cubicBezTo>
                    <a:pt x="393" y="18"/>
                    <a:pt x="393" y="18"/>
                    <a:pt x="392" y="18"/>
                  </a:cubicBezTo>
                  <a:cubicBezTo>
                    <a:pt x="391" y="18"/>
                    <a:pt x="391" y="18"/>
                    <a:pt x="391" y="18"/>
                  </a:cubicBezTo>
                  <a:cubicBezTo>
                    <a:pt x="390" y="18"/>
                    <a:pt x="389" y="18"/>
                    <a:pt x="389" y="18"/>
                  </a:cubicBezTo>
                  <a:cubicBezTo>
                    <a:pt x="388" y="18"/>
                    <a:pt x="388" y="18"/>
                    <a:pt x="387" y="18"/>
                  </a:cubicBezTo>
                  <a:cubicBezTo>
                    <a:pt x="385" y="18"/>
                    <a:pt x="385" y="18"/>
                    <a:pt x="385" y="18"/>
                  </a:cubicBezTo>
                  <a:cubicBezTo>
                    <a:pt x="385" y="20"/>
                    <a:pt x="385" y="20"/>
                    <a:pt x="385" y="20"/>
                  </a:cubicBezTo>
                  <a:cubicBezTo>
                    <a:pt x="384" y="22"/>
                    <a:pt x="384" y="23"/>
                    <a:pt x="384" y="25"/>
                  </a:cubicBezTo>
                  <a:cubicBezTo>
                    <a:pt x="384" y="26"/>
                    <a:pt x="384" y="27"/>
                    <a:pt x="383" y="28"/>
                  </a:cubicBezTo>
                  <a:cubicBezTo>
                    <a:pt x="378" y="35"/>
                    <a:pt x="382" y="40"/>
                    <a:pt x="385" y="44"/>
                  </a:cubicBezTo>
                  <a:cubicBezTo>
                    <a:pt x="387" y="46"/>
                    <a:pt x="389" y="48"/>
                    <a:pt x="389" y="50"/>
                  </a:cubicBezTo>
                  <a:cubicBezTo>
                    <a:pt x="389" y="50"/>
                    <a:pt x="389" y="51"/>
                    <a:pt x="388" y="51"/>
                  </a:cubicBezTo>
                  <a:cubicBezTo>
                    <a:pt x="388" y="51"/>
                    <a:pt x="388" y="51"/>
                    <a:pt x="388" y="51"/>
                  </a:cubicBezTo>
                  <a:cubicBezTo>
                    <a:pt x="388" y="48"/>
                    <a:pt x="385" y="46"/>
                    <a:pt x="384" y="45"/>
                  </a:cubicBezTo>
                  <a:cubicBezTo>
                    <a:pt x="384" y="45"/>
                    <a:pt x="383" y="45"/>
                    <a:pt x="383" y="45"/>
                  </a:cubicBezTo>
                  <a:cubicBezTo>
                    <a:pt x="382" y="44"/>
                    <a:pt x="381" y="42"/>
                    <a:pt x="380" y="41"/>
                  </a:cubicBezTo>
                  <a:cubicBezTo>
                    <a:pt x="379" y="41"/>
                    <a:pt x="379" y="40"/>
                    <a:pt x="379" y="40"/>
                  </a:cubicBezTo>
                  <a:cubicBezTo>
                    <a:pt x="378" y="39"/>
                    <a:pt x="378" y="39"/>
                    <a:pt x="378" y="39"/>
                  </a:cubicBezTo>
                  <a:cubicBezTo>
                    <a:pt x="377" y="38"/>
                    <a:pt x="376" y="36"/>
                    <a:pt x="376" y="35"/>
                  </a:cubicBezTo>
                  <a:cubicBezTo>
                    <a:pt x="375" y="35"/>
                    <a:pt x="376" y="33"/>
                    <a:pt x="376" y="32"/>
                  </a:cubicBezTo>
                  <a:cubicBezTo>
                    <a:pt x="376" y="31"/>
                    <a:pt x="377" y="30"/>
                    <a:pt x="376" y="28"/>
                  </a:cubicBezTo>
                  <a:cubicBezTo>
                    <a:pt x="376" y="21"/>
                    <a:pt x="371" y="20"/>
                    <a:pt x="370" y="20"/>
                  </a:cubicBezTo>
                  <a:cubicBezTo>
                    <a:pt x="370" y="20"/>
                    <a:pt x="370" y="20"/>
                    <a:pt x="369" y="20"/>
                  </a:cubicBezTo>
                  <a:cubicBezTo>
                    <a:pt x="367" y="21"/>
                    <a:pt x="365" y="22"/>
                    <a:pt x="364" y="23"/>
                  </a:cubicBezTo>
                  <a:cubicBezTo>
                    <a:pt x="363" y="24"/>
                    <a:pt x="362" y="24"/>
                    <a:pt x="361" y="24"/>
                  </a:cubicBezTo>
                  <a:cubicBezTo>
                    <a:pt x="360" y="25"/>
                    <a:pt x="359" y="25"/>
                    <a:pt x="359" y="26"/>
                  </a:cubicBezTo>
                  <a:cubicBezTo>
                    <a:pt x="358" y="26"/>
                    <a:pt x="357" y="27"/>
                    <a:pt x="357" y="27"/>
                  </a:cubicBezTo>
                  <a:cubicBezTo>
                    <a:pt x="357" y="27"/>
                    <a:pt x="356" y="27"/>
                    <a:pt x="356" y="27"/>
                  </a:cubicBezTo>
                  <a:cubicBezTo>
                    <a:pt x="356" y="26"/>
                    <a:pt x="355" y="25"/>
                    <a:pt x="353" y="25"/>
                  </a:cubicBezTo>
                  <a:cubicBezTo>
                    <a:pt x="352" y="25"/>
                    <a:pt x="352" y="26"/>
                    <a:pt x="351" y="26"/>
                  </a:cubicBezTo>
                  <a:cubicBezTo>
                    <a:pt x="350" y="26"/>
                    <a:pt x="349" y="27"/>
                    <a:pt x="348" y="28"/>
                  </a:cubicBezTo>
                  <a:cubicBezTo>
                    <a:pt x="348" y="28"/>
                    <a:pt x="347" y="28"/>
                    <a:pt x="347" y="29"/>
                  </a:cubicBezTo>
                  <a:cubicBezTo>
                    <a:pt x="347" y="29"/>
                    <a:pt x="347" y="29"/>
                    <a:pt x="346" y="29"/>
                  </a:cubicBezTo>
                  <a:cubicBezTo>
                    <a:pt x="345" y="30"/>
                    <a:pt x="343" y="31"/>
                    <a:pt x="342" y="34"/>
                  </a:cubicBezTo>
                  <a:cubicBezTo>
                    <a:pt x="342" y="37"/>
                    <a:pt x="344" y="40"/>
                    <a:pt x="347" y="41"/>
                  </a:cubicBezTo>
                  <a:cubicBezTo>
                    <a:pt x="347" y="41"/>
                    <a:pt x="348" y="41"/>
                    <a:pt x="348" y="41"/>
                  </a:cubicBezTo>
                  <a:cubicBezTo>
                    <a:pt x="348" y="41"/>
                    <a:pt x="347" y="41"/>
                    <a:pt x="347" y="42"/>
                  </a:cubicBezTo>
                  <a:cubicBezTo>
                    <a:pt x="347" y="42"/>
                    <a:pt x="347" y="43"/>
                    <a:pt x="346" y="43"/>
                  </a:cubicBezTo>
                  <a:cubicBezTo>
                    <a:pt x="346" y="43"/>
                    <a:pt x="346" y="43"/>
                    <a:pt x="346" y="43"/>
                  </a:cubicBezTo>
                  <a:cubicBezTo>
                    <a:pt x="345" y="42"/>
                    <a:pt x="344" y="41"/>
                    <a:pt x="344" y="39"/>
                  </a:cubicBezTo>
                  <a:cubicBezTo>
                    <a:pt x="342" y="36"/>
                    <a:pt x="340" y="33"/>
                    <a:pt x="336" y="31"/>
                  </a:cubicBezTo>
                  <a:cubicBezTo>
                    <a:pt x="335" y="31"/>
                    <a:pt x="335" y="31"/>
                    <a:pt x="333" y="31"/>
                  </a:cubicBezTo>
                  <a:cubicBezTo>
                    <a:pt x="330" y="31"/>
                    <a:pt x="327" y="31"/>
                    <a:pt x="327" y="34"/>
                  </a:cubicBezTo>
                  <a:cubicBezTo>
                    <a:pt x="326" y="34"/>
                    <a:pt x="326" y="35"/>
                    <a:pt x="327" y="35"/>
                  </a:cubicBezTo>
                  <a:cubicBezTo>
                    <a:pt x="327" y="36"/>
                    <a:pt x="327" y="36"/>
                    <a:pt x="327" y="37"/>
                  </a:cubicBezTo>
                  <a:cubicBezTo>
                    <a:pt x="326" y="37"/>
                    <a:pt x="325" y="37"/>
                    <a:pt x="325" y="37"/>
                  </a:cubicBezTo>
                  <a:cubicBezTo>
                    <a:pt x="324" y="38"/>
                    <a:pt x="323" y="38"/>
                    <a:pt x="323" y="39"/>
                  </a:cubicBezTo>
                  <a:cubicBezTo>
                    <a:pt x="322" y="39"/>
                    <a:pt x="322" y="40"/>
                    <a:pt x="322" y="40"/>
                  </a:cubicBezTo>
                  <a:cubicBezTo>
                    <a:pt x="319" y="41"/>
                    <a:pt x="316" y="42"/>
                    <a:pt x="315" y="42"/>
                  </a:cubicBezTo>
                  <a:cubicBezTo>
                    <a:pt x="313" y="42"/>
                    <a:pt x="312" y="42"/>
                    <a:pt x="310" y="41"/>
                  </a:cubicBezTo>
                  <a:cubicBezTo>
                    <a:pt x="308" y="40"/>
                    <a:pt x="306" y="39"/>
                    <a:pt x="303" y="39"/>
                  </a:cubicBezTo>
                  <a:cubicBezTo>
                    <a:pt x="302" y="39"/>
                    <a:pt x="298" y="39"/>
                    <a:pt x="296" y="41"/>
                  </a:cubicBezTo>
                  <a:cubicBezTo>
                    <a:pt x="294" y="43"/>
                    <a:pt x="295" y="46"/>
                    <a:pt x="295" y="47"/>
                  </a:cubicBezTo>
                  <a:cubicBezTo>
                    <a:pt x="295" y="47"/>
                    <a:pt x="295" y="48"/>
                    <a:pt x="295" y="48"/>
                  </a:cubicBezTo>
                  <a:cubicBezTo>
                    <a:pt x="295" y="48"/>
                    <a:pt x="295" y="49"/>
                    <a:pt x="294" y="49"/>
                  </a:cubicBezTo>
                  <a:cubicBezTo>
                    <a:pt x="294" y="50"/>
                    <a:pt x="293" y="51"/>
                    <a:pt x="293" y="52"/>
                  </a:cubicBezTo>
                  <a:cubicBezTo>
                    <a:pt x="292" y="54"/>
                    <a:pt x="292" y="56"/>
                    <a:pt x="293" y="57"/>
                  </a:cubicBezTo>
                  <a:cubicBezTo>
                    <a:pt x="293" y="60"/>
                    <a:pt x="293" y="60"/>
                    <a:pt x="293" y="60"/>
                  </a:cubicBezTo>
                  <a:cubicBezTo>
                    <a:pt x="292" y="61"/>
                    <a:pt x="291" y="61"/>
                    <a:pt x="290" y="61"/>
                  </a:cubicBezTo>
                  <a:cubicBezTo>
                    <a:pt x="288" y="61"/>
                    <a:pt x="285" y="62"/>
                    <a:pt x="283" y="65"/>
                  </a:cubicBezTo>
                  <a:cubicBezTo>
                    <a:pt x="282" y="65"/>
                    <a:pt x="282" y="66"/>
                    <a:pt x="281" y="67"/>
                  </a:cubicBezTo>
                  <a:cubicBezTo>
                    <a:pt x="281" y="68"/>
                    <a:pt x="281" y="69"/>
                    <a:pt x="280" y="69"/>
                  </a:cubicBezTo>
                  <a:cubicBezTo>
                    <a:pt x="280" y="69"/>
                    <a:pt x="280" y="70"/>
                    <a:pt x="279" y="70"/>
                  </a:cubicBezTo>
                  <a:cubicBezTo>
                    <a:pt x="279" y="71"/>
                    <a:pt x="277" y="72"/>
                    <a:pt x="277" y="73"/>
                  </a:cubicBezTo>
                  <a:cubicBezTo>
                    <a:pt x="276" y="76"/>
                    <a:pt x="277" y="78"/>
                    <a:pt x="279" y="80"/>
                  </a:cubicBezTo>
                  <a:cubicBezTo>
                    <a:pt x="279" y="80"/>
                    <a:pt x="279" y="80"/>
                    <a:pt x="279" y="80"/>
                  </a:cubicBezTo>
                  <a:cubicBezTo>
                    <a:pt x="278" y="80"/>
                    <a:pt x="276" y="80"/>
                    <a:pt x="275" y="84"/>
                  </a:cubicBezTo>
                  <a:cubicBezTo>
                    <a:pt x="275" y="86"/>
                    <a:pt x="276" y="89"/>
                    <a:pt x="278" y="92"/>
                  </a:cubicBezTo>
                  <a:cubicBezTo>
                    <a:pt x="279" y="94"/>
                    <a:pt x="281" y="95"/>
                    <a:pt x="283" y="95"/>
                  </a:cubicBezTo>
                  <a:cubicBezTo>
                    <a:pt x="284" y="95"/>
                    <a:pt x="285" y="95"/>
                    <a:pt x="286" y="95"/>
                  </a:cubicBezTo>
                  <a:cubicBezTo>
                    <a:pt x="287" y="95"/>
                    <a:pt x="288" y="94"/>
                    <a:pt x="289" y="94"/>
                  </a:cubicBezTo>
                  <a:cubicBezTo>
                    <a:pt x="289" y="94"/>
                    <a:pt x="289" y="95"/>
                    <a:pt x="290" y="95"/>
                  </a:cubicBezTo>
                  <a:cubicBezTo>
                    <a:pt x="290" y="95"/>
                    <a:pt x="290" y="97"/>
                    <a:pt x="289" y="99"/>
                  </a:cubicBezTo>
                  <a:cubicBezTo>
                    <a:pt x="289" y="100"/>
                    <a:pt x="288" y="101"/>
                    <a:pt x="287" y="102"/>
                  </a:cubicBezTo>
                  <a:cubicBezTo>
                    <a:pt x="287" y="102"/>
                    <a:pt x="287" y="102"/>
                    <a:pt x="286" y="102"/>
                  </a:cubicBezTo>
                  <a:cubicBezTo>
                    <a:pt x="286" y="102"/>
                    <a:pt x="284" y="101"/>
                    <a:pt x="283" y="101"/>
                  </a:cubicBezTo>
                  <a:cubicBezTo>
                    <a:pt x="282" y="100"/>
                    <a:pt x="280" y="99"/>
                    <a:pt x="278" y="99"/>
                  </a:cubicBezTo>
                  <a:cubicBezTo>
                    <a:pt x="277" y="99"/>
                    <a:pt x="277" y="99"/>
                    <a:pt x="277" y="99"/>
                  </a:cubicBezTo>
                  <a:cubicBezTo>
                    <a:pt x="276" y="99"/>
                    <a:pt x="275" y="100"/>
                    <a:pt x="274" y="100"/>
                  </a:cubicBezTo>
                  <a:cubicBezTo>
                    <a:pt x="273" y="100"/>
                    <a:pt x="271" y="100"/>
                    <a:pt x="270" y="100"/>
                  </a:cubicBezTo>
                  <a:cubicBezTo>
                    <a:pt x="268" y="100"/>
                    <a:pt x="264" y="102"/>
                    <a:pt x="264" y="104"/>
                  </a:cubicBezTo>
                  <a:cubicBezTo>
                    <a:pt x="263" y="105"/>
                    <a:pt x="263" y="108"/>
                    <a:pt x="266" y="110"/>
                  </a:cubicBezTo>
                  <a:cubicBezTo>
                    <a:pt x="267" y="110"/>
                    <a:pt x="268" y="111"/>
                    <a:pt x="269" y="111"/>
                  </a:cubicBezTo>
                  <a:cubicBezTo>
                    <a:pt x="269" y="111"/>
                    <a:pt x="269" y="111"/>
                    <a:pt x="269" y="111"/>
                  </a:cubicBezTo>
                  <a:cubicBezTo>
                    <a:pt x="269" y="111"/>
                    <a:pt x="270" y="112"/>
                    <a:pt x="270" y="112"/>
                  </a:cubicBezTo>
                  <a:cubicBezTo>
                    <a:pt x="270" y="113"/>
                    <a:pt x="271" y="113"/>
                    <a:pt x="272" y="114"/>
                  </a:cubicBezTo>
                  <a:cubicBezTo>
                    <a:pt x="271" y="114"/>
                    <a:pt x="270" y="114"/>
                    <a:pt x="269" y="114"/>
                  </a:cubicBezTo>
                  <a:cubicBezTo>
                    <a:pt x="268" y="113"/>
                    <a:pt x="266" y="113"/>
                    <a:pt x="265" y="113"/>
                  </a:cubicBezTo>
                  <a:cubicBezTo>
                    <a:pt x="264" y="113"/>
                    <a:pt x="263" y="113"/>
                    <a:pt x="262" y="113"/>
                  </a:cubicBezTo>
                  <a:cubicBezTo>
                    <a:pt x="254" y="113"/>
                    <a:pt x="247" y="116"/>
                    <a:pt x="243" y="120"/>
                  </a:cubicBezTo>
                  <a:cubicBezTo>
                    <a:pt x="241" y="122"/>
                    <a:pt x="241" y="122"/>
                    <a:pt x="241" y="122"/>
                  </a:cubicBezTo>
                  <a:cubicBezTo>
                    <a:pt x="241" y="123"/>
                    <a:pt x="240" y="124"/>
                    <a:pt x="239" y="125"/>
                  </a:cubicBezTo>
                  <a:cubicBezTo>
                    <a:pt x="239" y="125"/>
                    <a:pt x="238" y="125"/>
                    <a:pt x="238" y="125"/>
                  </a:cubicBezTo>
                  <a:cubicBezTo>
                    <a:pt x="237" y="126"/>
                    <a:pt x="236" y="127"/>
                    <a:pt x="235" y="129"/>
                  </a:cubicBezTo>
                  <a:cubicBezTo>
                    <a:pt x="233" y="133"/>
                    <a:pt x="237" y="137"/>
                    <a:pt x="240" y="139"/>
                  </a:cubicBezTo>
                  <a:cubicBezTo>
                    <a:pt x="241" y="139"/>
                    <a:pt x="241" y="139"/>
                    <a:pt x="241" y="139"/>
                  </a:cubicBezTo>
                  <a:cubicBezTo>
                    <a:pt x="242" y="140"/>
                    <a:pt x="243" y="141"/>
                    <a:pt x="244" y="142"/>
                  </a:cubicBezTo>
                  <a:cubicBezTo>
                    <a:pt x="245" y="144"/>
                    <a:pt x="246" y="145"/>
                    <a:pt x="247" y="146"/>
                  </a:cubicBezTo>
                  <a:cubicBezTo>
                    <a:pt x="250" y="148"/>
                    <a:pt x="254" y="149"/>
                    <a:pt x="257" y="149"/>
                  </a:cubicBezTo>
                  <a:cubicBezTo>
                    <a:pt x="257" y="149"/>
                    <a:pt x="260" y="149"/>
                    <a:pt x="260" y="149"/>
                  </a:cubicBezTo>
                  <a:cubicBezTo>
                    <a:pt x="262" y="149"/>
                    <a:pt x="263" y="149"/>
                    <a:pt x="264" y="149"/>
                  </a:cubicBezTo>
                  <a:cubicBezTo>
                    <a:pt x="265" y="149"/>
                    <a:pt x="267" y="149"/>
                    <a:pt x="268" y="149"/>
                  </a:cubicBezTo>
                  <a:cubicBezTo>
                    <a:pt x="269" y="149"/>
                    <a:pt x="271" y="149"/>
                    <a:pt x="272" y="149"/>
                  </a:cubicBezTo>
                  <a:cubicBezTo>
                    <a:pt x="273" y="148"/>
                    <a:pt x="274" y="148"/>
                    <a:pt x="275" y="148"/>
                  </a:cubicBezTo>
                  <a:cubicBezTo>
                    <a:pt x="276" y="148"/>
                    <a:pt x="277" y="147"/>
                    <a:pt x="278" y="147"/>
                  </a:cubicBezTo>
                  <a:cubicBezTo>
                    <a:pt x="278" y="147"/>
                    <a:pt x="278" y="147"/>
                    <a:pt x="279" y="148"/>
                  </a:cubicBezTo>
                  <a:cubicBezTo>
                    <a:pt x="279" y="148"/>
                    <a:pt x="278" y="148"/>
                    <a:pt x="278" y="148"/>
                  </a:cubicBezTo>
                  <a:cubicBezTo>
                    <a:pt x="277" y="149"/>
                    <a:pt x="277" y="150"/>
                    <a:pt x="276" y="151"/>
                  </a:cubicBezTo>
                  <a:cubicBezTo>
                    <a:pt x="274" y="152"/>
                    <a:pt x="271" y="154"/>
                    <a:pt x="272" y="157"/>
                  </a:cubicBezTo>
                  <a:cubicBezTo>
                    <a:pt x="272" y="157"/>
                    <a:pt x="272" y="159"/>
                    <a:pt x="275" y="159"/>
                  </a:cubicBezTo>
                  <a:cubicBezTo>
                    <a:pt x="275" y="159"/>
                    <a:pt x="275" y="159"/>
                    <a:pt x="275" y="159"/>
                  </a:cubicBezTo>
                  <a:cubicBezTo>
                    <a:pt x="276" y="159"/>
                    <a:pt x="276" y="159"/>
                    <a:pt x="276" y="159"/>
                  </a:cubicBezTo>
                  <a:cubicBezTo>
                    <a:pt x="278" y="159"/>
                    <a:pt x="281" y="157"/>
                    <a:pt x="284" y="155"/>
                  </a:cubicBezTo>
                  <a:cubicBezTo>
                    <a:pt x="286" y="153"/>
                    <a:pt x="286" y="153"/>
                    <a:pt x="286" y="153"/>
                  </a:cubicBezTo>
                  <a:cubicBezTo>
                    <a:pt x="287" y="152"/>
                    <a:pt x="288" y="151"/>
                    <a:pt x="290" y="150"/>
                  </a:cubicBezTo>
                  <a:cubicBezTo>
                    <a:pt x="291" y="149"/>
                    <a:pt x="292" y="148"/>
                    <a:pt x="293" y="148"/>
                  </a:cubicBezTo>
                  <a:cubicBezTo>
                    <a:pt x="294" y="148"/>
                    <a:pt x="294" y="149"/>
                    <a:pt x="294" y="149"/>
                  </a:cubicBezTo>
                  <a:cubicBezTo>
                    <a:pt x="295" y="150"/>
                    <a:pt x="296" y="151"/>
                    <a:pt x="299" y="151"/>
                  </a:cubicBezTo>
                  <a:cubicBezTo>
                    <a:pt x="299" y="151"/>
                    <a:pt x="300" y="151"/>
                    <a:pt x="300" y="151"/>
                  </a:cubicBezTo>
                  <a:cubicBezTo>
                    <a:pt x="301" y="151"/>
                    <a:pt x="302" y="151"/>
                    <a:pt x="303" y="150"/>
                  </a:cubicBezTo>
                  <a:cubicBezTo>
                    <a:pt x="303" y="150"/>
                    <a:pt x="304" y="150"/>
                    <a:pt x="304" y="150"/>
                  </a:cubicBezTo>
                  <a:cubicBezTo>
                    <a:pt x="305" y="149"/>
                    <a:pt x="306" y="149"/>
                    <a:pt x="306" y="149"/>
                  </a:cubicBezTo>
                  <a:cubicBezTo>
                    <a:pt x="307" y="149"/>
                    <a:pt x="307" y="149"/>
                    <a:pt x="307" y="149"/>
                  </a:cubicBezTo>
                  <a:cubicBezTo>
                    <a:pt x="308" y="149"/>
                    <a:pt x="308" y="149"/>
                    <a:pt x="308" y="149"/>
                  </a:cubicBezTo>
                  <a:cubicBezTo>
                    <a:pt x="308" y="150"/>
                    <a:pt x="308" y="150"/>
                    <a:pt x="307" y="150"/>
                  </a:cubicBezTo>
                  <a:cubicBezTo>
                    <a:pt x="305" y="152"/>
                    <a:pt x="303" y="153"/>
                    <a:pt x="302" y="155"/>
                  </a:cubicBezTo>
                  <a:cubicBezTo>
                    <a:pt x="301" y="156"/>
                    <a:pt x="301" y="156"/>
                    <a:pt x="301" y="156"/>
                  </a:cubicBezTo>
                  <a:cubicBezTo>
                    <a:pt x="300" y="157"/>
                    <a:pt x="298" y="158"/>
                    <a:pt x="297" y="160"/>
                  </a:cubicBezTo>
                  <a:cubicBezTo>
                    <a:pt x="297" y="160"/>
                    <a:pt x="297" y="161"/>
                    <a:pt x="296" y="161"/>
                  </a:cubicBezTo>
                  <a:cubicBezTo>
                    <a:pt x="295" y="162"/>
                    <a:pt x="294" y="162"/>
                    <a:pt x="293" y="164"/>
                  </a:cubicBezTo>
                  <a:cubicBezTo>
                    <a:pt x="292" y="166"/>
                    <a:pt x="293" y="168"/>
                    <a:pt x="294" y="170"/>
                  </a:cubicBezTo>
                  <a:cubicBezTo>
                    <a:pt x="292" y="170"/>
                    <a:pt x="291" y="171"/>
                    <a:pt x="289" y="172"/>
                  </a:cubicBezTo>
                  <a:cubicBezTo>
                    <a:pt x="289" y="172"/>
                    <a:pt x="289" y="172"/>
                    <a:pt x="289" y="172"/>
                  </a:cubicBezTo>
                  <a:cubicBezTo>
                    <a:pt x="288" y="173"/>
                    <a:pt x="286" y="173"/>
                    <a:pt x="285" y="173"/>
                  </a:cubicBezTo>
                  <a:cubicBezTo>
                    <a:pt x="284" y="173"/>
                    <a:pt x="284" y="173"/>
                    <a:pt x="284" y="173"/>
                  </a:cubicBezTo>
                  <a:cubicBezTo>
                    <a:pt x="282" y="173"/>
                    <a:pt x="281" y="173"/>
                    <a:pt x="280" y="174"/>
                  </a:cubicBezTo>
                  <a:cubicBezTo>
                    <a:pt x="279" y="174"/>
                    <a:pt x="278" y="174"/>
                    <a:pt x="277" y="174"/>
                  </a:cubicBezTo>
                  <a:cubicBezTo>
                    <a:pt x="277" y="174"/>
                    <a:pt x="277" y="174"/>
                    <a:pt x="277" y="174"/>
                  </a:cubicBezTo>
                  <a:cubicBezTo>
                    <a:pt x="276" y="174"/>
                    <a:pt x="275" y="174"/>
                    <a:pt x="275" y="173"/>
                  </a:cubicBezTo>
                  <a:cubicBezTo>
                    <a:pt x="273" y="173"/>
                    <a:pt x="272" y="172"/>
                    <a:pt x="270" y="172"/>
                  </a:cubicBezTo>
                  <a:cubicBezTo>
                    <a:pt x="267" y="172"/>
                    <a:pt x="267" y="172"/>
                    <a:pt x="267" y="172"/>
                  </a:cubicBezTo>
                  <a:cubicBezTo>
                    <a:pt x="268" y="175"/>
                    <a:pt x="268" y="175"/>
                    <a:pt x="268" y="175"/>
                  </a:cubicBezTo>
                  <a:cubicBezTo>
                    <a:pt x="268" y="176"/>
                    <a:pt x="268" y="177"/>
                    <a:pt x="268" y="178"/>
                  </a:cubicBezTo>
                  <a:cubicBezTo>
                    <a:pt x="268" y="179"/>
                    <a:pt x="268" y="179"/>
                    <a:pt x="268" y="180"/>
                  </a:cubicBezTo>
                  <a:cubicBezTo>
                    <a:pt x="268" y="180"/>
                    <a:pt x="268" y="181"/>
                    <a:pt x="267" y="182"/>
                  </a:cubicBezTo>
                  <a:cubicBezTo>
                    <a:pt x="267" y="182"/>
                    <a:pt x="266" y="182"/>
                    <a:pt x="266" y="182"/>
                  </a:cubicBezTo>
                  <a:cubicBezTo>
                    <a:pt x="265" y="183"/>
                    <a:pt x="265" y="183"/>
                    <a:pt x="264" y="184"/>
                  </a:cubicBezTo>
                  <a:cubicBezTo>
                    <a:pt x="263" y="184"/>
                    <a:pt x="262" y="185"/>
                    <a:pt x="261" y="185"/>
                  </a:cubicBezTo>
                  <a:cubicBezTo>
                    <a:pt x="261" y="185"/>
                    <a:pt x="260" y="185"/>
                    <a:pt x="260" y="185"/>
                  </a:cubicBezTo>
                  <a:cubicBezTo>
                    <a:pt x="260" y="188"/>
                    <a:pt x="260" y="188"/>
                    <a:pt x="260" y="188"/>
                  </a:cubicBezTo>
                  <a:cubicBezTo>
                    <a:pt x="260" y="188"/>
                    <a:pt x="260" y="188"/>
                    <a:pt x="260" y="188"/>
                  </a:cubicBezTo>
                  <a:cubicBezTo>
                    <a:pt x="260" y="185"/>
                    <a:pt x="260" y="185"/>
                    <a:pt x="260" y="185"/>
                  </a:cubicBezTo>
                  <a:cubicBezTo>
                    <a:pt x="259" y="185"/>
                    <a:pt x="258" y="185"/>
                    <a:pt x="257" y="186"/>
                  </a:cubicBezTo>
                  <a:cubicBezTo>
                    <a:pt x="255" y="186"/>
                    <a:pt x="254" y="188"/>
                    <a:pt x="253" y="189"/>
                  </a:cubicBezTo>
                  <a:cubicBezTo>
                    <a:pt x="252" y="190"/>
                    <a:pt x="252" y="191"/>
                    <a:pt x="251" y="191"/>
                  </a:cubicBezTo>
                  <a:cubicBezTo>
                    <a:pt x="251" y="191"/>
                    <a:pt x="250" y="191"/>
                    <a:pt x="249" y="192"/>
                  </a:cubicBezTo>
                  <a:cubicBezTo>
                    <a:pt x="247" y="192"/>
                    <a:pt x="243" y="193"/>
                    <a:pt x="243" y="197"/>
                  </a:cubicBezTo>
                  <a:cubicBezTo>
                    <a:pt x="243" y="200"/>
                    <a:pt x="244" y="204"/>
                    <a:pt x="252" y="204"/>
                  </a:cubicBezTo>
                  <a:cubicBezTo>
                    <a:pt x="253" y="204"/>
                    <a:pt x="254" y="204"/>
                    <a:pt x="255" y="204"/>
                  </a:cubicBezTo>
                  <a:cubicBezTo>
                    <a:pt x="256" y="204"/>
                    <a:pt x="257" y="204"/>
                    <a:pt x="257" y="204"/>
                  </a:cubicBezTo>
                  <a:cubicBezTo>
                    <a:pt x="256" y="206"/>
                    <a:pt x="257" y="207"/>
                    <a:pt x="257" y="208"/>
                  </a:cubicBezTo>
                  <a:cubicBezTo>
                    <a:pt x="255" y="208"/>
                    <a:pt x="253" y="209"/>
                    <a:pt x="252" y="210"/>
                  </a:cubicBezTo>
                  <a:cubicBezTo>
                    <a:pt x="251" y="211"/>
                    <a:pt x="250" y="212"/>
                    <a:pt x="250" y="213"/>
                  </a:cubicBezTo>
                  <a:cubicBezTo>
                    <a:pt x="247" y="211"/>
                    <a:pt x="243" y="211"/>
                    <a:pt x="242" y="211"/>
                  </a:cubicBezTo>
                  <a:cubicBezTo>
                    <a:pt x="240" y="211"/>
                    <a:pt x="239" y="211"/>
                    <a:pt x="237" y="211"/>
                  </a:cubicBezTo>
                  <a:cubicBezTo>
                    <a:pt x="237" y="211"/>
                    <a:pt x="237" y="211"/>
                    <a:pt x="237" y="211"/>
                  </a:cubicBezTo>
                  <a:cubicBezTo>
                    <a:pt x="236" y="212"/>
                    <a:pt x="235" y="212"/>
                    <a:pt x="234" y="212"/>
                  </a:cubicBezTo>
                  <a:cubicBezTo>
                    <a:pt x="233" y="212"/>
                    <a:pt x="232" y="212"/>
                    <a:pt x="231" y="212"/>
                  </a:cubicBezTo>
                  <a:cubicBezTo>
                    <a:pt x="230" y="212"/>
                    <a:pt x="229" y="212"/>
                    <a:pt x="229" y="212"/>
                  </a:cubicBezTo>
                  <a:cubicBezTo>
                    <a:pt x="228" y="212"/>
                    <a:pt x="227" y="211"/>
                    <a:pt x="225" y="210"/>
                  </a:cubicBezTo>
                  <a:cubicBezTo>
                    <a:pt x="224" y="210"/>
                    <a:pt x="223" y="209"/>
                    <a:pt x="222" y="208"/>
                  </a:cubicBezTo>
                  <a:cubicBezTo>
                    <a:pt x="220" y="208"/>
                    <a:pt x="218" y="208"/>
                    <a:pt x="217" y="208"/>
                  </a:cubicBezTo>
                  <a:cubicBezTo>
                    <a:pt x="215" y="208"/>
                    <a:pt x="214" y="207"/>
                    <a:pt x="213" y="207"/>
                  </a:cubicBezTo>
                  <a:cubicBezTo>
                    <a:pt x="213" y="207"/>
                    <a:pt x="212" y="207"/>
                    <a:pt x="211" y="206"/>
                  </a:cubicBezTo>
                  <a:cubicBezTo>
                    <a:pt x="209" y="205"/>
                    <a:pt x="207" y="204"/>
                    <a:pt x="205" y="204"/>
                  </a:cubicBezTo>
                  <a:cubicBezTo>
                    <a:pt x="205" y="204"/>
                    <a:pt x="204" y="204"/>
                    <a:pt x="204" y="204"/>
                  </a:cubicBezTo>
                  <a:cubicBezTo>
                    <a:pt x="198" y="206"/>
                    <a:pt x="196" y="211"/>
                    <a:pt x="195" y="215"/>
                  </a:cubicBezTo>
                  <a:cubicBezTo>
                    <a:pt x="194" y="217"/>
                    <a:pt x="194" y="218"/>
                    <a:pt x="193" y="219"/>
                  </a:cubicBezTo>
                  <a:cubicBezTo>
                    <a:pt x="191" y="221"/>
                    <a:pt x="189" y="223"/>
                    <a:pt x="188" y="223"/>
                  </a:cubicBezTo>
                  <a:cubicBezTo>
                    <a:pt x="187" y="223"/>
                    <a:pt x="187" y="223"/>
                    <a:pt x="187" y="223"/>
                  </a:cubicBezTo>
                  <a:cubicBezTo>
                    <a:pt x="187" y="222"/>
                    <a:pt x="186" y="221"/>
                    <a:pt x="186" y="219"/>
                  </a:cubicBezTo>
                  <a:cubicBezTo>
                    <a:pt x="186" y="218"/>
                    <a:pt x="186" y="217"/>
                    <a:pt x="186" y="216"/>
                  </a:cubicBezTo>
                  <a:cubicBezTo>
                    <a:pt x="186" y="213"/>
                    <a:pt x="184" y="209"/>
                    <a:pt x="182" y="206"/>
                  </a:cubicBezTo>
                  <a:cubicBezTo>
                    <a:pt x="177" y="202"/>
                    <a:pt x="170" y="201"/>
                    <a:pt x="165" y="200"/>
                  </a:cubicBezTo>
                  <a:cubicBezTo>
                    <a:pt x="164" y="200"/>
                    <a:pt x="164" y="200"/>
                    <a:pt x="164" y="200"/>
                  </a:cubicBezTo>
                  <a:cubicBezTo>
                    <a:pt x="161" y="200"/>
                    <a:pt x="158" y="199"/>
                    <a:pt x="155" y="198"/>
                  </a:cubicBezTo>
                  <a:cubicBezTo>
                    <a:pt x="154" y="198"/>
                    <a:pt x="152" y="197"/>
                    <a:pt x="151" y="197"/>
                  </a:cubicBezTo>
                  <a:cubicBezTo>
                    <a:pt x="148" y="196"/>
                    <a:pt x="144" y="196"/>
                    <a:pt x="141" y="196"/>
                  </a:cubicBezTo>
                  <a:cubicBezTo>
                    <a:pt x="139" y="196"/>
                    <a:pt x="136" y="196"/>
                    <a:pt x="134" y="195"/>
                  </a:cubicBezTo>
                  <a:cubicBezTo>
                    <a:pt x="133" y="195"/>
                    <a:pt x="131" y="194"/>
                    <a:pt x="129" y="193"/>
                  </a:cubicBezTo>
                  <a:cubicBezTo>
                    <a:pt x="127" y="192"/>
                    <a:pt x="124" y="191"/>
                    <a:pt x="120" y="191"/>
                  </a:cubicBezTo>
                  <a:cubicBezTo>
                    <a:pt x="120" y="191"/>
                    <a:pt x="119" y="191"/>
                    <a:pt x="119" y="191"/>
                  </a:cubicBezTo>
                  <a:cubicBezTo>
                    <a:pt x="117" y="191"/>
                    <a:pt x="114" y="191"/>
                    <a:pt x="112" y="194"/>
                  </a:cubicBezTo>
                  <a:cubicBezTo>
                    <a:pt x="111" y="197"/>
                    <a:pt x="113" y="200"/>
                    <a:pt x="115" y="202"/>
                  </a:cubicBezTo>
                  <a:cubicBezTo>
                    <a:pt x="115" y="202"/>
                    <a:pt x="116" y="203"/>
                    <a:pt x="116" y="203"/>
                  </a:cubicBezTo>
                  <a:cubicBezTo>
                    <a:pt x="115" y="203"/>
                    <a:pt x="115" y="203"/>
                    <a:pt x="114" y="203"/>
                  </a:cubicBezTo>
                  <a:cubicBezTo>
                    <a:pt x="113" y="203"/>
                    <a:pt x="112" y="204"/>
                    <a:pt x="112" y="204"/>
                  </a:cubicBezTo>
                  <a:cubicBezTo>
                    <a:pt x="110" y="204"/>
                    <a:pt x="108" y="204"/>
                    <a:pt x="107" y="205"/>
                  </a:cubicBezTo>
                  <a:cubicBezTo>
                    <a:pt x="107" y="203"/>
                    <a:pt x="106" y="202"/>
                    <a:pt x="104" y="201"/>
                  </a:cubicBezTo>
                  <a:cubicBezTo>
                    <a:pt x="102" y="199"/>
                    <a:pt x="99" y="198"/>
                    <a:pt x="95" y="198"/>
                  </a:cubicBezTo>
                  <a:cubicBezTo>
                    <a:pt x="92" y="198"/>
                    <a:pt x="89" y="198"/>
                    <a:pt x="87" y="199"/>
                  </a:cubicBezTo>
                  <a:cubicBezTo>
                    <a:pt x="81" y="202"/>
                    <a:pt x="79" y="206"/>
                    <a:pt x="79" y="211"/>
                  </a:cubicBezTo>
                  <a:cubicBezTo>
                    <a:pt x="79" y="212"/>
                    <a:pt x="80" y="213"/>
                    <a:pt x="80" y="214"/>
                  </a:cubicBezTo>
                  <a:cubicBezTo>
                    <a:pt x="81" y="216"/>
                    <a:pt x="81" y="217"/>
                    <a:pt x="81" y="217"/>
                  </a:cubicBezTo>
                  <a:cubicBezTo>
                    <a:pt x="80" y="219"/>
                    <a:pt x="79" y="221"/>
                    <a:pt x="78" y="222"/>
                  </a:cubicBezTo>
                  <a:cubicBezTo>
                    <a:pt x="77" y="224"/>
                    <a:pt x="76" y="226"/>
                    <a:pt x="75" y="229"/>
                  </a:cubicBezTo>
                  <a:cubicBezTo>
                    <a:pt x="75" y="230"/>
                    <a:pt x="74" y="235"/>
                    <a:pt x="76" y="238"/>
                  </a:cubicBezTo>
                  <a:cubicBezTo>
                    <a:pt x="77" y="240"/>
                    <a:pt x="78" y="240"/>
                    <a:pt x="80" y="240"/>
                  </a:cubicBezTo>
                  <a:cubicBezTo>
                    <a:pt x="80" y="240"/>
                    <a:pt x="80" y="240"/>
                    <a:pt x="80" y="240"/>
                  </a:cubicBezTo>
                  <a:cubicBezTo>
                    <a:pt x="81" y="240"/>
                    <a:pt x="82" y="240"/>
                    <a:pt x="83" y="239"/>
                  </a:cubicBezTo>
                  <a:cubicBezTo>
                    <a:pt x="85" y="238"/>
                    <a:pt x="85" y="235"/>
                    <a:pt x="86" y="232"/>
                  </a:cubicBezTo>
                  <a:cubicBezTo>
                    <a:pt x="86" y="231"/>
                    <a:pt x="86" y="230"/>
                    <a:pt x="86" y="230"/>
                  </a:cubicBezTo>
                  <a:cubicBezTo>
                    <a:pt x="87" y="229"/>
                    <a:pt x="87" y="228"/>
                    <a:pt x="87" y="227"/>
                  </a:cubicBezTo>
                  <a:cubicBezTo>
                    <a:pt x="88" y="225"/>
                    <a:pt x="89" y="224"/>
                    <a:pt x="90" y="222"/>
                  </a:cubicBezTo>
                  <a:cubicBezTo>
                    <a:pt x="90" y="221"/>
                    <a:pt x="91" y="221"/>
                    <a:pt x="91" y="220"/>
                  </a:cubicBezTo>
                  <a:cubicBezTo>
                    <a:pt x="92" y="220"/>
                    <a:pt x="92" y="220"/>
                    <a:pt x="92" y="219"/>
                  </a:cubicBezTo>
                  <a:cubicBezTo>
                    <a:pt x="93" y="219"/>
                    <a:pt x="93" y="218"/>
                    <a:pt x="93" y="218"/>
                  </a:cubicBezTo>
                  <a:cubicBezTo>
                    <a:pt x="94" y="217"/>
                    <a:pt x="94" y="216"/>
                    <a:pt x="95" y="216"/>
                  </a:cubicBezTo>
                  <a:cubicBezTo>
                    <a:pt x="95" y="214"/>
                    <a:pt x="95" y="214"/>
                    <a:pt x="96" y="214"/>
                  </a:cubicBezTo>
                  <a:cubicBezTo>
                    <a:pt x="97" y="214"/>
                    <a:pt x="97" y="214"/>
                    <a:pt x="97" y="214"/>
                  </a:cubicBezTo>
                  <a:cubicBezTo>
                    <a:pt x="98" y="214"/>
                    <a:pt x="98" y="214"/>
                    <a:pt x="99" y="215"/>
                  </a:cubicBezTo>
                  <a:cubicBezTo>
                    <a:pt x="100" y="215"/>
                    <a:pt x="100" y="215"/>
                    <a:pt x="101" y="215"/>
                  </a:cubicBezTo>
                  <a:cubicBezTo>
                    <a:pt x="101" y="216"/>
                    <a:pt x="100" y="216"/>
                    <a:pt x="99" y="217"/>
                  </a:cubicBezTo>
                  <a:cubicBezTo>
                    <a:pt x="97" y="219"/>
                    <a:pt x="95" y="222"/>
                    <a:pt x="96" y="228"/>
                  </a:cubicBezTo>
                  <a:cubicBezTo>
                    <a:pt x="97" y="234"/>
                    <a:pt x="97" y="235"/>
                    <a:pt x="92" y="236"/>
                  </a:cubicBezTo>
                  <a:cubicBezTo>
                    <a:pt x="89" y="237"/>
                    <a:pt x="89" y="237"/>
                    <a:pt x="89" y="237"/>
                  </a:cubicBezTo>
                  <a:cubicBezTo>
                    <a:pt x="90" y="240"/>
                    <a:pt x="90" y="240"/>
                    <a:pt x="90" y="240"/>
                  </a:cubicBezTo>
                  <a:cubicBezTo>
                    <a:pt x="92" y="243"/>
                    <a:pt x="95" y="246"/>
                    <a:pt x="99" y="246"/>
                  </a:cubicBezTo>
                  <a:cubicBezTo>
                    <a:pt x="99" y="246"/>
                    <a:pt x="100" y="246"/>
                    <a:pt x="101" y="246"/>
                  </a:cubicBezTo>
                  <a:cubicBezTo>
                    <a:pt x="99" y="251"/>
                    <a:pt x="101" y="254"/>
                    <a:pt x="104" y="258"/>
                  </a:cubicBezTo>
                  <a:cubicBezTo>
                    <a:pt x="108" y="262"/>
                    <a:pt x="109" y="264"/>
                    <a:pt x="110" y="266"/>
                  </a:cubicBezTo>
                  <a:cubicBezTo>
                    <a:pt x="110" y="266"/>
                    <a:pt x="110" y="266"/>
                    <a:pt x="110" y="266"/>
                  </a:cubicBezTo>
                  <a:cubicBezTo>
                    <a:pt x="109" y="265"/>
                    <a:pt x="108" y="265"/>
                    <a:pt x="107" y="265"/>
                  </a:cubicBezTo>
                  <a:cubicBezTo>
                    <a:pt x="106" y="265"/>
                    <a:pt x="105" y="265"/>
                    <a:pt x="104" y="265"/>
                  </a:cubicBezTo>
                  <a:cubicBezTo>
                    <a:pt x="103" y="264"/>
                    <a:pt x="102" y="264"/>
                    <a:pt x="101" y="264"/>
                  </a:cubicBezTo>
                  <a:cubicBezTo>
                    <a:pt x="99" y="263"/>
                    <a:pt x="99" y="263"/>
                    <a:pt x="99" y="263"/>
                  </a:cubicBezTo>
                  <a:cubicBezTo>
                    <a:pt x="98" y="264"/>
                    <a:pt x="98" y="264"/>
                    <a:pt x="98" y="264"/>
                  </a:cubicBezTo>
                  <a:cubicBezTo>
                    <a:pt x="98" y="264"/>
                    <a:pt x="98" y="264"/>
                    <a:pt x="98" y="264"/>
                  </a:cubicBezTo>
                  <a:cubicBezTo>
                    <a:pt x="97" y="263"/>
                    <a:pt x="97" y="263"/>
                    <a:pt x="97" y="262"/>
                  </a:cubicBezTo>
                  <a:cubicBezTo>
                    <a:pt x="97" y="262"/>
                    <a:pt x="97" y="261"/>
                    <a:pt x="97" y="260"/>
                  </a:cubicBezTo>
                  <a:cubicBezTo>
                    <a:pt x="97" y="259"/>
                    <a:pt x="97" y="258"/>
                    <a:pt x="97" y="256"/>
                  </a:cubicBezTo>
                  <a:cubicBezTo>
                    <a:pt x="96" y="252"/>
                    <a:pt x="93" y="251"/>
                    <a:pt x="91" y="251"/>
                  </a:cubicBezTo>
                  <a:cubicBezTo>
                    <a:pt x="90" y="251"/>
                    <a:pt x="88" y="252"/>
                    <a:pt x="87" y="252"/>
                  </a:cubicBezTo>
                  <a:cubicBezTo>
                    <a:pt x="86" y="253"/>
                    <a:pt x="85" y="253"/>
                    <a:pt x="84" y="253"/>
                  </a:cubicBezTo>
                  <a:cubicBezTo>
                    <a:pt x="84" y="253"/>
                    <a:pt x="84" y="253"/>
                    <a:pt x="83" y="253"/>
                  </a:cubicBezTo>
                  <a:cubicBezTo>
                    <a:pt x="82" y="253"/>
                    <a:pt x="80" y="253"/>
                    <a:pt x="79" y="253"/>
                  </a:cubicBezTo>
                  <a:cubicBezTo>
                    <a:pt x="77" y="252"/>
                    <a:pt x="75" y="252"/>
                    <a:pt x="73" y="252"/>
                  </a:cubicBezTo>
                  <a:cubicBezTo>
                    <a:pt x="73" y="252"/>
                    <a:pt x="63" y="252"/>
                    <a:pt x="61" y="257"/>
                  </a:cubicBezTo>
                  <a:cubicBezTo>
                    <a:pt x="60" y="259"/>
                    <a:pt x="60" y="261"/>
                    <a:pt x="61" y="261"/>
                  </a:cubicBezTo>
                  <a:cubicBezTo>
                    <a:pt x="62" y="264"/>
                    <a:pt x="65" y="264"/>
                    <a:pt x="68" y="264"/>
                  </a:cubicBezTo>
                  <a:cubicBezTo>
                    <a:pt x="68" y="264"/>
                    <a:pt x="69" y="264"/>
                    <a:pt x="69" y="264"/>
                  </a:cubicBezTo>
                  <a:cubicBezTo>
                    <a:pt x="70" y="264"/>
                    <a:pt x="71" y="264"/>
                    <a:pt x="73" y="264"/>
                  </a:cubicBezTo>
                  <a:cubicBezTo>
                    <a:pt x="74" y="263"/>
                    <a:pt x="75" y="263"/>
                    <a:pt x="76" y="263"/>
                  </a:cubicBezTo>
                  <a:cubicBezTo>
                    <a:pt x="77" y="263"/>
                    <a:pt x="78" y="263"/>
                    <a:pt x="78" y="263"/>
                  </a:cubicBezTo>
                  <a:cubicBezTo>
                    <a:pt x="79" y="264"/>
                    <a:pt x="80" y="264"/>
                    <a:pt x="80" y="264"/>
                  </a:cubicBezTo>
                  <a:cubicBezTo>
                    <a:pt x="80" y="264"/>
                    <a:pt x="80" y="264"/>
                    <a:pt x="80" y="264"/>
                  </a:cubicBezTo>
                  <a:cubicBezTo>
                    <a:pt x="80" y="265"/>
                    <a:pt x="80" y="265"/>
                    <a:pt x="79" y="266"/>
                  </a:cubicBezTo>
                  <a:cubicBezTo>
                    <a:pt x="78" y="267"/>
                    <a:pt x="78" y="270"/>
                    <a:pt x="79" y="272"/>
                  </a:cubicBezTo>
                  <a:cubicBezTo>
                    <a:pt x="80" y="274"/>
                    <a:pt x="82" y="274"/>
                    <a:pt x="83" y="275"/>
                  </a:cubicBezTo>
                  <a:cubicBezTo>
                    <a:pt x="83" y="275"/>
                    <a:pt x="84" y="275"/>
                    <a:pt x="84" y="276"/>
                  </a:cubicBezTo>
                  <a:cubicBezTo>
                    <a:pt x="85" y="276"/>
                    <a:pt x="86" y="277"/>
                    <a:pt x="87" y="278"/>
                  </a:cubicBezTo>
                  <a:cubicBezTo>
                    <a:pt x="88" y="279"/>
                    <a:pt x="90" y="281"/>
                    <a:pt x="92" y="282"/>
                  </a:cubicBezTo>
                  <a:cubicBezTo>
                    <a:pt x="94" y="283"/>
                    <a:pt x="94" y="283"/>
                    <a:pt x="94" y="283"/>
                  </a:cubicBezTo>
                  <a:cubicBezTo>
                    <a:pt x="96" y="284"/>
                    <a:pt x="98" y="285"/>
                    <a:pt x="101" y="285"/>
                  </a:cubicBezTo>
                  <a:cubicBezTo>
                    <a:pt x="101" y="285"/>
                    <a:pt x="101" y="285"/>
                    <a:pt x="102" y="285"/>
                  </a:cubicBezTo>
                  <a:cubicBezTo>
                    <a:pt x="105" y="285"/>
                    <a:pt x="108" y="284"/>
                    <a:pt x="111" y="283"/>
                  </a:cubicBezTo>
                  <a:cubicBezTo>
                    <a:pt x="112" y="282"/>
                    <a:pt x="114" y="281"/>
                    <a:pt x="116" y="281"/>
                  </a:cubicBezTo>
                  <a:cubicBezTo>
                    <a:pt x="117" y="280"/>
                    <a:pt x="118" y="280"/>
                    <a:pt x="120" y="280"/>
                  </a:cubicBezTo>
                  <a:cubicBezTo>
                    <a:pt x="122" y="280"/>
                    <a:pt x="124" y="281"/>
                    <a:pt x="126" y="281"/>
                  </a:cubicBezTo>
                  <a:cubicBezTo>
                    <a:pt x="127" y="281"/>
                    <a:pt x="129" y="281"/>
                    <a:pt x="130" y="281"/>
                  </a:cubicBezTo>
                  <a:cubicBezTo>
                    <a:pt x="133" y="281"/>
                    <a:pt x="134" y="282"/>
                    <a:pt x="134" y="282"/>
                  </a:cubicBezTo>
                  <a:cubicBezTo>
                    <a:pt x="134" y="282"/>
                    <a:pt x="134" y="283"/>
                    <a:pt x="133" y="284"/>
                  </a:cubicBezTo>
                  <a:cubicBezTo>
                    <a:pt x="130" y="288"/>
                    <a:pt x="128" y="291"/>
                    <a:pt x="129" y="294"/>
                  </a:cubicBezTo>
                  <a:cubicBezTo>
                    <a:pt x="129" y="296"/>
                    <a:pt x="129" y="297"/>
                    <a:pt x="131" y="299"/>
                  </a:cubicBezTo>
                  <a:cubicBezTo>
                    <a:pt x="129" y="300"/>
                    <a:pt x="127" y="300"/>
                    <a:pt x="125" y="300"/>
                  </a:cubicBezTo>
                  <a:cubicBezTo>
                    <a:pt x="123" y="300"/>
                    <a:pt x="121" y="300"/>
                    <a:pt x="119" y="299"/>
                  </a:cubicBezTo>
                  <a:cubicBezTo>
                    <a:pt x="117" y="299"/>
                    <a:pt x="114" y="299"/>
                    <a:pt x="111" y="299"/>
                  </a:cubicBezTo>
                  <a:cubicBezTo>
                    <a:pt x="111" y="299"/>
                    <a:pt x="110" y="299"/>
                    <a:pt x="109" y="299"/>
                  </a:cubicBezTo>
                  <a:cubicBezTo>
                    <a:pt x="103" y="299"/>
                    <a:pt x="99" y="301"/>
                    <a:pt x="96" y="305"/>
                  </a:cubicBezTo>
                  <a:cubicBezTo>
                    <a:pt x="92" y="310"/>
                    <a:pt x="91" y="316"/>
                    <a:pt x="92" y="322"/>
                  </a:cubicBezTo>
                  <a:cubicBezTo>
                    <a:pt x="92" y="327"/>
                    <a:pt x="96" y="328"/>
                    <a:pt x="99" y="330"/>
                  </a:cubicBezTo>
                  <a:cubicBezTo>
                    <a:pt x="100" y="330"/>
                    <a:pt x="101" y="331"/>
                    <a:pt x="102" y="331"/>
                  </a:cubicBezTo>
                  <a:cubicBezTo>
                    <a:pt x="101" y="331"/>
                    <a:pt x="99" y="332"/>
                    <a:pt x="94" y="332"/>
                  </a:cubicBezTo>
                  <a:cubicBezTo>
                    <a:pt x="93" y="332"/>
                    <a:pt x="91" y="332"/>
                    <a:pt x="89" y="331"/>
                  </a:cubicBezTo>
                  <a:cubicBezTo>
                    <a:pt x="87" y="330"/>
                    <a:pt x="85" y="329"/>
                    <a:pt x="83" y="329"/>
                  </a:cubicBezTo>
                  <a:cubicBezTo>
                    <a:pt x="82" y="329"/>
                    <a:pt x="81" y="330"/>
                    <a:pt x="80" y="330"/>
                  </a:cubicBezTo>
                  <a:cubicBezTo>
                    <a:pt x="78" y="331"/>
                    <a:pt x="77" y="332"/>
                    <a:pt x="76" y="334"/>
                  </a:cubicBezTo>
                  <a:cubicBezTo>
                    <a:pt x="76" y="336"/>
                    <a:pt x="77" y="338"/>
                    <a:pt x="78" y="339"/>
                  </a:cubicBezTo>
                  <a:cubicBezTo>
                    <a:pt x="76" y="338"/>
                    <a:pt x="75" y="338"/>
                    <a:pt x="74" y="338"/>
                  </a:cubicBezTo>
                  <a:cubicBezTo>
                    <a:pt x="73" y="338"/>
                    <a:pt x="72" y="337"/>
                    <a:pt x="69" y="337"/>
                  </a:cubicBezTo>
                  <a:cubicBezTo>
                    <a:pt x="64" y="337"/>
                    <a:pt x="61" y="338"/>
                    <a:pt x="59" y="340"/>
                  </a:cubicBezTo>
                  <a:cubicBezTo>
                    <a:pt x="59" y="341"/>
                    <a:pt x="58" y="343"/>
                    <a:pt x="58" y="345"/>
                  </a:cubicBezTo>
                  <a:cubicBezTo>
                    <a:pt x="59" y="348"/>
                    <a:pt x="59" y="348"/>
                    <a:pt x="59" y="348"/>
                  </a:cubicBezTo>
                  <a:cubicBezTo>
                    <a:pt x="61" y="348"/>
                    <a:pt x="61" y="348"/>
                    <a:pt x="61" y="348"/>
                  </a:cubicBezTo>
                  <a:cubicBezTo>
                    <a:pt x="63" y="348"/>
                    <a:pt x="64" y="349"/>
                    <a:pt x="66" y="352"/>
                  </a:cubicBezTo>
                  <a:cubicBezTo>
                    <a:pt x="66" y="353"/>
                    <a:pt x="67" y="354"/>
                    <a:pt x="68" y="355"/>
                  </a:cubicBezTo>
                  <a:cubicBezTo>
                    <a:pt x="68" y="356"/>
                    <a:pt x="69" y="356"/>
                    <a:pt x="69" y="356"/>
                  </a:cubicBezTo>
                  <a:cubicBezTo>
                    <a:pt x="70" y="357"/>
                    <a:pt x="72" y="359"/>
                    <a:pt x="72" y="359"/>
                  </a:cubicBezTo>
                  <a:cubicBezTo>
                    <a:pt x="72" y="360"/>
                    <a:pt x="71" y="360"/>
                    <a:pt x="71" y="360"/>
                  </a:cubicBezTo>
                  <a:cubicBezTo>
                    <a:pt x="71" y="361"/>
                    <a:pt x="69" y="361"/>
                    <a:pt x="68" y="361"/>
                  </a:cubicBezTo>
                  <a:cubicBezTo>
                    <a:pt x="67" y="361"/>
                    <a:pt x="67" y="361"/>
                    <a:pt x="67" y="361"/>
                  </a:cubicBezTo>
                  <a:cubicBezTo>
                    <a:pt x="65" y="361"/>
                    <a:pt x="61" y="361"/>
                    <a:pt x="59" y="365"/>
                  </a:cubicBezTo>
                  <a:cubicBezTo>
                    <a:pt x="58" y="367"/>
                    <a:pt x="58" y="369"/>
                    <a:pt x="59" y="370"/>
                  </a:cubicBezTo>
                  <a:cubicBezTo>
                    <a:pt x="60" y="372"/>
                    <a:pt x="62" y="372"/>
                    <a:pt x="64" y="372"/>
                  </a:cubicBezTo>
                  <a:cubicBezTo>
                    <a:pt x="65" y="372"/>
                    <a:pt x="67" y="372"/>
                    <a:pt x="68" y="371"/>
                  </a:cubicBezTo>
                  <a:cubicBezTo>
                    <a:pt x="69" y="371"/>
                    <a:pt x="70" y="371"/>
                    <a:pt x="71" y="371"/>
                  </a:cubicBezTo>
                  <a:cubicBezTo>
                    <a:pt x="71" y="371"/>
                    <a:pt x="71" y="371"/>
                    <a:pt x="71" y="371"/>
                  </a:cubicBezTo>
                  <a:cubicBezTo>
                    <a:pt x="73" y="372"/>
                    <a:pt x="73" y="372"/>
                    <a:pt x="75" y="374"/>
                  </a:cubicBezTo>
                  <a:cubicBezTo>
                    <a:pt x="76" y="376"/>
                    <a:pt x="77" y="377"/>
                    <a:pt x="80" y="379"/>
                  </a:cubicBezTo>
                  <a:cubicBezTo>
                    <a:pt x="82" y="379"/>
                    <a:pt x="85" y="380"/>
                    <a:pt x="87" y="380"/>
                  </a:cubicBezTo>
                  <a:cubicBezTo>
                    <a:pt x="88" y="380"/>
                    <a:pt x="88" y="380"/>
                    <a:pt x="89" y="380"/>
                  </a:cubicBezTo>
                  <a:cubicBezTo>
                    <a:pt x="92" y="379"/>
                    <a:pt x="93" y="377"/>
                    <a:pt x="93" y="376"/>
                  </a:cubicBezTo>
                  <a:cubicBezTo>
                    <a:pt x="94" y="375"/>
                    <a:pt x="94" y="375"/>
                    <a:pt x="94" y="374"/>
                  </a:cubicBezTo>
                  <a:cubicBezTo>
                    <a:pt x="95" y="374"/>
                    <a:pt x="95" y="373"/>
                    <a:pt x="97" y="373"/>
                  </a:cubicBezTo>
                  <a:cubicBezTo>
                    <a:pt x="99" y="373"/>
                    <a:pt x="102" y="375"/>
                    <a:pt x="102" y="377"/>
                  </a:cubicBezTo>
                  <a:cubicBezTo>
                    <a:pt x="102" y="377"/>
                    <a:pt x="101" y="378"/>
                    <a:pt x="99" y="379"/>
                  </a:cubicBezTo>
                  <a:cubicBezTo>
                    <a:pt x="98" y="379"/>
                    <a:pt x="98" y="380"/>
                    <a:pt x="97" y="380"/>
                  </a:cubicBezTo>
                  <a:cubicBezTo>
                    <a:pt x="93" y="381"/>
                    <a:pt x="88" y="382"/>
                    <a:pt x="87" y="386"/>
                  </a:cubicBezTo>
                  <a:cubicBezTo>
                    <a:pt x="87" y="388"/>
                    <a:pt x="88" y="389"/>
                    <a:pt x="91" y="391"/>
                  </a:cubicBezTo>
                  <a:cubicBezTo>
                    <a:pt x="92" y="392"/>
                    <a:pt x="93" y="392"/>
                    <a:pt x="94" y="392"/>
                  </a:cubicBezTo>
                  <a:cubicBezTo>
                    <a:pt x="95" y="392"/>
                    <a:pt x="95" y="392"/>
                    <a:pt x="96" y="392"/>
                  </a:cubicBezTo>
                  <a:cubicBezTo>
                    <a:pt x="96" y="392"/>
                    <a:pt x="96" y="392"/>
                    <a:pt x="97" y="392"/>
                  </a:cubicBezTo>
                  <a:cubicBezTo>
                    <a:pt x="97" y="392"/>
                    <a:pt x="97" y="392"/>
                    <a:pt x="97" y="392"/>
                  </a:cubicBezTo>
                  <a:cubicBezTo>
                    <a:pt x="98" y="392"/>
                    <a:pt x="98" y="392"/>
                    <a:pt x="99" y="393"/>
                  </a:cubicBezTo>
                  <a:cubicBezTo>
                    <a:pt x="99" y="393"/>
                    <a:pt x="99" y="394"/>
                    <a:pt x="100" y="394"/>
                  </a:cubicBezTo>
                  <a:cubicBezTo>
                    <a:pt x="101" y="396"/>
                    <a:pt x="103" y="397"/>
                    <a:pt x="106" y="397"/>
                  </a:cubicBezTo>
                  <a:cubicBezTo>
                    <a:pt x="107" y="397"/>
                    <a:pt x="109" y="397"/>
                    <a:pt x="111" y="395"/>
                  </a:cubicBezTo>
                  <a:cubicBezTo>
                    <a:pt x="114" y="393"/>
                    <a:pt x="115" y="391"/>
                    <a:pt x="116" y="389"/>
                  </a:cubicBezTo>
                  <a:cubicBezTo>
                    <a:pt x="117" y="388"/>
                    <a:pt x="117" y="388"/>
                    <a:pt x="117" y="387"/>
                  </a:cubicBezTo>
                  <a:cubicBezTo>
                    <a:pt x="118" y="386"/>
                    <a:pt x="118" y="386"/>
                    <a:pt x="119" y="385"/>
                  </a:cubicBezTo>
                  <a:cubicBezTo>
                    <a:pt x="118" y="386"/>
                    <a:pt x="118" y="386"/>
                    <a:pt x="118" y="386"/>
                  </a:cubicBezTo>
                  <a:cubicBezTo>
                    <a:pt x="118" y="387"/>
                    <a:pt x="118" y="389"/>
                    <a:pt x="120" y="391"/>
                  </a:cubicBezTo>
                  <a:cubicBezTo>
                    <a:pt x="121" y="391"/>
                    <a:pt x="122" y="392"/>
                    <a:pt x="124" y="392"/>
                  </a:cubicBezTo>
                  <a:cubicBezTo>
                    <a:pt x="124" y="392"/>
                    <a:pt x="125" y="392"/>
                    <a:pt x="125" y="392"/>
                  </a:cubicBezTo>
                  <a:cubicBezTo>
                    <a:pt x="125" y="392"/>
                    <a:pt x="124" y="393"/>
                    <a:pt x="124" y="393"/>
                  </a:cubicBezTo>
                  <a:cubicBezTo>
                    <a:pt x="123" y="394"/>
                    <a:pt x="121" y="395"/>
                    <a:pt x="121" y="396"/>
                  </a:cubicBezTo>
                  <a:cubicBezTo>
                    <a:pt x="121" y="396"/>
                    <a:pt x="120" y="397"/>
                    <a:pt x="120" y="397"/>
                  </a:cubicBezTo>
                  <a:cubicBezTo>
                    <a:pt x="119" y="396"/>
                    <a:pt x="118" y="395"/>
                    <a:pt x="117" y="395"/>
                  </a:cubicBezTo>
                  <a:cubicBezTo>
                    <a:pt x="116" y="395"/>
                    <a:pt x="116" y="395"/>
                    <a:pt x="116" y="395"/>
                  </a:cubicBezTo>
                  <a:cubicBezTo>
                    <a:pt x="116" y="395"/>
                    <a:pt x="116" y="395"/>
                    <a:pt x="116" y="395"/>
                  </a:cubicBezTo>
                  <a:cubicBezTo>
                    <a:pt x="113" y="395"/>
                    <a:pt x="112" y="397"/>
                    <a:pt x="111" y="399"/>
                  </a:cubicBezTo>
                  <a:cubicBezTo>
                    <a:pt x="111" y="400"/>
                    <a:pt x="110" y="401"/>
                    <a:pt x="109" y="401"/>
                  </a:cubicBezTo>
                  <a:cubicBezTo>
                    <a:pt x="108" y="402"/>
                    <a:pt x="108" y="402"/>
                    <a:pt x="108" y="402"/>
                  </a:cubicBezTo>
                  <a:cubicBezTo>
                    <a:pt x="108" y="404"/>
                    <a:pt x="108" y="404"/>
                    <a:pt x="108" y="404"/>
                  </a:cubicBezTo>
                  <a:cubicBezTo>
                    <a:pt x="108" y="405"/>
                    <a:pt x="108" y="407"/>
                    <a:pt x="108" y="409"/>
                  </a:cubicBezTo>
                  <a:cubicBezTo>
                    <a:pt x="108" y="411"/>
                    <a:pt x="108" y="411"/>
                    <a:pt x="108" y="411"/>
                  </a:cubicBezTo>
                  <a:cubicBezTo>
                    <a:pt x="110" y="412"/>
                    <a:pt x="110" y="412"/>
                    <a:pt x="110" y="412"/>
                  </a:cubicBezTo>
                  <a:cubicBezTo>
                    <a:pt x="111" y="412"/>
                    <a:pt x="112" y="412"/>
                    <a:pt x="113" y="412"/>
                  </a:cubicBezTo>
                  <a:cubicBezTo>
                    <a:pt x="113" y="414"/>
                    <a:pt x="115" y="414"/>
                    <a:pt x="116" y="414"/>
                  </a:cubicBezTo>
                  <a:cubicBezTo>
                    <a:pt x="119" y="414"/>
                    <a:pt x="121" y="411"/>
                    <a:pt x="122" y="411"/>
                  </a:cubicBezTo>
                  <a:cubicBezTo>
                    <a:pt x="122" y="410"/>
                    <a:pt x="122" y="410"/>
                    <a:pt x="122" y="409"/>
                  </a:cubicBezTo>
                  <a:cubicBezTo>
                    <a:pt x="127" y="409"/>
                    <a:pt x="127" y="409"/>
                    <a:pt x="127" y="409"/>
                  </a:cubicBezTo>
                  <a:cubicBezTo>
                    <a:pt x="128" y="409"/>
                    <a:pt x="129" y="410"/>
                    <a:pt x="130" y="411"/>
                  </a:cubicBezTo>
                  <a:cubicBezTo>
                    <a:pt x="131" y="412"/>
                    <a:pt x="132" y="413"/>
                    <a:pt x="135" y="414"/>
                  </a:cubicBezTo>
                  <a:cubicBezTo>
                    <a:pt x="136" y="415"/>
                    <a:pt x="138" y="415"/>
                    <a:pt x="140" y="415"/>
                  </a:cubicBezTo>
                  <a:cubicBezTo>
                    <a:pt x="142" y="415"/>
                    <a:pt x="144" y="415"/>
                    <a:pt x="146" y="415"/>
                  </a:cubicBezTo>
                  <a:cubicBezTo>
                    <a:pt x="148" y="414"/>
                    <a:pt x="150" y="414"/>
                    <a:pt x="151" y="414"/>
                  </a:cubicBezTo>
                  <a:cubicBezTo>
                    <a:pt x="154" y="414"/>
                    <a:pt x="156" y="414"/>
                    <a:pt x="158" y="413"/>
                  </a:cubicBezTo>
                  <a:cubicBezTo>
                    <a:pt x="160" y="413"/>
                    <a:pt x="162" y="413"/>
                    <a:pt x="164" y="413"/>
                  </a:cubicBezTo>
                  <a:cubicBezTo>
                    <a:pt x="164" y="413"/>
                    <a:pt x="165" y="413"/>
                    <a:pt x="165" y="413"/>
                  </a:cubicBezTo>
                  <a:cubicBezTo>
                    <a:pt x="166" y="413"/>
                    <a:pt x="167" y="413"/>
                    <a:pt x="168" y="413"/>
                  </a:cubicBezTo>
                  <a:cubicBezTo>
                    <a:pt x="169" y="413"/>
                    <a:pt x="170" y="413"/>
                    <a:pt x="171" y="413"/>
                  </a:cubicBezTo>
                  <a:cubicBezTo>
                    <a:pt x="173" y="413"/>
                    <a:pt x="174" y="413"/>
                    <a:pt x="176" y="413"/>
                  </a:cubicBezTo>
                  <a:cubicBezTo>
                    <a:pt x="178" y="412"/>
                    <a:pt x="180" y="412"/>
                    <a:pt x="182" y="411"/>
                  </a:cubicBezTo>
                  <a:cubicBezTo>
                    <a:pt x="185" y="410"/>
                    <a:pt x="188" y="409"/>
                    <a:pt x="190" y="409"/>
                  </a:cubicBezTo>
                  <a:cubicBezTo>
                    <a:pt x="190" y="409"/>
                    <a:pt x="191" y="409"/>
                    <a:pt x="191" y="409"/>
                  </a:cubicBezTo>
                  <a:cubicBezTo>
                    <a:pt x="192" y="409"/>
                    <a:pt x="192" y="409"/>
                    <a:pt x="192" y="409"/>
                  </a:cubicBezTo>
                  <a:cubicBezTo>
                    <a:pt x="192" y="409"/>
                    <a:pt x="192" y="409"/>
                    <a:pt x="192" y="409"/>
                  </a:cubicBezTo>
                  <a:cubicBezTo>
                    <a:pt x="193" y="410"/>
                    <a:pt x="193" y="411"/>
                    <a:pt x="193" y="411"/>
                  </a:cubicBezTo>
                  <a:cubicBezTo>
                    <a:pt x="192" y="413"/>
                    <a:pt x="192" y="415"/>
                    <a:pt x="193" y="416"/>
                  </a:cubicBezTo>
                  <a:cubicBezTo>
                    <a:pt x="194" y="419"/>
                    <a:pt x="196" y="420"/>
                    <a:pt x="197" y="421"/>
                  </a:cubicBezTo>
                  <a:cubicBezTo>
                    <a:pt x="199" y="422"/>
                    <a:pt x="199" y="422"/>
                    <a:pt x="199" y="423"/>
                  </a:cubicBezTo>
                  <a:cubicBezTo>
                    <a:pt x="199" y="425"/>
                    <a:pt x="196" y="426"/>
                    <a:pt x="187" y="426"/>
                  </a:cubicBezTo>
                  <a:cubicBezTo>
                    <a:pt x="186" y="426"/>
                    <a:pt x="184" y="426"/>
                    <a:pt x="183" y="426"/>
                  </a:cubicBezTo>
                  <a:cubicBezTo>
                    <a:pt x="179" y="426"/>
                    <a:pt x="179" y="426"/>
                    <a:pt x="179" y="426"/>
                  </a:cubicBezTo>
                  <a:cubicBezTo>
                    <a:pt x="179" y="428"/>
                    <a:pt x="179" y="428"/>
                    <a:pt x="179" y="428"/>
                  </a:cubicBezTo>
                  <a:cubicBezTo>
                    <a:pt x="179" y="430"/>
                    <a:pt x="179" y="432"/>
                    <a:pt x="180" y="433"/>
                  </a:cubicBezTo>
                  <a:cubicBezTo>
                    <a:pt x="180" y="433"/>
                    <a:pt x="180" y="433"/>
                    <a:pt x="180" y="433"/>
                  </a:cubicBezTo>
                  <a:cubicBezTo>
                    <a:pt x="180" y="433"/>
                    <a:pt x="179" y="433"/>
                    <a:pt x="179" y="433"/>
                  </a:cubicBezTo>
                  <a:cubicBezTo>
                    <a:pt x="177" y="433"/>
                    <a:pt x="175" y="433"/>
                    <a:pt x="175" y="433"/>
                  </a:cubicBezTo>
                  <a:cubicBezTo>
                    <a:pt x="173" y="432"/>
                    <a:pt x="171" y="431"/>
                    <a:pt x="170" y="429"/>
                  </a:cubicBezTo>
                  <a:cubicBezTo>
                    <a:pt x="168" y="427"/>
                    <a:pt x="165" y="426"/>
                    <a:pt x="163" y="426"/>
                  </a:cubicBezTo>
                  <a:cubicBezTo>
                    <a:pt x="158" y="426"/>
                    <a:pt x="157" y="431"/>
                    <a:pt x="155" y="436"/>
                  </a:cubicBezTo>
                  <a:cubicBezTo>
                    <a:pt x="155" y="438"/>
                    <a:pt x="154" y="439"/>
                    <a:pt x="154" y="441"/>
                  </a:cubicBezTo>
                  <a:cubicBezTo>
                    <a:pt x="153" y="442"/>
                    <a:pt x="153" y="442"/>
                    <a:pt x="153" y="442"/>
                  </a:cubicBezTo>
                  <a:cubicBezTo>
                    <a:pt x="151" y="446"/>
                    <a:pt x="149" y="449"/>
                    <a:pt x="147" y="451"/>
                  </a:cubicBezTo>
                  <a:cubicBezTo>
                    <a:pt x="146" y="453"/>
                    <a:pt x="146" y="453"/>
                    <a:pt x="146" y="453"/>
                  </a:cubicBezTo>
                  <a:cubicBezTo>
                    <a:pt x="144" y="456"/>
                    <a:pt x="143" y="458"/>
                    <a:pt x="140" y="460"/>
                  </a:cubicBezTo>
                  <a:cubicBezTo>
                    <a:pt x="138" y="463"/>
                    <a:pt x="133" y="468"/>
                    <a:pt x="136" y="474"/>
                  </a:cubicBezTo>
                  <a:cubicBezTo>
                    <a:pt x="137" y="476"/>
                    <a:pt x="139" y="477"/>
                    <a:pt x="141" y="477"/>
                  </a:cubicBezTo>
                  <a:cubicBezTo>
                    <a:pt x="141" y="477"/>
                    <a:pt x="142" y="477"/>
                    <a:pt x="142" y="477"/>
                  </a:cubicBezTo>
                  <a:cubicBezTo>
                    <a:pt x="141" y="479"/>
                    <a:pt x="137" y="483"/>
                    <a:pt x="135" y="485"/>
                  </a:cubicBezTo>
                  <a:cubicBezTo>
                    <a:pt x="134" y="486"/>
                    <a:pt x="133" y="487"/>
                    <a:pt x="133" y="488"/>
                  </a:cubicBezTo>
                  <a:cubicBezTo>
                    <a:pt x="131" y="490"/>
                    <a:pt x="131" y="492"/>
                    <a:pt x="130" y="494"/>
                  </a:cubicBezTo>
                  <a:cubicBezTo>
                    <a:pt x="130" y="495"/>
                    <a:pt x="129" y="496"/>
                    <a:pt x="129" y="497"/>
                  </a:cubicBezTo>
                  <a:cubicBezTo>
                    <a:pt x="128" y="498"/>
                    <a:pt x="128" y="500"/>
                    <a:pt x="127" y="501"/>
                  </a:cubicBezTo>
                  <a:cubicBezTo>
                    <a:pt x="127" y="502"/>
                    <a:pt x="126" y="504"/>
                    <a:pt x="126" y="505"/>
                  </a:cubicBezTo>
                  <a:cubicBezTo>
                    <a:pt x="125" y="505"/>
                    <a:pt x="125" y="505"/>
                    <a:pt x="124" y="505"/>
                  </a:cubicBezTo>
                  <a:cubicBezTo>
                    <a:pt x="124" y="505"/>
                    <a:pt x="123" y="505"/>
                    <a:pt x="123" y="505"/>
                  </a:cubicBezTo>
                  <a:cubicBezTo>
                    <a:pt x="122" y="505"/>
                    <a:pt x="122" y="505"/>
                    <a:pt x="121" y="505"/>
                  </a:cubicBezTo>
                  <a:cubicBezTo>
                    <a:pt x="120" y="505"/>
                    <a:pt x="119" y="505"/>
                    <a:pt x="118" y="506"/>
                  </a:cubicBezTo>
                  <a:cubicBezTo>
                    <a:pt x="115" y="507"/>
                    <a:pt x="113" y="509"/>
                    <a:pt x="111" y="511"/>
                  </a:cubicBezTo>
                  <a:cubicBezTo>
                    <a:pt x="111" y="512"/>
                    <a:pt x="110" y="513"/>
                    <a:pt x="109" y="513"/>
                  </a:cubicBezTo>
                  <a:cubicBezTo>
                    <a:pt x="108" y="515"/>
                    <a:pt x="107" y="516"/>
                    <a:pt x="105" y="517"/>
                  </a:cubicBezTo>
                  <a:cubicBezTo>
                    <a:pt x="102" y="521"/>
                    <a:pt x="98" y="524"/>
                    <a:pt x="94" y="526"/>
                  </a:cubicBezTo>
                  <a:cubicBezTo>
                    <a:pt x="93" y="527"/>
                    <a:pt x="91" y="528"/>
                    <a:pt x="89" y="529"/>
                  </a:cubicBezTo>
                  <a:cubicBezTo>
                    <a:pt x="83" y="532"/>
                    <a:pt x="77" y="534"/>
                    <a:pt x="75" y="539"/>
                  </a:cubicBezTo>
                  <a:cubicBezTo>
                    <a:pt x="74" y="541"/>
                    <a:pt x="74" y="541"/>
                    <a:pt x="74" y="541"/>
                  </a:cubicBezTo>
                  <a:cubicBezTo>
                    <a:pt x="76" y="542"/>
                    <a:pt x="76" y="542"/>
                    <a:pt x="76" y="542"/>
                  </a:cubicBezTo>
                  <a:cubicBezTo>
                    <a:pt x="77" y="543"/>
                    <a:pt x="79" y="544"/>
                    <a:pt x="81" y="544"/>
                  </a:cubicBezTo>
                  <a:cubicBezTo>
                    <a:pt x="84" y="544"/>
                    <a:pt x="86" y="543"/>
                    <a:pt x="88" y="543"/>
                  </a:cubicBezTo>
                  <a:cubicBezTo>
                    <a:pt x="89" y="542"/>
                    <a:pt x="90" y="542"/>
                    <a:pt x="91" y="542"/>
                  </a:cubicBezTo>
                  <a:cubicBezTo>
                    <a:pt x="92" y="542"/>
                    <a:pt x="93" y="542"/>
                    <a:pt x="95" y="541"/>
                  </a:cubicBezTo>
                  <a:cubicBezTo>
                    <a:pt x="98" y="541"/>
                    <a:pt x="101" y="541"/>
                    <a:pt x="105" y="537"/>
                  </a:cubicBezTo>
                  <a:cubicBezTo>
                    <a:pt x="108" y="534"/>
                    <a:pt x="110" y="534"/>
                    <a:pt x="114" y="534"/>
                  </a:cubicBezTo>
                  <a:cubicBezTo>
                    <a:pt x="114" y="534"/>
                    <a:pt x="116" y="534"/>
                    <a:pt x="116" y="534"/>
                  </a:cubicBezTo>
                  <a:cubicBezTo>
                    <a:pt x="118" y="534"/>
                    <a:pt x="120" y="534"/>
                    <a:pt x="122" y="531"/>
                  </a:cubicBezTo>
                  <a:cubicBezTo>
                    <a:pt x="123" y="531"/>
                    <a:pt x="124" y="530"/>
                    <a:pt x="124" y="529"/>
                  </a:cubicBezTo>
                  <a:cubicBezTo>
                    <a:pt x="125" y="529"/>
                    <a:pt x="125" y="528"/>
                    <a:pt x="125" y="528"/>
                  </a:cubicBezTo>
                  <a:cubicBezTo>
                    <a:pt x="126" y="527"/>
                    <a:pt x="126" y="527"/>
                    <a:pt x="127" y="527"/>
                  </a:cubicBezTo>
                  <a:cubicBezTo>
                    <a:pt x="128" y="527"/>
                    <a:pt x="129" y="529"/>
                    <a:pt x="130" y="531"/>
                  </a:cubicBezTo>
                  <a:cubicBezTo>
                    <a:pt x="132" y="533"/>
                    <a:pt x="134" y="535"/>
                    <a:pt x="137" y="536"/>
                  </a:cubicBezTo>
                  <a:cubicBezTo>
                    <a:pt x="138" y="536"/>
                    <a:pt x="139" y="537"/>
                    <a:pt x="141" y="537"/>
                  </a:cubicBezTo>
                  <a:cubicBezTo>
                    <a:pt x="144" y="537"/>
                    <a:pt x="146" y="536"/>
                    <a:pt x="149" y="535"/>
                  </a:cubicBezTo>
                  <a:cubicBezTo>
                    <a:pt x="149" y="536"/>
                    <a:pt x="149" y="537"/>
                    <a:pt x="149" y="537"/>
                  </a:cubicBezTo>
                  <a:cubicBezTo>
                    <a:pt x="150" y="538"/>
                    <a:pt x="151" y="539"/>
                    <a:pt x="152" y="539"/>
                  </a:cubicBezTo>
                  <a:cubicBezTo>
                    <a:pt x="148" y="540"/>
                    <a:pt x="143" y="541"/>
                    <a:pt x="139" y="541"/>
                  </a:cubicBezTo>
                  <a:cubicBezTo>
                    <a:pt x="139" y="541"/>
                    <a:pt x="138" y="541"/>
                    <a:pt x="138" y="541"/>
                  </a:cubicBezTo>
                  <a:cubicBezTo>
                    <a:pt x="135" y="541"/>
                    <a:pt x="132" y="541"/>
                    <a:pt x="129" y="540"/>
                  </a:cubicBezTo>
                  <a:cubicBezTo>
                    <a:pt x="125" y="540"/>
                    <a:pt x="122" y="539"/>
                    <a:pt x="118" y="539"/>
                  </a:cubicBezTo>
                  <a:cubicBezTo>
                    <a:pt x="117" y="539"/>
                    <a:pt x="116" y="539"/>
                    <a:pt x="115" y="539"/>
                  </a:cubicBezTo>
                  <a:cubicBezTo>
                    <a:pt x="110" y="540"/>
                    <a:pt x="107" y="543"/>
                    <a:pt x="105" y="547"/>
                  </a:cubicBezTo>
                  <a:cubicBezTo>
                    <a:pt x="104" y="549"/>
                    <a:pt x="104" y="551"/>
                    <a:pt x="105" y="553"/>
                  </a:cubicBezTo>
                  <a:cubicBezTo>
                    <a:pt x="105" y="555"/>
                    <a:pt x="105" y="556"/>
                    <a:pt x="105" y="557"/>
                  </a:cubicBezTo>
                  <a:cubicBezTo>
                    <a:pt x="104" y="557"/>
                    <a:pt x="101" y="558"/>
                    <a:pt x="99" y="559"/>
                  </a:cubicBezTo>
                  <a:cubicBezTo>
                    <a:pt x="98" y="560"/>
                    <a:pt x="97" y="560"/>
                    <a:pt x="96" y="560"/>
                  </a:cubicBezTo>
                  <a:cubicBezTo>
                    <a:pt x="92" y="562"/>
                    <a:pt x="89" y="563"/>
                    <a:pt x="84" y="563"/>
                  </a:cubicBezTo>
                  <a:cubicBezTo>
                    <a:pt x="84" y="563"/>
                    <a:pt x="82" y="563"/>
                    <a:pt x="82" y="563"/>
                  </a:cubicBezTo>
                  <a:cubicBezTo>
                    <a:pt x="73" y="563"/>
                    <a:pt x="71" y="565"/>
                    <a:pt x="70" y="567"/>
                  </a:cubicBezTo>
                  <a:cubicBezTo>
                    <a:pt x="69" y="570"/>
                    <a:pt x="73" y="572"/>
                    <a:pt x="74" y="573"/>
                  </a:cubicBezTo>
                  <a:cubicBezTo>
                    <a:pt x="75" y="574"/>
                    <a:pt x="76" y="574"/>
                    <a:pt x="77" y="575"/>
                  </a:cubicBezTo>
                  <a:cubicBezTo>
                    <a:pt x="80" y="577"/>
                    <a:pt x="81" y="577"/>
                    <a:pt x="81" y="581"/>
                  </a:cubicBezTo>
                  <a:cubicBezTo>
                    <a:pt x="82" y="584"/>
                    <a:pt x="82" y="586"/>
                    <a:pt x="81" y="588"/>
                  </a:cubicBezTo>
                  <a:cubicBezTo>
                    <a:pt x="81" y="588"/>
                    <a:pt x="80" y="588"/>
                    <a:pt x="80" y="589"/>
                  </a:cubicBezTo>
                  <a:cubicBezTo>
                    <a:pt x="79" y="590"/>
                    <a:pt x="77" y="592"/>
                    <a:pt x="77" y="594"/>
                  </a:cubicBezTo>
                  <a:cubicBezTo>
                    <a:pt x="77" y="599"/>
                    <a:pt x="81" y="600"/>
                    <a:pt x="84" y="600"/>
                  </a:cubicBezTo>
                  <a:cubicBezTo>
                    <a:pt x="83" y="600"/>
                    <a:pt x="82" y="600"/>
                    <a:pt x="80" y="600"/>
                  </a:cubicBezTo>
                  <a:cubicBezTo>
                    <a:pt x="76" y="599"/>
                    <a:pt x="71" y="598"/>
                    <a:pt x="67" y="598"/>
                  </a:cubicBezTo>
                  <a:cubicBezTo>
                    <a:pt x="65" y="598"/>
                    <a:pt x="65" y="598"/>
                    <a:pt x="65" y="598"/>
                  </a:cubicBezTo>
                  <a:cubicBezTo>
                    <a:pt x="63" y="598"/>
                    <a:pt x="63" y="598"/>
                    <a:pt x="63" y="597"/>
                  </a:cubicBezTo>
                  <a:cubicBezTo>
                    <a:pt x="63" y="597"/>
                    <a:pt x="63" y="597"/>
                    <a:pt x="63" y="596"/>
                  </a:cubicBezTo>
                  <a:cubicBezTo>
                    <a:pt x="64" y="595"/>
                    <a:pt x="65" y="594"/>
                    <a:pt x="64" y="592"/>
                  </a:cubicBezTo>
                  <a:cubicBezTo>
                    <a:pt x="63" y="589"/>
                    <a:pt x="61" y="589"/>
                    <a:pt x="61" y="589"/>
                  </a:cubicBezTo>
                  <a:cubicBezTo>
                    <a:pt x="58" y="589"/>
                    <a:pt x="57" y="591"/>
                    <a:pt x="55" y="595"/>
                  </a:cubicBezTo>
                  <a:cubicBezTo>
                    <a:pt x="55" y="595"/>
                    <a:pt x="54" y="597"/>
                    <a:pt x="54" y="597"/>
                  </a:cubicBezTo>
                  <a:cubicBezTo>
                    <a:pt x="53" y="598"/>
                    <a:pt x="50" y="598"/>
                    <a:pt x="47" y="598"/>
                  </a:cubicBezTo>
                  <a:cubicBezTo>
                    <a:pt x="46" y="598"/>
                    <a:pt x="45" y="598"/>
                    <a:pt x="44" y="598"/>
                  </a:cubicBezTo>
                  <a:cubicBezTo>
                    <a:pt x="44" y="598"/>
                    <a:pt x="44" y="598"/>
                    <a:pt x="44" y="598"/>
                  </a:cubicBezTo>
                  <a:cubicBezTo>
                    <a:pt x="45" y="596"/>
                    <a:pt x="46" y="594"/>
                    <a:pt x="45" y="592"/>
                  </a:cubicBezTo>
                  <a:cubicBezTo>
                    <a:pt x="43" y="590"/>
                    <a:pt x="41" y="590"/>
                    <a:pt x="39" y="590"/>
                  </a:cubicBezTo>
                  <a:cubicBezTo>
                    <a:pt x="39" y="590"/>
                    <a:pt x="38" y="590"/>
                    <a:pt x="38" y="590"/>
                  </a:cubicBezTo>
                  <a:cubicBezTo>
                    <a:pt x="35" y="590"/>
                    <a:pt x="31" y="590"/>
                    <a:pt x="28" y="592"/>
                  </a:cubicBezTo>
                  <a:cubicBezTo>
                    <a:pt x="26" y="593"/>
                    <a:pt x="26" y="594"/>
                    <a:pt x="25" y="596"/>
                  </a:cubicBezTo>
                  <a:cubicBezTo>
                    <a:pt x="25" y="596"/>
                    <a:pt x="25" y="597"/>
                    <a:pt x="24" y="597"/>
                  </a:cubicBezTo>
                  <a:cubicBezTo>
                    <a:pt x="24" y="598"/>
                    <a:pt x="23" y="598"/>
                    <a:pt x="22" y="599"/>
                  </a:cubicBezTo>
                  <a:cubicBezTo>
                    <a:pt x="20" y="599"/>
                    <a:pt x="18" y="600"/>
                    <a:pt x="16" y="602"/>
                  </a:cubicBezTo>
                  <a:cubicBezTo>
                    <a:pt x="15" y="604"/>
                    <a:pt x="15" y="605"/>
                    <a:pt x="14" y="606"/>
                  </a:cubicBezTo>
                  <a:cubicBezTo>
                    <a:pt x="14" y="606"/>
                    <a:pt x="14" y="606"/>
                    <a:pt x="14" y="606"/>
                  </a:cubicBezTo>
                  <a:cubicBezTo>
                    <a:pt x="14" y="606"/>
                    <a:pt x="12" y="605"/>
                    <a:pt x="11" y="605"/>
                  </a:cubicBezTo>
                  <a:cubicBezTo>
                    <a:pt x="10" y="605"/>
                    <a:pt x="10" y="605"/>
                    <a:pt x="9" y="605"/>
                  </a:cubicBezTo>
                  <a:cubicBezTo>
                    <a:pt x="6" y="606"/>
                    <a:pt x="5" y="609"/>
                    <a:pt x="4" y="611"/>
                  </a:cubicBezTo>
                  <a:cubicBezTo>
                    <a:pt x="0" y="619"/>
                    <a:pt x="2" y="623"/>
                    <a:pt x="4" y="626"/>
                  </a:cubicBezTo>
                  <a:cubicBezTo>
                    <a:pt x="5" y="627"/>
                    <a:pt x="7" y="627"/>
                    <a:pt x="9" y="627"/>
                  </a:cubicBezTo>
                  <a:cubicBezTo>
                    <a:pt x="12" y="627"/>
                    <a:pt x="14" y="626"/>
                    <a:pt x="16" y="626"/>
                  </a:cubicBezTo>
                  <a:cubicBezTo>
                    <a:pt x="17" y="625"/>
                    <a:pt x="18" y="625"/>
                    <a:pt x="19" y="625"/>
                  </a:cubicBezTo>
                  <a:cubicBezTo>
                    <a:pt x="19" y="624"/>
                    <a:pt x="20" y="624"/>
                    <a:pt x="20" y="624"/>
                  </a:cubicBezTo>
                  <a:cubicBezTo>
                    <a:pt x="22" y="624"/>
                    <a:pt x="23" y="625"/>
                    <a:pt x="24" y="625"/>
                  </a:cubicBezTo>
                  <a:cubicBezTo>
                    <a:pt x="25" y="625"/>
                    <a:pt x="27" y="625"/>
                    <a:pt x="28" y="626"/>
                  </a:cubicBezTo>
                  <a:cubicBezTo>
                    <a:pt x="30" y="626"/>
                    <a:pt x="32" y="626"/>
                    <a:pt x="35" y="626"/>
                  </a:cubicBezTo>
                  <a:cubicBezTo>
                    <a:pt x="40" y="626"/>
                    <a:pt x="44" y="626"/>
                    <a:pt x="48" y="625"/>
                  </a:cubicBezTo>
                  <a:cubicBezTo>
                    <a:pt x="52" y="625"/>
                    <a:pt x="55" y="625"/>
                    <a:pt x="58" y="625"/>
                  </a:cubicBezTo>
                  <a:cubicBezTo>
                    <a:pt x="59" y="625"/>
                    <a:pt x="59" y="625"/>
                    <a:pt x="60" y="625"/>
                  </a:cubicBezTo>
                  <a:cubicBezTo>
                    <a:pt x="61" y="625"/>
                    <a:pt x="62" y="625"/>
                    <a:pt x="63" y="625"/>
                  </a:cubicBezTo>
                  <a:cubicBezTo>
                    <a:pt x="64" y="625"/>
                    <a:pt x="65" y="625"/>
                    <a:pt x="66" y="625"/>
                  </a:cubicBezTo>
                  <a:cubicBezTo>
                    <a:pt x="67" y="625"/>
                    <a:pt x="68" y="625"/>
                    <a:pt x="69" y="624"/>
                  </a:cubicBezTo>
                  <a:cubicBezTo>
                    <a:pt x="71" y="624"/>
                    <a:pt x="73" y="624"/>
                    <a:pt x="74" y="624"/>
                  </a:cubicBezTo>
                  <a:cubicBezTo>
                    <a:pt x="77" y="623"/>
                    <a:pt x="79" y="623"/>
                    <a:pt x="81" y="623"/>
                  </a:cubicBezTo>
                  <a:cubicBezTo>
                    <a:pt x="81" y="623"/>
                    <a:pt x="81" y="623"/>
                    <a:pt x="81" y="623"/>
                  </a:cubicBezTo>
                  <a:cubicBezTo>
                    <a:pt x="84" y="623"/>
                    <a:pt x="85" y="623"/>
                    <a:pt x="85" y="623"/>
                  </a:cubicBezTo>
                  <a:cubicBezTo>
                    <a:pt x="85" y="624"/>
                    <a:pt x="83" y="624"/>
                    <a:pt x="79" y="625"/>
                  </a:cubicBezTo>
                  <a:cubicBezTo>
                    <a:pt x="77" y="626"/>
                    <a:pt x="77" y="626"/>
                    <a:pt x="77" y="626"/>
                  </a:cubicBezTo>
                  <a:cubicBezTo>
                    <a:pt x="74" y="626"/>
                    <a:pt x="70" y="627"/>
                    <a:pt x="67" y="630"/>
                  </a:cubicBezTo>
                  <a:cubicBezTo>
                    <a:pt x="66" y="631"/>
                    <a:pt x="65" y="632"/>
                    <a:pt x="64" y="633"/>
                  </a:cubicBezTo>
                  <a:cubicBezTo>
                    <a:pt x="62" y="634"/>
                    <a:pt x="61" y="636"/>
                    <a:pt x="60" y="637"/>
                  </a:cubicBezTo>
                  <a:cubicBezTo>
                    <a:pt x="57" y="639"/>
                    <a:pt x="52" y="639"/>
                    <a:pt x="46" y="640"/>
                  </a:cubicBezTo>
                  <a:cubicBezTo>
                    <a:pt x="38" y="641"/>
                    <a:pt x="28" y="643"/>
                    <a:pt x="24" y="650"/>
                  </a:cubicBezTo>
                  <a:cubicBezTo>
                    <a:pt x="23" y="653"/>
                    <a:pt x="23" y="655"/>
                    <a:pt x="23" y="657"/>
                  </a:cubicBezTo>
                  <a:cubicBezTo>
                    <a:pt x="22" y="656"/>
                    <a:pt x="21" y="655"/>
                    <a:pt x="20" y="655"/>
                  </a:cubicBezTo>
                  <a:cubicBezTo>
                    <a:pt x="18" y="655"/>
                    <a:pt x="16" y="657"/>
                    <a:pt x="14" y="658"/>
                  </a:cubicBezTo>
                  <a:cubicBezTo>
                    <a:pt x="13" y="658"/>
                    <a:pt x="13" y="658"/>
                    <a:pt x="12" y="659"/>
                  </a:cubicBezTo>
                  <a:cubicBezTo>
                    <a:pt x="12" y="659"/>
                    <a:pt x="12" y="659"/>
                    <a:pt x="11" y="659"/>
                  </a:cubicBezTo>
                  <a:cubicBezTo>
                    <a:pt x="10" y="659"/>
                    <a:pt x="8" y="660"/>
                    <a:pt x="7" y="661"/>
                  </a:cubicBezTo>
                  <a:cubicBezTo>
                    <a:pt x="6" y="662"/>
                    <a:pt x="4" y="664"/>
                    <a:pt x="5" y="666"/>
                  </a:cubicBezTo>
                  <a:cubicBezTo>
                    <a:pt x="6" y="667"/>
                    <a:pt x="7" y="668"/>
                    <a:pt x="9" y="668"/>
                  </a:cubicBezTo>
                  <a:cubicBezTo>
                    <a:pt x="9" y="668"/>
                    <a:pt x="10" y="668"/>
                    <a:pt x="10" y="668"/>
                  </a:cubicBezTo>
                  <a:cubicBezTo>
                    <a:pt x="8" y="670"/>
                    <a:pt x="7" y="673"/>
                    <a:pt x="7" y="676"/>
                  </a:cubicBezTo>
                  <a:cubicBezTo>
                    <a:pt x="8" y="676"/>
                    <a:pt x="8" y="678"/>
                    <a:pt x="11" y="679"/>
                  </a:cubicBezTo>
                  <a:cubicBezTo>
                    <a:pt x="11" y="679"/>
                    <a:pt x="11" y="679"/>
                    <a:pt x="10" y="679"/>
                  </a:cubicBezTo>
                  <a:cubicBezTo>
                    <a:pt x="10" y="681"/>
                    <a:pt x="8" y="686"/>
                    <a:pt x="13" y="688"/>
                  </a:cubicBezTo>
                  <a:cubicBezTo>
                    <a:pt x="14" y="689"/>
                    <a:pt x="15" y="689"/>
                    <a:pt x="16" y="689"/>
                  </a:cubicBezTo>
                  <a:cubicBezTo>
                    <a:pt x="19" y="689"/>
                    <a:pt x="22" y="686"/>
                    <a:pt x="24" y="684"/>
                  </a:cubicBezTo>
                  <a:cubicBezTo>
                    <a:pt x="25" y="684"/>
                    <a:pt x="25" y="683"/>
                    <a:pt x="26" y="683"/>
                  </a:cubicBezTo>
                  <a:cubicBezTo>
                    <a:pt x="28" y="681"/>
                    <a:pt x="29" y="681"/>
                    <a:pt x="31" y="681"/>
                  </a:cubicBezTo>
                  <a:cubicBezTo>
                    <a:pt x="32" y="681"/>
                    <a:pt x="33" y="681"/>
                    <a:pt x="34" y="681"/>
                  </a:cubicBezTo>
                  <a:cubicBezTo>
                    <a:pt x="34" y="681"/>
                    <a:pt x="35" y="681"/>
                    <a:pt x="36" y="682"/>
                  </a:cubicBezTo>
                  <a:cubicBezTo>
                    <a:pt x="33" y="682"/>
                    <a:pt x="31" y="684"/>
                    <a:pt x="30" y="686"/>
                  </a:cubicBezTo>
                  <a:cubicBezTo>
                    <a:pt x="29" y="687"/>
                    <a:pt x="29" y="690"/>
                    <a:pt x="31" y="693"/>
                  </a:cubicBezTo>
                  <a:cubicBezTo>
                    <a:pt x="33" y="696"/>
                    <a:pt x="37" y="698"/>
                    <a:pt x="42" y="698"/>
                  </a:cubicBezTo>
                  <a:cubicBezTo>
                    <a:pt x="44" y="698"/>
                    <a:pt x="46" y="698"/>
                    <a:pt x="49" y="697"/>
                  </a:cubicBezTo>
                  <a:cubicBezTo>
                    <a:pt x="50" y="696"/>
                    <a:pt x="51" y="696"/>
                    <a:pt x="52" y="695"/>
                  </a:cubicBezTo>
                  <a:cubicBezTo>
                    <a:pt x="57" y="694"/>
                    <a:pt x="61" y="692"/>
                    <a:pt x="67" y="691"/>
                  </a:cubicBezTo>
                  <a:cubicBezTo>
                    <a:pt x="73" y="690"/>
                    <a:pt x="78" y="688"/>
                    <a:pt x="84" y="685"/>
                  </a:cubicBezTo>
                  <a:cubicBezTo>
                    <a:pt x="84" y="685"/>
                    <a:pt x="84" y="685"/>
                    <a:pt x="84" y="685"/>
                  </a:cubicBezTo>
                  <a:cubicBezTo>
                    <a:pt x="87" y="683"/>
                    <a:pt x="92" y="681"/>
                    <a:pt x="96" y="680"/>
                  </a:cubicBezTo>
                  <a:cubicBezTo>
                    <a:pt x="95" y="680"/>
                    <a:pt x="94" y="681"/>
                    <a:pt x="94" y="681"/>
                  </a:cubicBezTo>
                  <a:cubicBezTo>
                    <a:pt x="93" y="681"/>
                    <a:pt x="93" y="681"/>
                    <a:pt x="92" y="681"/>
                  </a:cubicBezTo>
                  <a:cubicBezTo>
                    <a:pt x="87" y="684"/>
                    <a:pt x="83" y="687"/>
                    <a:pt x="79" y="690"/>
                  </a:cubicBezTo>
                  <a:cubicBezTo>
                    <a:pt x="78" y="691"/>
                    <a:pt x="77" y="692"/>
                    <a:pt x="76" y="692"/>
                  </a:cubicBezTo>
                  <a:cubicBezTo>
                    <a:pt x="73" y="695"/>
                    <a:pt x="70" y="696"/>
                    <a:pt x="67" y="696"/>
                  </a:cubicBezTo>
                  <a:cubicBezTo>
                    <a:pt x="65" y="697"/>
                    <a:pt x="65" y="697"/>
                    <a:pt x="65" y="697"/>
                  </a:cubicBezTo>
                  <a:cubicBezTo>
                    <a:pt x="62" y="697"/>
                    <a:pt x="58" y="698"/>
                    <a:pt x="56" y="702"/>
                  </a:cubicBezTo>
                  <a:cubicBezTo>
                    <a:pt x="55" y="704"/>
                    <a:pt x="54" y="706"/>
                    <a:pt x="54" y="707"/>
                  </a:cubicBezTo>
                  <a:cubicBezTo>
                    <a:pt x="54" y="707"/>
                    <a:pt x="54" y="707"/>
                    <a:pt x="54" y="708"/>
                  </a:cubicBezTo>
                  <a:cubicBezTo>
                    <a:pt x="54" y="708"/>
                    <a:pt x="54" y="708"/>
                    <a:pt x="53" y="708"/>
                  </a:cubicBezTo>
                  <a:cubicBezTo>
                    <a:pt x="52" y="708"/>
                    <a:pt x="52" y="708"/>
                    <a:pt x="52" y="708"/>
                  </a:cubicBezTo>
                  <a:cubicBezTo>
                    <a:pt x="51" y="708"/>
                    <a:pt x="51" y="708"/>
                    <a:pt x="50" y="708"/>
                  </a:cubicBezTo>
                  <a:cubicBezTo>
                    <a:pt x="49" y="708"/>
                    <a:pt x="48" y="708"/>
                    <a:pt x="46" y="708"/>
                  </a:cubicBezTo>
                  <a:cubicBezTo>
                    <a:pt x="44" y="710"/>
                    <a:pt x="43" y="712"/>
                    <a:pt x="44" y="713"/>
                  </a:cubicBezTo>
                  <a:cubicBezTo>
                    <a:pt x="44" y="714"/>
                    <a:pt x="44" y="714"/>
                    <a:pt x="43" y="714"/>
                  </a:cubicBezTo>
                  <a:cubicBezTo>
                    <a:pt x="43" y="715"/>
                    <a:pt x="42" y="716"/>
                    <a:pt x="41" y="716"/>
                  </a:cubicBezTo>
                  <a:cubicBezTo>
                    <a:pt x="39" y="718"/>
                    <a:pt x="36" y="720"/>
                    <a:pt x="36" y="723"/>
                  </a:cubicBezTo>
                  <a:cubicBezTo>
                    <a:pt x="36" y="724"/>
                    <a:pt x="37" y="725"/>
                    <a:pt x="38" y="727"/>
                  </a:cubicBezTo>
                  <a:cubicBezTo>
                    <a:pt x="39" y="728"/>
                    <a:pt x="41" y="728"/>
                    <a:pt x="43" y="728"/>
                  </a:cubicBezTo>
                  <a:cubicBezTo>
                    <a:pt x="45" y="728"/>
                    <a:pt x="47" y="728"/>
                    <a:pt x="48" y="727"/>
                  </a:cubicBezTo>
                  <a:cubicBezTo>
                    <a:pt x="49" y="727"/>
                    <a:pt x="50" y="727"/>
                    <a:pt x="50" y="727"/>
                  </a:cubicBezTo>
                  <a:cubicBezTo>
                    <a:pt x="56" y="726"/>
                    <a:pt x="61" y="724"/>
                    <a:pt x="67" y="722"/>
                  </a:cubicBezTo>
                  <a:cubicBezTo>
                    <a:pt x="71" y="720"/>
                    <a:pt x="77" y="720"/>
                    <a:pt x="82" y="720"/>
                  </a:cubicBezTo>
                  <a:cubicBezTo>
                    <a:pt x="88" y="720"/>
                    <a:pt x="94" y="720"/>
                    <a:pt x="100" y="717"/>
                  </a:cubicBezTo>
                  <a:cubicBezTo>
                    <a:pt x="103" y="716"/>
                    <a:pt x="105" y="713"/>
                    <a:pt x="107" y="711"/>
                  </a:cubicBezTo>
                  <a:cubicBezTo>
                    <a:pt x="109" y="709"/>
                    <a:pt x="110" y="708"/>
                    <a:pt x="111" y="707"/>
                  </a:cubicBezTo>
                  <a:cubicBezTo>
                    <a:pt x="112" y="708"/>
                    <a:pt x="114" y="709"/>
                    <a:pt x="115" y="710"/>
                  </a:cubicBezTo>
                  <a:cubicBezTo>
                    <a:pt x="116" y="711"/>
                    <a:pt x="117" y="712"/>
                    <a:pt x="118" y="713"/>
                  </a:cubicBezTo>
                  <a:cubicBezTo>
                    <a:pt x="118" y="714"/>
                    <a:pt x="114" y="715"/>
                    <a:pt x="113" y="715"/>
                  </a:cubicBezTo>
                  <a:cubicBezTo>
                    <a:pt x="113" y="715"/>
                    <a:pt x="112" y="715"/>
                    <a:pt x="112" y="716"/>
                  </a:cubicBezTo>
                  <a:cubicBezTo>
                    <a:pt x="109" y="716"/>
                    <a:pt x="107" y="717"/>
                    <a:pt x="105" y="718"/>
                  </a:cubicBezTo>
                  <a:cubicBezTo>
                    <a:pt x="99" y="720"/>
                    <a:pt x="93" y="722"/>
                    <a:pt x="87" y="724"/>
                  </a:cubicBezTo>
                  <a:cubicBezTo>
                    <a:pt x="85" y="726"/>
                    <a:pt x="72" y="733"/>
                    <a:pt x="70" y="740"/>
                  </a:cubicBezTo>
                  <a:cubicBezTo>
                    <a:pt x="69" y="743"/>
                    <a:pt x="69" y="743"/>
                    <a:pt x="69" y="743"/>
                  </a:cubicBezTo>
                  <a:cubicBezTo>
                    <a:pt x="72" y="744"/>
                    <a:pt x="72" y="744"/>
                    <a:pt x="72" y="744"/>
                  </a:cubicBezTo>
                  <a:cubicBezTo>
                    <a:pt x="72" y="744"/>
                    <a:pt x="73" y="744"/>
                    <a:pt x="73" y="744"/>
                  </a:cubicBezTo>
                  <a:cubicBezTo>
                    <a:pt x="76" y="744"/>
                    <a:pt x="79" y="742"/>
                    <a:pt x="81" y="741"/>
                  </a:cubicBezTo>
                  <a:cubicBezTo>
                    <a:pt x="81" y="741"/>
                    <a:pt x="82" y="740"/>
                    <a:pt x="83" y="740"/>
                  </a:cubicBezTo>
                  <a:cubicBezTo>
                    <a:pt x="85" y="739"/>
                    <a:pt x="86" y="739"/>
                    <a:pt x="88" y="738"/>
                  </a:cubicBezTo>
                  <a:cubicBezTo>
                    <a:pt x="89" y="738"/>
                    <a:pt x="91" y="737"/>
                    <a:pt x="92" y="737"/>
                  </a:cubicBezTo>
                  <a:cubicBezTo>
                    <a:pt x="93" y="737"/>
                    <a:pt x="94" y="736"/>
                    <a:pt x="95" y="736"/>
                  </a:cubicBezTo>
                  <a:cubicBezTo>
                    <a:pt x="93" y="737"/>
                    <a:pt x="91" y="739"/>
                    <a:pt x="89" y="740"/>
                  </a:cubicBezTo>
                  <a:cubicBezTo>
                    <a:pt x="88" y="740"/>
                    <a:pt x="87" y="740"/>
                    <a:pt x="85" y="741"/>
                  </a:cubicBezTo>
                  <a:cubicBezTo>
                    <a:pt x="78" y="743"/>
                    <a:pt x="69" y="746"/>
                    <a:pt x="69" y="754"/>
                  </a:cubicBezTo>
                  <a:cubicBezTo>
                    <a:pt x="69" y="758"/>
                    <a:pt x="73" y="761"/>
                    <a:pt x="79" y="761"/>
                  </a:cubicBezTo>
                  <a:cubicBezTo>
                    <a:pt x="80" y="761"/>
                    <a:pt x="80" y="760"/>
                    <a:pt x="81" y="760"/>
                  </a:cubicBezTo>
                  <a:cubicBezTo>
                    <a:pt x="85" y="760"/>
                    <a:pt x="87" y="758"/>
                    <a:pt x="89" y="755"/>
                  </a:cubicBezTo>
                  <a:cubicBezTo>
                    <a:pt x="90" y="755"/>
                    <a:pt x="90" y="754"/>
                    <a:pt x="91" y="754"/>
                  </a:cubicBezTo>
                  <a:cubicBezTo>
                    <a:pt x="92" y="752"/>
                    <a:pt x="93" y="752"/>
                    <a:pt x="95" y="752"/>
                  </a:cubicBezTo>
                  <a:cubicBezTo>
                    <a:pt x="96" y="752"/>
                    <a:pt x="97" y="752"/>
                    <a:pt x="99" y="752"/>
                  </a:cubicBezTo>
                  <a:cubicBezTo>
                    <a:pt x="100" y="753"/>
                    <a:pt x="102" y="753"/>
                    <a:pt x="104" y="753"/>
                  </a:cubicBezTo>
                  <a:cubicBezTo>
                    <a:pt x="106" y="753"/>
                    <a:pt x="108" y="753"/>
                    <a:pt x="110" y="751"/>
                  </a:cubicBezTo>
                  <a:cubicBezTo>
                    <a:pt x="112" y="751"/>
                    <a:pt x="113" y="750"/>
                    <a:pt x="114" y="749"/>
                  </a:cubicBezTo>
                  <a:cubicBezTo>
                    <a:pt x="117" y="747"/>
                    <a:pt x="119" y="745"/>
                    <a:pt x="121" y="745"/>
                  </a:cubicBezTo>
                  <a:cubicBezTo>
                    <a:pt x="121" y="745"/>
                    <a:pt x="121" y="745"/>
                    <a:pt x="121" y="745"/>
                  </a:cubicBezTo>
                  <a:cubicBezTo>
                    <a:pt x="121" y="746"/>
                    <a:pt x="120" y="747"/>
                    <a:pt x="119" y="748"/>
                  </a:cubicBezTo>
                  <a:cubicBezTo>
                    <a:pt x="117" y="751"/>
                    <a:pt x="117" y="751"/>
                    <a:pt x="117" y="751"/>
                  </a:cubicBezTo>
                  <a:cubicBezTo>
                    <a:pt x="120" y="752"/>
                    <a:pt x="120" y="752"/>
                    <a:pt x="120" y="752"/>
                  </a:cubicBezTo>
                  <a:cubicBezTo>
                    <a:pt x="121" y="753"/>
                    <a:pt x="122" y="754"/>
                    <a:pt x="123" y="756"/>
                  </a:cubicBezTo>
                  <a:cubicBezTo>
                    <a:pt x="124" y="758"/>
                    <a:pt x="126" y="761"/>
                    <a:pt x="130" y="761"/>
                  </a:cubicBezTo>
                  <a:cubicBezTo>
                    <a:pt x="130" y="761"/>
                    <a:pt x="131" y="761"/>
                    <a:pt x="132" y="761"/>
                  </a:cubicBezTo>
                  <a:cubicBezTo>
                    <a:pt x="134" y="760"/>
                    <a:pt x="135" y="759"/>
                    <a:pt x="137" y="758"/>
                  </a:cubicBezTo>
                  <a:cubicBezTo>
                    <a:pt x="138" y="758"/>
                    <a:pt x="139" y="757"/>
                    <a:pt x="140" y="757"/>
                  </a:cubicBezTo>
                  <a:cubicBezTo>
                    <a:pt x="140" y="756"/>
                    <a:pt x="141" y="756"/>
                    <a:pt x="142" y="756"/>
                  </a:cubicBezTo>
                  <a:cubicBezTo>
                    <a:pt x="143" y="756"/>
                    <a:pt x="143" y="756"/>
                    <a:pt x="144" y="756"/>
                  </a:cubicBezTo>
                  <a:cubicBezTo>
                    <a:pt x="145" y="756"/>
                    <a:pt x="145" y="756"/>
                    <a:pt x="146" y="756"/>
                  </a:cubicBezTo>
                  <a:cubicBezTo>
                    <a:pt x="147" y="756"/>
                    <a:pt x="148" y="756"/>
                    <a:pt x="150" y="756"/>
                  </a:cubicBezTo>
                  <a:cubicBezTo>
                    <a:pt x="152" y="755"/>
                    <a:pt x="155" y="754"/>
                    <a:pt x="157" y="753"/>
                  </a:cubicBezTo>
                  <a:cubicBezTo>
                    <a:pt x="159" y="753"/>
                    <a:pt x="161" y="752"/>
                    <a:pt x="163" y="751"/>
                  </a:cubicBezTo>
                  <a:cubicBezTo>
                    <a:pt x="165" y="750"/>
                    <a:pt x="165" y="750"/>
                    <a:pt x="165" y="750"/>
                  </a:cubicBezTo>
                  <a:cubicBezTo>
                    <a:pt x="165" y="748"/>
                    <a:pt x="165" y="748"/>
                    <a:pt x="165" y="748"/>
                  </a:cubicBezTo>
                  <a:cubicBezTo>
                    <a:pt x="165" y="747"/>
                    <a:pt x="165" y="747"/>
                    <a:pt x="165" y="747"/>
                  </a:cubicBezTo>
                  <a:cubicBezTo>
                    <a:pt x="165" y="747"/>
                    <a:pt x="166" y="746"/>
                    <a:pt x="169" y="746"/>
                  </a:cubicBezTo>
                  <a:cubicBezTo>
                    <a:pt x="172" y="746"/>
                    <a:pt x="176" y="747"/>
                    <a:pt x="177" y="748"/>
                  </a:cubicBezTo>
                  <a:cubicBezTo>
                    <a:pt x="177" y="748"/>
                    <a:pt x="178" y="748"/>
                    <a:pt x="178" y="749"/>
                  </a:cubicBezTo>
                  <a:cubicBezTo>
                    <a:pt x="179" y="750"/>
                    <a:pt x="180" y="750"/>
                    <a:pt x="182" y="750"/>
                  </a:cubicBezTo>
                  <a:cubicBezTo>
                    <a:pt x="183" y="750"/>
                    <a:pt x="184" y="750"/>
                    <a:pt x="186" y="749"/>
                  </a:cubicBezTo>
                  <a:cubicBezTo>
                    <a:pt x="186" y="748"/>
                    <a:pt x="186" y="748"/>
                    <a:pt x="186" y="748"/>
                  </a:cubicBezTo>
                  <a:cubicBezTo>
                    <a:pt x="187" y="747"/>
                    <a:pt x="189" y="747"/>
                    <a:pt x="190" y="746"/>
                  </a:cubicBezTo>
                  <a:cubicBezTo>
                    <a:pt x="192" y="746"/>
                    <a:pt x="194" y="745"/>
                    <a:pt x="195" y="744"/>
                  </a:cubicBezTo>
                  <a:cubicBezTo>
                    <a:pt x="196" y="743"/>
                    <a:pt x="196" y="743"/>
                    <a:pt x="196" y="743"/>
                  </a:cubicBezTo>
                  <a:cubicBezTo>
                    <a:pt x="197" y="743"/>
                    <a:pt x="198" y="742"/>
                    <a:pt x="198" y="742"/>
                  </a:cubicBezTo>
                  <a:cubicBezTo>
                    <a:pt x="199" y="742"/>
                    <a:pt x="200" y="742"/>
                    <a:pt x="201" y="743"/>
                  </a:cubicBezTo>
                  <a:cubicBezTo>
                    <a:pt x="203" y="744"/>
                    <a:pt x="206" y="746"/>
                    <a:pt x="210" y="746"/>
                  </a:cubicBezTo>
                  <a:cubicBezTo>
                    <a:pt x="211" y="746"/>
                    <a:pt x="213" y="745"/>
                    <a:pt x="214" y="745"/>
                  </a:cubicBezTo>
                  <a:cubicBezTo>
                    <a:pt x="216" y="743"/>
                    <a:pt x="216" y="742"/>
                    <a:pt x="216" y="741"/>
                  </a:cubicBezTo>
                  <a:cubicBezTo>
                    <a:pt x="217" y="738"/>
                    <a:pt x="215" y="735"/>
                    <a:pt x="212" y="733"/>
                  </a:cubicBezTo>
                  <a:cubicBezTo>
                    <a:pt x="212" y="732"/>
                    <a:pt x="212" y="732"/>
                    <a:pt x="211" y="732"/>
                  </a:cubicBezTo>
                  <a:cubicBezTo>
                    <a:pt x="211" y="732"/>
                    <a:pt x="211" y="732"/>
                    <a:pt x="212" y="732"/>
                  </a:cubicBezTo>
                  <a:cubicBezTo>
                    <a:pt x="212" y="732"/>
                    <a:pt x="213" y="733"/>
                    <a:pt x="214" y="733"/>
                  </a:cubicBezTo>
                  <a:cubicBezTo>
                    <a:pt x="216" y="733"/>
                    <a:pt x="217" y="733"/>
                    <a:pt x="218" y="733"/>
                  </a:cubicBezTo>
                  <a:cubicBezTo>
                    <a:pt x="219" y="733"/>
                    <a:pt x="219" y="733"/>
                    <a:pt x="220" y="733"/>
                  </a:cubicBezTo>
                  <a:cubicBezTo>
                    <a:pt x="221" y="733"/>
                    <a:pt x="222" y="734"/>
                    <a:pt x="223" y="735"/>
                  </a:cubicBezTo>
                  <a:cubicBezTo>
                    <a:pt x="225" y="736"/>
                    <a:pt x="227" y="737"/>
                    <a:pt x="230" y="737"/>
                  </a:cubicBezTo>
                  <a:cubicBezTo>
                    <a:pt x="230" y="737"/>
                    <a:pt x="231" y="737"/>
                    <a:pt x="231" y="737"/>
                  </a:cubicBezTo>
                  <a:cubicBezTo>
                    <a:pt x="233" y="737"/>
                    <a:pt x="233" y="737"/>
                    <a:pt x="233" y="737"/>
                  </a:cubicBezTo>
                  <a:cubicBezTo>
                    <a:pt x="233" y="735"/>
                    <a:pt x="233" y="735"/>
                    <a:pt x="233" y="735"/>
                  </a:cubicBezTo>
                  <a:cubicBezTo>
                    <a:pt x="234" y="730"/>
                    <a:pt x="235" y="728"/>
                    <a:pt x="237" y="727"/>
                  </a:cubicBezTo>
                  <a:cubicBezTo>
                    <a:pt x="238" y="726"/>
                    <a:pt x="239" y="726"/>
                    <a:pt x="241" y="726"/>
                  </a:cubicBezTo>
                  <a:cubicBezTo>
                    <a:pt x="243" y="725"/>
                    <a:pt x="246" y="725"/>
                    <a:pt x="248" y="723"/>
                  </a:cubicBezTo>
                  <a:cubicBezTo>
                    <a:pt x="250" y="722"/>
                    <a:pt x="252" y="720"/>
                    <a:pt x="254" y="719"/>
                  </a:cubicBezTo>
                  <a:cubicBezTo>
                    <a:pt x="255" y="718"/>
                    <a:pt x="256" y="717"/>
                    <a:pt x="257" y="716"/>
                  </a:cubicBezTo>
                  <a:cubicBezTo>
                    <a:pt x="259" y="715"/>
                    <a:pt x="260" y="714"/>
                    <a:pt x="262" y="713"/>
                  </a:cubicBezTo>
                  <a:cubicBezTo>
                    <a:pt x="266" y="711"/>
                    <a:pt x="267" y="698"/>
                    <a:pt x="264" y="695"/>
                  </a:cubicBezTo>
                  <a:cubicBezTo>
                    <a:pt x="263" y="692"/>
                    <a:pt x="261" y="692"/>
                    <a:pt x="260" y="691"/>
                  </a:cubicBezTo>
                  <a:cubicBezTo>
                    <a:pt x="259" y="691"/>
                    <a:pt x="259" y="691"/>
                    <a:pt x="259" y="691"/>
                  </a:cubicBezTo>
                  <a:cubicBezTo>
                    <a:pt x="258" y="690"/>
                    <a:pt x="258" y="690"/>
                    <a:pt x="257" y="689"/>
                  </a:cubicBezTo>
                  <a:cubicBezTo>
                    <a:pt x="257" y="688"/>
                    <a:pt x="256" y="687"/>
                    <a:pt x="256" y="687"/>
                  </a:cubicBezTo>
                  <a:cubicBezTo>
                    <a:pt x="255" y="686"/>
                    <a:pt x="255" y="686"/>
                    <a:pt x="255" y="686"/>
                  </a:cubicBezTo>
                  <a:cubicBezTo>
                    <a:pt x="254" y="685"/>
                    <a:pt x="254" y="685"/>
                    <a:pt x="253" y="684"/>
                  </a:cubicBezTo>
                  <a:cubicBezTo>
                    <a:pt x="254" y="684"/>
                    <a:pt x="257" y="686"/>
                    <a:pt x="260" y="688"/>
                  </a:cubicBezTo>
                  <a:cubicBezTo>
                    <a:pt x="260" y="688"/>
                    <a:pt x="262" y="689"/>
                    <a:pt x="262" y="689"/>
                  </a:cubicBezTo>
                  <a:cubicBezTo>
                    <a:pt x="265" y="691"/>
                    <a:pt x="267" y="692"/>
                    <a:pt x="269" y="693"/>
                  </a:cubicBezTo>
                  <a:cubicBezTo>
                    <a:pt x="268" y="693"/>
                    <a:pt x="268" y="694"/>
                    <a:pt x="267" y="696"/>
                  </a:cubicBezTo>
                  <a:cubicBezTo>
                    <a:pt x="267" y="698"/>
                    <a:pt x="267" y="700"/>
                    <a:pt x="269" y="702"/>
                  </a:cubicBezTo>
                  <a:cubicBezTo>
                    <a:pt x="270" y="704"/>
                    <a:pt x="272" y="705"/>
                    <a:pt x="274" y="705"/>
                  </a:cubicBezTo>
                  <a:cubicBezTo>
                    <a:pt x="275" y="705"/>
                    <a:pt x="275" y="705"/>
                    <a:pt x="275" y="705"/>
                  </a:cubicBezTo>
                  <a:cubicBezTo>
                    <a:pt x="277" y="705"/>
                    <a:pt x="279" y="704"/>
                    <a:pt x="281" y="703"/>
                  </a:cubicBezTo>
                  <a:cubicBezTo>
                    <a:pt x="282" y="703"/>
                    <a:pt x="282" y="702"/>
                    <a:pt x="283" y="702"/>
                  </a:cubicBezTo>
                  <a:cubicBezTo>
                    <a:pt x="284" y="702"/>
                    <a:pt x="284" y="702"/>
                    <a:pt x="285" y="702"/>
                  </a:cubicBezTo>
                  <a:cubicBezTo>
                    <a:pt x="285" y="702"/>
                    <a:pt x="286" y="702"/>
                    <a:pt x="287" y="702"/>
                  </a:cubicBezTo>
                  <a:cubicBezTo>
                    <a:pt x="287" y="702"/>
                    <a:pt x="288" y="702"/>
                    <a:pt x="289" y="702"/>
                  </a:cubicBezTo>
                  <a:cubicBezTo>
                    <a:pt x="291" y="702"/>
                    <a:pt x="292" y="702"/>
                    <a:pt x="294" y="701"/>
                  </a:cubicBezTo>
                  <a:cubicBezTo>
                    <a:pt x="296" y="700"/>
                    <a:pt x="298" y="698"/>
                    <a:pt x="299" y="696"/>
                  </a:cubicBezTo>
                  <a:cubicBezTo>
                    <a:pt x="300" y="695"/>
                    <a:pt x="300" y="695"/>
                    <a:pt x="301" y="694"/>
                  </a:cubicBezTo>
                  <a:cubicBezTo>
                    <a:pt x="302" y="692"/>
                    <a:pt x="303" y="692"/>
                    <a:pt x="306" y="692"/>
                  </a:cubicBezTo>
                  <a:cubicBezTo>
                    <a:pt x="306" y="692"/>
                    <a:pt x="307" y="692"/>
                    <a:pt x="308" y="692"/>
                  </a:cubicBezTo>
                  <a:cubicBezTo>
                    <a:pt x="313" y="691"/>
                    <a:pt x="314" y="689"/>
                    <a:pt x="314" y="685"/>
                  </a:cubicBezTo>
                  <a:cubicBezTo>
                    <a:pt x="314" y="685"/>
                    <a:pt x="314" y="684"/>
                    <a:pt x="314" y="683"/>
                  </a:cubicBezTo>
                  <a:cubicBezTo>
                    <a:pt x="314" y="682"/>
                    <a:pt x="317" y="678"/>
                    <a:pt x="319" y="677"/>
                  </a:cubicBezTo>
                  <a:cubicBezTo>
                    <a:pt x="319" y="676"/>
                    <a:pt x="320" y="676"/>
                    <a:pt x="320" y="676"/>
                  </a:cubicBezTo>
                  <a:cubicBezTo>
                    <a:pt x="322" y="676"/>
                    <a:pt x="323" y="676"/>
                    <a:pt x="324" y="677"/>
                  </a:cubicBezTo>
                  <a:cubicBezTo>
                    <a:pt x="326" y="678"/>
                    <a:pt x="328" y="678"/>
                    <a:pt x="330" y="678"/>
                  </a:cubicBezTo>
                  <a:cubicBezTo>
                    <a:pt x="332" y="678"/>
                    <a:pt x="334" y="678"/>
                    <a:pt x="335" y="677"/>
                  </a:cubicBezTo>
                  <a:cubicBezTo>
                    <a:pt x="336" y="676"/>
                    <a:pt x="337" y="675"/>
                    <a:pt x="338" y="674"/>
                  </a:cubicBezTo>
                  <a:cubicBezTo>
                    <a:pt x="338" y="673"/>
                    <a:pt x="338" y="673"/>
                    <a:pt x="339" y="672"/>
                  </a:cubicBezTo>
                  <a:cubicBezTo>
                    <a:pt x="340" y="672"/>
                    <a:pt x="341" y="672"/>
                    <a:pt x="342" y="672"/>
                  </a:cubicBezTo>
                  <a:cubicBezTo>
                    <a:pt x="346" y="671"/>
                    <a:pt x="351" y="670"/>
                    <a:pt x="353" y="667"/>
                  </a:cubicBezTo>
                  <a:cubicBezTo>
                    <a:pt x="354" y="665"/>
                    <a:pt x="354" y="664"/>
                    <a:pt x="355" y="663"/>
                  </a:cubicBezTo>
                  <a:cubicBezTo>
                    <a:pt x="355" y="662"/>
                    <a:pt x="355" y="661"/>
                    <a:pt x="356" y="660"/>
                  </a:cubicBezTo>
                  <a:cubicBezTo>
                    <a:pt x="356" y="660"/>
                    <a:pt x="356" y="660"/>
                    <a:pt x="357" y="659"/>
                  </a:cubicBezTo>
                  <a:cubicBezTo>
                    <a:pt x="357" y="658"/>
                    <a:pt x="359" y="657"/>
                    <a:pt x="358" y="655"/>
                  </a:cubicBezTo>
                  <a:cubicBezTo>
                    <a:pt x="358" y="653"/>
                    <a:pt x="356" y="652"/>
                    <a:pt x="356" y="651"/>
                  </a:cubicBezTo>
                  <a:cubicBezTo>
                    <a:pt x="354" y="650"/>
                    <a:pt x="353" y="650"/>
                    <a:pt x="351" y="650"/>
                  </a:cubicBezTo>
                  <a:cubicBezTo>
                    <a:pt x="351" y="650"/>
                    <a:pt x="351" y="650"/>
                    <a:pt x="351" y="650"/>
                  </a:cubicBezTo>
                  <a:cubicBezTo>
                    <a:pt x="351" y="650"/>
                    <a:pt x="350" y="650"/>
                    <a:pt x="350" y="650"/>
                  </a:cubicBezTo>
                  <a:cubicBezTo>
                    <a:pt x="350" y="650"/>
                    <a:pt x="351" y="649"/>
                    <a:pt x="352" y="649"/>
                  </a:cubicBezTo>
                  <a:cubicBezTo>
                    <a:pt x="352" y="649"/>
                    <a:pt x="352" y="649"/>
                    <a:pt x="353" y="649"/>
                  </a:cubicBezTo>
                  <a:cubicBezTo>
                    <a:pt x="353" y="649"/>
                    <a:pt x="354" y="649"/>
                    <a:pt x="354" y="649"/>
                  </a:cubicBezTo>
                  <a:cubicBezTo>
                    <a:pt x="355" y="650"/>
                    <a:pt x="356" y="650"/>
                    <a:pt x="357" y="650"/>
                  </a:cubicBezTo>
                  <a:cubicBezTo>
                    <a:pt x="358" y="650"/>
                    <a:pt x="358" y="650"/>
                    <a:pt x="359" y="650"/>
                  </a:cubicBezTo>
                  <a:cubicBezTo>
                    <a:pt x="361" y="649"/>
                    <a:pt x="362" y="648"/>
                    <a:pt x="364" y="648"/>
                  </a:cubicBezTo>
                  <a:cubicBezTo>
                    <a:pt x="366" y="647"/>
                    <a:pt x="367" y="646"/>
                    <a:pt x="368" y="646"/>
                  </a:cubicBezTo>
                  <a:cubicBezTo>
                    <a:pt x="369" y="646"/>
                    <a:pt x="371" y="646"/>
                    <a:pt x="372" y="646"/>
                  </a:cubicBezTo>
                  <a:cubicBezTo>
                    <a:pt x="376" y="645"/>
                    <a:pt x="380" y="644"/>
                    <a:pt x="384" y="644"/>
                  </a:cubicBezTo>
                  <a:cubicBezTo>
                    <a:pt x="384" y="644"/>
                    <a:pt x="384" y="644"/>
                    <a:pt x="384" y="644"/>
                  </a:cubicBezTo>
                  <a:cubicBezTo>
                    <a:pt x="387" y="644"/>
                    <a:pt x="390" y="644"/>
                    <a:pt x="392" y="644"/>
                  </a:cubicBezTo>
                  <a:cubicBezTo>
                    <a:pt x="395" y="644"/>
                    <a:pt x="398" y="644"/>
                    <a:pt x="400" y="644"/>
                  </a:cubicBezTo>
                  <a:cubicBezTo>
                    <a:pt x="403" y="644"/>
                    <a:pt x="405" y="643"/>
                    <a:pt x="407" y="642"/>
                  </a:cubicBezTo>
                  <a:cubicBezTo>
                    <a:pt x="408" y="641"/>
                    <a:pt x="409" y="641"/>
                    <a:pt x="410" y="641"/>
                  </a:cubicBezTo>
                  <a:cubicBezTo>
                    <a:pt x="411" y="641"/>
                    <a:pt x="411" y="641"/>
                    <a:pt x="412" y="641"/>
                  </a:cubicBezTo>
                  <a:cubicBezTo>
                    <a:pt x="414" y="643"/>
                    <a:pt x="417" y="643"/>
                    <a:pt x="419" y="643"/>
                  </a:cubicBezTo>
                  <a:cubicBezTo>
                    <a:pt x="425" y="643"/>
                    <a:pt x="428" y="641"/>
                    <a:pt x="430" y="636"/>
                  </a:cubicBezTo>
                  <a:cubicBezTo>
                    <a:pt x="430" y="634"/>
                    <a:pt x="430" y="632"/>
                    <a:pt x="430" y="630"/>
                  </a:cubicBezTo>
                  <a:cubicBezTo>
                    <a:pt x="430" y="630"/>
                    <a:pt x="430" y="630"/>
                    <a:pt x="430" y="630"/>
                  </a:cubicBezTo>
                  <a:cubicBezTo>
                    <a:pt x="431" y="633"/>
                    <a:pt x="430" y="636"/>
                    <a:pt x="429" y="639"/>
                  </a:cubicBezTo>
                  <a:cubicBezTo>
                    <a:pt x="427" y="643"/>
                    <a:pt x="427" y="643"/>
                    <a:pt x="427" y="643"/>
                  </a:cubicBezTo>
                  <a:cubicBezTo>
                    <a:pt x="430" y="644"/>
                    <a:pt x="430" y="644"/>
                    <a:pt x="430" y="644"/>
                  </a:cubicBezTo>
                  <a:cubicBezTo>
                    <a:pt x="431" y="644"/>
                    <a:pt x="432" y="644"/>
                    <a:pt x="433" y="644"/>
                  </a:cubicBezTo>
                  <a:cubicBezTo>
                    <a:pt x="440" y="644"/>
                    <a:pt x="446" y="635"/>
                    <a:pt x="447" y="630"/>
                  </a:cubicBezTo>
                  <a:cubicBezTo>
                    <a:pt x="447" y="629"/>
                    <a:pt x="447" y="629"/>
                    <a:pt x="447" y="629"/>
                  </a:cubicBezTo>
                  <a:cubicBezTo>
                    <a:pt x="447" y="628"/>
                    <a:pt x="448" y="626"/>
                    <a:pt x="449" y="626"/>
                  </a:cubicBezTo>
                  <a:cubicBezTo>
                    <a:pt x="449" y="626"/>
                    <a:pt x="449" y="626"/>
                    <a:pt x="449" y="626"/>
                  </a:cubicBezTo>
                  <a:cubicBezTo>
                    <a:pt x="449" y="626"/>
                    <a:pt x="449" y="626"/>
                    <a:pt x="450" y="627"/>
                  </a:cubicBezTo>
                  <a:cubicBezTo>
                    <a:pt x="450" y="628"/>
                    <a:pt x="451" y="630"/>
                    <a:pt x="454" y="630"/>
                  </a:cubicBezTo>
                  <a:cubicBezTo>
                    <a:pt x="455" y="631"/>
                    <a:pt x="456" y="631"/>
                    <a:pt x="457" y="631"/>
                  </a:cubicBezTo>
                  <a:cubicBezTo>
                    <a:pt x="458" y="631"/>
                    <a:pt x="459" y="631"/>
                    <a:pt x="460" y="630"/>
                  </a:cubicBezTo>
                  <a:cubicBezTo>
                    <a:pt x="461" y="630"/>
                    <a:pt x="462" y="630"/>
                    <a:pt x="462" y="630"/>
                  </a:cubicBezTo>
                  <a:cubicBezTo>
                    <a:pt x="463" y="630"/>
                    <a:pt x="464" y="630"/>
                    <a:pt x="464" y="630"/>
                  </a:cubicBezTo>
                  <a:cubicBezTo>
                    <a:pt x="465" y="631"/>
                    <a:pt x="466" y="632"/>
                    <a:pt x="467" y="633"/>
                  </a:cubicBezTo>
                  <a:cubicBezTo>
                    <a:pt x="468" y="634"/>
                    <a:pt x="469" y="636"/>
                    <a:pt x="472" y="637"/>
                  </a:cubicBezTo>
                  <a:cubicBezTo>
                    <a:pt x="473" y="637"/>
                    <a:pt x="474" y="637"/>
                    <a:pt x="475" y="637"/>
                  </a:cubicBezTo>
                  <a:cubicBezTo>
                    <a:pt x="477" y="637"/>
                    <a:pt x="479" y="636"/>
                    <a:pt x="481" y="635"/>
                  </a:cubicBezTo>
                  <a:cubicBezTo>
                    <a:pt x="482" y="635"/>
                    <a:pt x="483" y="634"/>
                    <a:pt x="485" y="634"/>
                  </a:cubicBezTo>
                  <a:cubicBezTo>
                    <a:pt x="485" y="634"/>
                    <a:pt x="486" y="634"/>
                    <a:pt x="486" y="634"/>
                  </a:cubicBezTo>
                  <a:cubicBezTo>
                    <a:pt x="489" y="634"/>
                    <a:pt x="489" y="634"/>
                    <a:pt x="489" y="634"/>
                  </a:cubicBezTo>
                  <a:cubicBezTo>
                    <a:pt x="489" y="634"/>
                    <a:pt x="490" y="634"/>
                    <a:pt x="491" y="634"/>
                  </a:cubicBezTo>
                  <a:cubicBezTo>
                    <a:pt x="492" y="634"/>
                    <a:pt x="493" y="634"/>
                    <a:pt x="494" y="633"/>
                  </a:cubicBezTo>
                  <a:cubicBezTo>
                    <a:pt x="494" y="633"/>
                    <a:pt x="494" y="633"/>
                    <a:pt x="494" y="633"/>
                  </a:cubicBezTo>
                  <a:cubicBezTo>
                    <a:pt x="494" y="634"/>
                    <a:pt x="495" y="635"/>
                    <a:pt x="495" y="636"/>
                  </a:cubicBezTo>
                  <a:cubicBezTo>
                    <a:pt x="496" y="637"/>
                    <a:pt x="497" y="638"/>
                    <a:pt x="499" y="638"/>
                  </a:cubicBezTo>
                  <a:cubicBezTo>
                    <a:pt x="499" y="638"/>
                    <a:pt x="499" y="638"/>
                    <a:pt x="499" y="638"/>
                  </a:cubicBezTo>
                  <a:cubicBezTo>
                    <a:pt x="501" y="638"/>
                    <a:pt x="502" y="637"/>
                    <a:pt x="504" y="634"/>
                  </a:cubicBezTo>
                  <a:cubicBezTo>
                    <a:pt x="508" y="631"/>
                    <a:pt x="510" y="625"/>
                    <a:pt x="507" y="621"/>
                  </a:cubicBezTo>
                  <a:cubicBezTo>
                    <a:pt x="506" y="618"/>
                    <a:pt x="503" y="617"/>
                    <a:pt x="501" y="615"/>
                  </a:cubicBezTo>
                  <a:cubicBezTo>
                    <a:pt x="500" y="614"/>
                    <a:pt x="498" y="613"/>
                    <a:pt x="498" y="612"/>
                  </a:cubicBezTo>
                  <a:cubicBezTo>
                    <a:pt x="497" y="611"/>
                    <a:pt x="497" y="611"/>
                    <a:pt x="497" y="611"/>
                  </a:cubicBezTo>
                  <a:cubicBezTo>
                    <a:pt x="495" y="609"/>
                    <a:pt x="493" y="607"/>
                    <a:pt x="491" y="605"/>
                  </a:cubicBezTo>
                  <a:cubicBezTo>
                    <a:pt x="490" y="604"/>
                    <a:pt x="488" y="601"/>
                    <a:pt x="489" y="601"/>
                  </a:cubicBezTo>
                  <a:cubicBezTo>
                    <a:pt x="489" y="600"/>
                    <a:pt x="489" y="600"/>
                    <a:pt x="490" y="600"/>
                  </a:cubicBezTo>
                  <a:cubicBezTo>
                    <a:pt x="491" y="599"/>
                    <a:pt x="492" y="598"/>
                    <a:pt x="494" y="598"/>
                  </a:cubicBezTo>
                  <a:cubicBezTo>
                    <a:pt x="496" y="597"/>
                    <a:pt x="498" y="595"/>
                    <a:pt x="501" y="593"/>
                  </a:cubicBezTo>
                  <a:cubicBezTo>
                    <a:pt x="508" y="588"/>
                    <a:pt x="512" y="583"/>
                    <a:pt x="518" y="574"/>
                  </a:cubicBezTo>
                  <a:cubicBezTo>
                    <a:pt x="522" y="569"/>
                    <a:pt x="523" y="563"/>
                    <a:pt x="523" y="554"/>
                  </a:cubicBezTo>
                  <a:cubicBezTo>
                    <a:pt x="523" y="553"/>
                    <a:pt x="523" y="552"/>
                    <a:pt x="522" y="551"/>
                  </a:cubicBezTo>
                  <a:cubicBezTo>
                    <a:pt x="522" y="546"/>
                    <a:pt x="522" y="542"/>
                    <a:pt x="524" y="538"/>
                  </a:cubicBezTo>
                  <a:cubicBezTo>
                    <a:pt x="524" y="537"/>
                    <a:pt x="525" y="537"/>
                    <a:pt x="525" y="536"/>
                  </a:cubicBezTo>
                  <a:cubicBezTo>
                    <a:pt x="527" y="533"/>
                    <a:pt x="529" y="530"/>
                    <a:pt x="530" y="526"/>
                  </a:cubicBezTo>
                  <a:cubicBezTo>
                    <a:pt x="530" y="524"/>
                    <a:pt x="530" y="523"/>
                    <a:pt x="530" y="521"/>
                  </a:cubicBezTo>
                  <a:cubicBezTo>
                    <a:pt x="530" y="518"/>
                    <a:pt x="530" y="516"/>
                    <a:pt x="530" y="514"/>
                  </a:cubicBezTo>
                  <a:cubicBezTo>
                    <a:pt x="531" y="511"/>
                    <a:pt x="534" y="508"/>
                    <a:pt x="536" y="505"/>
                  </a:cubicBezTo>
                  <a:cubicBezTo>
                    <a:pt x="537" y="505"/>
                    <a:pt x="537" y="504"/>
                    <a:pt x="538" y="504"/>
                  </a:cubicBezTo>
                  <a:cubicBezTo>
                    <a:pt x="545" y="496"/>
                    <a:pt x="548" y="486"/>
                    <a:pt x="545" y="477"/>
                  </a:cubicBezTo>
                  <a:close/>
                  <a:moveTo>
                    <a:pt x="363" y="39"/>
                  </a:moveTo>
                  <a:cubicBezTo>
                    <a:pt x="363" y="39"/>
                    <a:pt x="364" y="39"/>
                    <a:pt x="364" y="39"/>
                  </a:cubicBezTo>
                  <a:cubicBezTo>
                    <a:pt x="365" y="40"/>
                    <a:pt x="365" y="41"/>
                    <a:pt x="365" y="41"/>
                  </a:cubicBezTo>
                  <a:cubicBezTo>
                    <a:pt x="364" y="41"/>
                    <a:pt x="364" y="40"/>
                    <a:pt x="363" y="39"/>
                  </a:cubicBezTo>
                  <a:close/>
                  <a:moveTo>
                    <a:pt x="383" y="60"/>
                  </a:moveTo>
                  <a:cubicBezTo>
                    <a:pt x="382" y="61"/>
                    <a:pt x="381" y="62"/>
                    <a:pt x="381" y="64"/>
                  </a:cubicBezTo>
                  <a:cubicBezTo>
                    <a:pt x="381" y="66"/>
                    <a:pt x="382" y="67"/>
                    <a:pt x="384" y="68"/>
                  </a:cubicBezTo>
                  <a:cubicBezTo>
                    <a:pt x="383" y="69"/>
                    <a:pt x="382" y="70"/>
                    <a:pt x="380" y="70"/>
                  </a:cubicBezTo>
                  <a:cubicBezTo>
                    <a:pt x="380" y="70"/>
                    <a:pt x="380" y="70"/>
                    <a:pt x="380" y="70"/>
                  </a:cubicBezTo>
                  <a:cubicBezTo>
                    <a:pt x="380" y="67"/>
                    <a:pt x="379" y="66"/>
                    <a:pt x="376" y="64"/>
                  </a:cubicBezTo>
                  <a:cubicBezTo>
                    <a:pt x="376" y="64"/>
                    <a:pt x="376" y="64"/>
                    <a:pt x="376" y="64"/>
                  </a:cubicBezTo>
                  <a:cubicBezTo>
                    <a:pt x="377" y="63"/>
                    <a:pt x="378" y="63"/>
                    <a:pt x="378" y="63"/>
                  </a:cubicBezTo>
                  <a:cubicBezTo>
                    <a:pt x="380" y="62"/>
                    <a:pt x="381" y="61"/>
                    <a:pt x="383" y="59"/>
                  </a:cubicBezTo>
                  <a:cubicBezTo>
                    <a:pt x="383" y="59"/>
                    <a:pt x="383" y="58"/>
                    <a:pt x="384" y="58"/>
                  </a:cubicBezTo>
                  <a:cubicBezTo>
                    <a:pt x="384" y="58"/>
                    <a:pt x="385" y="57"/>
                    <a:pt x="385" y="57"/>
                  </a:cubicBezTo>
                  <a:cubicBezTo>
                    <a:pt x="385" y="58"/>
                    <a:pt x="385" y="58"/>
                    <a:pt x="386" y="59"/>
                  </a:cubicBezTo>
                  <a:cubicBezTo>
                    <a:pt x="385" y="59"/>
                    <a:pt x="384" y="59"/>
                    <a:pt x="383" y="60"/>
                  </a:cubicBezTo>
                  <a:close/>
                  <a:moveTo>
                    <a:pt x="196" y="524"/>
                  </a:moveTo>
                  <a:cubicBezTo>
                    <a:pt x="198" y="525"/>
                    <a:pt x="199" y="525"/>
                    <a:pt x="200" y="525"/>
                  </a:cubicBezTo>
                  <a:cubicBezTo>
                    <a:pt x="194" y="529"/>
                    <a:pt x="187" y="531"/>
                    <a:pt x="179" y="534"/>
                  </a:cubicBezTo>
                  <a:cubicBezTo>
                    <a:pt x="175" y="535"/>
                    <a:pt x="171" y="535"/>
                    <a:pt x="166" y="536"/>
                  </a:cubicBezTo>
                  <a:cubicBezTo>
                    <a:pt x="165" y="536"/>
                    <a:pt x="163" y="537"/>
                    <a:pt x="161" y="537"/>
                  </a:cubicBezTo>
                  <a:cubicBezTo>
                    <a:pt x="161" y="537"/>
                    <a:pt x="162" y="537"/>
                    <a:pt x="162" y="537"/>
                  </a:cubicBezTo>
                  <a:cubicBezTo>
                    <a:pt x="163" y="536"/>
                    <a:pt x="165" y="536"/>
                    <a:pt x="166" y="535"/>
                  </a:cubicBezTo>
                  <a:cubicBezTo>
                    <a:pt x="171" y="534"/>
                    <a:pt x="176" y="532"/>
                    <a:pt x="179" y="528"/>
                  </a:cubicBezTo>
                  <a:cubicBezTo>
                    <a:pt x="180" y="527"/>
                    <a:pt x="182" y="525"/>
                    <a:pt x="183" y="522"/>
                  </a:cubicBezTo>
                  <a:cubicBezTo>
                    <a:pt x="184" y="520"/>
                    <a:pt x="187" y="516"/>
                    <a:pt x="188" y="514"/>
                  </a:cubicBezTo>
                  <a:cubicBezTo>
                    <a:pt x="188" y="514"/>
                    <a:pt x="188" y="514"/>
                    <a:pt x="188" y="514"/>
                  </a:cubicBezTo>
                  <a:cubicBezTo>
                    <a:pt x="189" y="515"/>
                    <a:pt x="189" y="515"/>
                    <a:pt x="189" y="516"/>
                  </a:cubicBezTo>
                  <a:cubicBezTo>
                    <a:pt x="191" y="519"/>
                    <a:pt x="193" y="522"/>
                    <a:pt x="196" y="524"/>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grpSp>
          <p:nvGrpSpPr>
            <p:cNvPr id="66" name="Group 65"/>
            <p:cNvGrpSpPr/>
            <p:nvPr/>
          </p:nvGrpSpPr>
          <p:grpSpPr>
            <a:xfrm>
              <a:off x="-799107" y="1075734"/>
              <a:ext cx="1208571" cy="1660031"/>
              <a:chOff x="-799107" y="1075734"/>
              <a:chExt cx="1208571" cy="1660031"/>
            </a:xfrm>
            <a:grpFill/>
          </p:grpSpPr>
          <p:sp>
            <p:nvSpPr>
              <p:cNvPr id="6" name="Freeform 6"/>
              <p:cNvSpPr>
                <a:spLocks/>
              </p:cNvSpPr>
              <p:nvPr/>
            </p:nvSpPr>
            <p:spPr bwMode="auto">
              <a:xfrm>
                <a:off x="-799107" y="1944035"/>
                <a:ext cx="17125" cy="26799"/>
              </a:xfrm>
              <a:custGeom>
                <a:avLst/>
                <a:gdLst>
                  <a:gd name="T0" fmla="*/ 8 w 9"/>
                  <a:gd name="T1" fmla="*/ 5 h 15"/>
                  <a:gd name="T2" fmla="*/ 7 w 9"/>
                  <a:gd name="T3" fmla="*/ 2 h 15"/>
                  <a:gd name="T4" fmla="*/ 3 w 9"/>
                  <a:gd name="T5" fmla="*/ 0 h 15"/>
                  <a:gd name="T6" fmla="*/ 3 w 9"/>
                  <a:gd name="T7" fmla="*/ 3 h 15"/>
                  <a:gd name="T8" fmla="*/ 2 w 9"/>
                  <a:gd name="T9" fmla="*/ 4 h 15"/>
                  <a:gd name="T10" fmla="*/ 2 w 9"/>
                  <a:gd name="T11" fmla="*/ 7 h 15"/>
                  <a:gd name="T12" fmla="*/ 3 w 9"/>
                  <a:gd name="T13" fmla="*/ 7 h 15"/>
                  <a:gd name="T14" fmla="*/ 1 w 9"/>
                  <a:gd name="T15" fmla="*/ 8 h 15"/>
                  <a:gd name="T16" fmla="*/ 1 w 9"/>
                  <a:gd name="T17" fmla="*/ 13 h 15"/>
                  <a:gd name="T18" fmla="*/ 4 w 9"/>
                  <a:gd name="T19" fmla="*/ 15 h 15"/>
                  <a:gd name="T20" fmla="*/ 7 w 9"/>
                  <a:gd name="T21" fmla="*/ 14 h 15"/>
                  <a:gd name="T22" fmla="*/ 9 w 9"/>
                  <a:gd name="T23" fmla="*/ 10 h 15"/>
                  <a:gd name="T24" fmla="*/ 7 w 9"/>
                  <a:gd name="T25" fmla="*/ 8 h 15"/>
                  <a:gd name="T26" fmla="*/ 8 w 9"/>
                  <a:gd name="T2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5">
                    <a:moveTo>
                      <a:pt x="8" y="5"/>
                    </a:moveTo>
                    <a:cubicBezTo>
                      <a:pt x="8" y="4"/>
                      <a:pt x="8" y="3"/>
                      <a:pt x="7" y="2"/>
                    </a:cubicBezTo>
                    <a:cubicBezTo>
                      <a:pt x="6" y="1"/>
                      <a:pt x="5" y="0"/>
                      <a:pt x="3" y="0"/>
                    </a:cubicBezTo>
                    <a:cubicBezTo>
                      <a:pt x="3" y="3"/>
                      <a:pt x="3" y="3"/>
                      <a:pt x="3" y="3"/>
                    </a:cubicBezTo>
                    <a:cubicBezTo>
                      <a:pt x="3" y="3"/>
                      <a:pt x="3" y="4"/>
                      <a:pt x="2" y="4"/>
                    </a:cubicBezTo>
                    <a:cubicBezTo>
                      <a:pt x="2" y="4"/>
                      <a:pt x="2" y="7"/>
                      <a:pt x="2" y="7"/>
                    </a:cubicBezTo>
                    <a:cubicBezTo>
                      <a:pt x="2" y="7"/>
                      <a:pt x="2" y="7"/>
                      <a:pt x="3" y="7"/>
                    </a:cubicBezTo>
                    <a:cubicBezTo>
                      <a:pt x="2" y="7"/>
                      <a:pt x="2" y="8"/>
                      <a:pt x="1" y="8"/>
                    </a:cubicBezTo>
                    <a:cubicBezTo>
                      <a:pt x="0" y="10"/>
                      <a:pt x="0" y="11"/>
                      <a:pt x="1" y="13"/>
                    </a:cubicBezTo>
                    <a:cubicBezTo>
                      <a:pt x="2" y="14"/>
                      <a:pt x="3" y="15"/>
                      <a:pt x="4" y="15"/>
                    </a:cubicBezTo>
                    <a:cubicBezTo>
                      <a:pt x="5" y="15"/>
                      <a:pt x="6" y="14"/>
                      <a:pt x="7" y="14"/>
                    </a:cubicBezTo>
                    <a:cubicBezTo>
                      <a:pt x="8" y="13"/>
                      <a:pt x="9" y="12"/>
                      <a:pt x="9" y="10"/>
                    </a:cubicBezTo>
                    <a:cubicBezTo>
                      <a:pt x="9" y="9"/>
                      <a:pt x="8" y="8"/>
                      <a:pt x="7" y="8"/>
                    </a:cubicBezTo>
                    <a:cubicBezTo>
                      <a:pt x="8" y="7"/>
                      <a:pt x="8" y="6"/>
                      <a:pt x="8" y="5"/>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7" name="Freeform 7"/>
              <p:cNvSpPr>
                <a:spLocks/>
              </p:cNvSpPr>
              <p:nvPr/>
            </p:nvSpPr>
            <p:spPr bwMode="auto">
              <a:xfrm>
                <a:off x="198249" y="1134693"/>
                <a:ext cx="32620" cy="40582"/>
              </a:xfrm>
              <a:custGeom>
                <a:avLst/>
                <a:gdLst>
                  <a:gd name="T0" fmla="*/ 13 w 17"/>
                  <a:gd name="T1" fmla="*/ 10 h 23"/>
                  <a:gd name="T2" fmla="*/ 11 w 17"/>
                  <a:gd name="T3" fmla="*/ 6 h 23"/>
                  <a:gd name="T4" fmla="*/ 11 w 17"/>
                  <a:gd name="T5" fmla="*/ 6 h 23"/>
                  <a:gd name="T6" fmla="*/ 5 w 17"/>
                  <a:gd name="T7" fmla="*/ 0 h 23"/>
                  <a:gd name="T8" fmla="*/ 3 w 17"/>
                  <a:gd name="T9" fmla="*/ 1 h 23"/>
                  <a:gd name="T10" fmla="*/ 1 w 17"/>
                  <a:gd name="T11" fmla="*/ 4 h 23"/>
                  <a:gd name="T12" fmla="*/ 3 w 17"/>
                  <a:gd name="T13" fmla="*/ 9 h 23"/>
                  <a:gd name="T14" fmla="*/ 4 w 17"/>
                  <a:gd name="T15" fmla="*/ 9 h 23"/>
                  <a:gd name="T16" fmla="*/ 4 w 17"/>
                  <a:gd name="T17" fmla="*/ 11 h 23"/>
                  <a:gd name="T18" fmla="*/ 6 w 17"/>
                  <a:gd name="T19" fmla="*/ 17 h 23"/>
                  <a:gd name="T20" fmla="*/ 9 w 17"/>
                  <a:gd name="T21" fmla="*/ 19 h 23"/>
                  <a:gd name="T22" fmla="*/ 11 w 17"/>
                  <a:gd name="T23" fmla="*/ 21 h 23"/>
                  <a:gd name="T24" fmla="*/ 12 w 17"/>
                  <a:gd name="T25" fmla="*/ 22 h 23"/>
                  <a:gd name="T26" fmla="*/ 13 w 17"/>
                  <a:gd name="T27" fmla="*/ 22 h 23"/>
                  <a:gd name="T28" fmla="*/ 13 w 17"/>
                  <a:gd name="T29" fmla="*/ 22 h 23"/>
                  <a:gd name="T30" fmla="*/ 16 w 17"/>
                  <a:gd name="T31" fmla="*/ 23 h 23"/>
                  <a:gd name="T32" fmla="*/ 17 w 17"/>
                  <a:gd name="T33" fmla="*/ 20 h 23"/>
                  <a:gd name="T34" fmla="*/ 15 w 17"/>
                  <a:gd name="T35" fmla="*/ 14 h 23"/>
                  <a:gd name="T36" fmla="*/ 14 w 17"/>
                  <a:gd name="T37" fmla="*/ 12 h 23"/>
                  <a:gd name="T38" fmla="*/ 13 w 17"/>
                  <a:gd name="T39"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 h="23">
                    <a:moveTo>
                      <a:pt x="13" y="10"/>
                    </a:moveTo>
                    <a:cubicBezTo>
                      <a:pt x="12" y="9"/>
                      <a:pt x="12" y="8"/>
                      <a:pt x="11" y="6"/>
                    </a:cubicBezTo>
                    <a:cubicBezTo>
                      <a:pt x="11" y="6"/>
                      <a:pt x="11" y="6"/>
                      <a:pt x="11" y="6"/>
                    </a:cubicBezTo>
                    <a:cubicBezTo>
                      <a:pt x="10" y="4"/>
                      <a:pt x="8" y="0"/>
                      <a:pt x="5" y="0"/>
                    </a:cubicBezTo>
                    <a:cubicBezTo>
                      <a:pt x="4" y="0"/>
                      <a:pt x="3" y="0"/>
                      <a:pt x="3" y="1"/>
                    </a:cubicBezTo>
                    <a:cubicBezTo>
                      <a:pt x="1" y="1"/>
                      <a:pt x="1" y="3"/>
                      <a:pt x="1" y="4"/>
                    </a:cubicBezTo>
                    <a:cubicBezTo>
                      <a:pt x="0" y="6"/>
                      <a:pt x="2" y="7"/>
                      <a:pt x="3" y="9"/>
                    </a:cubicBezTo>
                    <a:cubicBezTo>
                      <a:pt x="4" y="9"/>
                      <a:pt x="4" y="9"/>
                      <a:pt x="4" y="9"/>
                    </a:cubicBezTo>
                    <a:cubicBezTo>
                      <a:pt x="4" y="9"/>
                      <a:pt x="4" y="10"/>
                      <a:pt x="4" y="11"/>
                    </a:cubicBezTo>
                    <a:cubicBezTo>
                      <a:pt x="4" y="13"/>
                      <a:pt x="4" y="15"/>
                      <a:pt x="6" y="17"/>
                    </a:cubicBezTo>
                    <a:cubicBezTo>
                      <a:pt x="7" y="18"/>
                      <a:pt x="8" y="19"/>
                      <a:pt x="9" y="19"/>
                    </a:cubicBezTo>
                    <a:cubicBezTo>
                      <a:pt x="10" y="20"/>
                      <a:pt x="11" y="20"/>
                      <a:pt x="11" y="21"/>
                    </a:cubicBezTo>
                    <a:cubicBezTo>
                      <a:pt x="12" y="22"/>
                      <a:pt x="12" y="22"/>
                      <a:pt x="12" y="22"/>
                    </a:cubicBezTo>
                    <a:cubicBezTo>
                      <a:pt x="13" y="22"/>
                      <a:pt x="13" y="22"/>
                      <a:pt x="13" y="22"/>
                    </a:cubicBezTo>
                    <a:cubicBezTo>
                      <a:pt x="13" y="22"/>
                      <a:pt x="13" y="22"/>
                      <a:pt x="13" y="22"/>
                    </a:cubicBezTo>
                    <a:cubicBezTo>
                      <a:pt x="16" y="23"/>
                      <a:pt x="16" y="23"/>
                      <a:pt x="16" y="23"/>
                    </a:cubicBezTo>
                    <a:cubicBezTo>
                      <a:pt x="17" y="20"/>
                      <a:pt x="17" y="20"/>
                      <a:pt x="17" y="20"/>
                    </a:cubicBezTo>
                    <a:cubicBezTo>
                      <a:pt x="17" y="17"/>
                      <a:pt x="16" y="15"/>
                      <a:pt x="15" y="14"/>
                    </a:cubicBezTo>
                    <a:cubicBezTo>
                      <a:pt x="14" y="13"/>
                      <a:pt x="14" y="13"/>
                      <a:pt x="14" y="12"/>
                    </a:cubicBezTo>
                    <a:cubicBezTo>
                      <a:pt x="13" y="11"/>
                      <a:pt x="13" y="11"/>
                      <a:pt x="13" y="10"/>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8" name="Freeform 8"/>
              <p:cNvSpPr>
                <a:spLocks/>
              </p:cNvSpPr>
              <p:nvPr/>
            </p:nvSpPr>
            <p:spPr bwMode="auto">
              <a:xfrm>
                <a:off x="55537" y="1218919"/>
                <a:ext cx="74210" cy="62021"/>
              </a:xfrm>
              <a:custGeom>
                <a:avLst/>
                <a:gdLst>
                  <a:gd name="T0" fmla="*/ 5 w 39"/>
                  <a:gd name="T1" fmla="*/ 19 h 35"/>
                  <a:gd name="T2" fmla="*/ 8 w 39"/>
                  <a:gd name="T3" fmla="*/ 22 h 35"/>
                  <a:gd name="T4" fmla="*/ 9 w 39"/>
                  <a:gd name="T5" fmla="*/ 26 h 35"/>
                  <a:gd name="T6" fmla="*/ 19 w 39"/>
                  <a:gd name="T7" fmla="*/ 35 h 35"/>
                  <a:gd name="T8" fmla="*/ 19 w 39"/>
                  <a:gd name="T9" fmla="*/ 35 h 35"/>
                  <a:gd name="T10" fmla="*/ 26 w 39"/>
                  <a:gd name="T11" fmla="*/ 32 h 35"/>
                  <a:gd name="T12" fmla="*/ 26 w 39"/>
                  <a:gd name="T13" fmla="*/ 33 h 35"/>
                  <a:gd name="T14" fmla="*/ 29 w 39"/>
                  <a:gd name="T15" fmla="*/ 33 h 35"/>
                  <a:gd name="T16" fmla="*/ 34 w 39"/>
                  <a:gd name="T17" fmla="*/ 29 h 35"/>
                  <a:gd name="T18" fmla="*/ 34 w 39"/>
                  <a:gd name="T19" fmla="*/ 28 h 35"/>
                  <a:gd name="T20" fmla="*/ 35 w 39"/>
                  <a:gd name="T21" fmla="*/ 27 h 35"/>
                  <a:gd name="T22" fmla="*/ 38 w 39"/>
                  <a:gd name="T23" fmla="*/ 25 h 35"/>
                  <a:gd name="T24" fmla="*/ 39 w 39"/>
                  <a:gd name="T25" fmla="*/ 21 h 35"/>
                  <a:gd name="T26" fmla="*/ 34 w 39"/>
                  <a:gd name="T27" fmla="*/ 19 h 35"/>
                  <a:gd name="T28" fmla="*/ 33 w 39"/>
                  <a:gd name="T29" fmla="*/ 19 h 35"/>
                  <a:gd name="T30" fmla="*/ 33 w 39"/>
                  <a:gd name="T31" fmla="*/ 18 h 35"/>
                  <a:gd name="T32" fmla="*/ 29 w 39"/>
                  <a:gd name="T33" fmla="*/ 15 h 35"/>
                  <a:gd name="T34" fmla="*/ 28 w 39"/>
                  <a:gd name="T35" fmla="*/ 15 h 35"/>
                  <a:gd name="T36" fmla="*/ 27 w 39"/>
                  <a:gd name="T37" fmla="*/ 16 h 35"/>
                  <a:gd name="T38" fmla="*/ 17 w 39"/>
                  <a:gd name="T39" fmla="*/ 3 h 35"/>
                  <a:gd name="T40" fmla="*/ 8 w 39"/>
                  <a:gd name="T41" fmla="*/ 0 h 35"/>
                  <a:gd name="T42" fmla="*/ 7 w 39"/>
                  <a:gd name="T43" fmla="*/ 0 h 35"/>
                  <a:gd name="T44" fmla="*/ 2 w 39"/>
                  <a:gd name="T45" fmla="*/ 3 h 35"/>
                  <a:gd name="T46" fmla="*/ 1 w 39"/>
                  <a:gd name="T47" fmla="*/ 12 h 35"/>
                  <a:gd name="T48" fmla="*/ 5 w 39"/>
                  <a:gd name="T49" fmla="*/ 1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35">
                    <a:moveTo>
                      <a:pt x="5" y="19"/>
                    </a:moveTo>
                    <a:cubicBezTo>
                      <a:pt x="6" y="20"/>
                      <a:pt x="7" y="21"/>
                      <a:pt x="8" y="22"/>
                    </a:cubicBezTo>
                    <a:cubicBezTo>
                      <a:pt x="8" y="23"/>
                      <a:pt x="9" y="24"/>
                      <a:pt x="9" y="26"/>
                    </a:cubicBezTo>
                    <a:cubicBezTo>
                      <a:pt x="11" y="30"/>
                      <a:pt x="13" y="35"/>
                      <a:pt x="19" y="35"/>
                    </a:cubicBezTo>
                    <a:cubicBezTo>
                      <a:pt x="19" y="35"/>
                      <a:pt x="19" y="35"/>
                      <a:pt x="19" y="35"/>
                    </a:cubicBezTo>
                    <a:cubicBezTo>
                      <a:pt x="22" y="35"/>
                      <a:pt x="24" y="34"/>
                      <a:pt x="26" y="32"/>
                    </a:cubicBezTo>
                    <a:cubicBezTo>
                      <a:pt x="26" y="33"/>
                      <a:pt x="26" y="33"/>
                      <a:pt x="26" y="33"/>
                    </a:cubicBezTo>
                    <a:cubicBezTo>
                      <a:pt x="29" y="33"/>
                      <a:pt x="29" y="33"/>
                      <a:pt x="29" y="33"/>
                    </a:cubicBezTo>
                    <a:cubicBezTo>
                      <a:pt x="33" y="33"/>
                      <a:pt x="33" y="30"/>
                      <a:pt x="34" y="29"/>
                    </a:cubicBezTo>
                    <a:cubicBezTo>
                      <a:pt x="34" y="28"/>
                      <a:pt x="34" y="28"/>
                      <a:pt x="34" y="28"/>
                    </a:cubicBezTo>
                    <a:cubicBezTo>
                      <a:pt x="34" y="28"/>
                      <a:pt x="35" y="28"/>
                      <a:pt x="35" y="27"/>
                    </a:cubicBezTo>
                    <a:cubicBezTo>
                      <a:pt x="36" y="27"/>
                      <a:pt x="38" y="27"/>
                      <a:pt x="38" y="25"/>
                    </a:cubicBezTo>
                    <a:cubicBezTo>
                      <a:pt x="39" y="23"/>
                      <a:pt x="39" y="22"/>
                      <a:pt x="39" y="21"/>
                    </a:cubicBezTo>
                    <a:cubicBezTo>
                      <a:pt x="38" y="19"/>
                      <a:pt x="36" y="19"/>
                      <a:pt x="34" y="19"/>
                    </a:cubicBezTo>
                    <a:cubicBezTo>
                      <a:pt x="34" y="19"/>
                      <a:pt x="34" y="19"/>
                      <a:pt x="33" y="19"/>
                    </a:cubicBezTo>
                    <a:cubicBezTo>
                      <a:pt x="33" y="18"/>
                      <a:pt x="33" y="18"/>
                      <a:pt x="33" y="18"/>
                    </a:cubicBezTo>
                    <a:cubicBezTo>
                      <a:pt x="33" y="17"/>
                      <a:pt x="32" y="15"/>
                      <a:pt x="29" y="15"/>
                    </a:cubicBezTo>
                    <a:cubicBezTo>
                      <a:pt x="29" y="15"/>
                      <a:pt x="28" y="15"/>
                      <a:pt x="28" y="15"/>
                    </a:cubicBezTo>
                    <a:cubicBezTo>
                      <a:pt x="27" y="16"/>
                      <a:pt x="27" y="16"/>
                      <a:pt x="27" y="16"/>
                    </a:cubicBezTo>
                    <a:cubicBezTo>
                      <a:pt x="25" y="10"/>
                      <a:pt x="22" y="6"/>
                      <a:pt x="17" y="3"/>
                    </a:cubicBezTo>
                    <a:cubicBezTo>
                      <a:pt x="15" y="2"/>
                      <a:pt x="12" y="0"/>
                      <a:pt x="8" y="0"/>
                    </a:cubicBezTo>
                    <a:cubicBezTo>
                      <a:pt x="8" y="0"/>
                      <a:pt x="8" y="0"/>
                      <a:pt x="7" y="0"/>
                    </a:cubicBezTo>
                    <a:cubicBezTo>
                      <a:pt x="5" y="0"/>
                      <a:pt x="4" y="1"/>
                      <a:pt x="2" y="3"/>
                    </a:cubicBezTo>
                    <a:cubicBezTo>
                      <a:pt x="1" y="6"/>
                      <a:pt x="0" y="9"/>
                      <a:pt x="1" y="12"/>
                    </a:cubicBezTo>
                    <a:cubicBezTo>
                      <a:pt x="2" y="15"/>
                      <a:pt x="4" y="17"/>
                      <a:pt x="5" y="19"/>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9" name="Freeform 9"/>
              <p:cNvSpPr>
                <a:spLocks noEditPoints="1"/>
              </p:cNvSpPr>
              <p:nvPr/>
            </p:nvSpPr>
            <p:spPr bwMode="auto">
              <a:xfrm>
                <a:off x="61245" y="1121676"/>
                <a:ext cx="141081" cy="120214"/>
              </a:xfrm>
              <a:custGeom>
                <a:avLst/>
                <a:gdLst>
                  <a:gd name="T0" fmla="*/ 13 w 74"/>
                  <a:gd name="T1" fmla="*/ 52 h 67"/>
                  <a:gd name="T2" fmla="*/ 19 w 74"/>
                  <a:gd name="T3" fmla="*/ 59 h 67"/>
                  <a:gd name="T4" fmla="*/ 29 w 74"/>
                  <a:gd name="T5" fmla="*/ 61 h 67"/>
                  <a:gd name="T6" fmla="*/ 35 w 74"/>
                  <a:gd name="T7" fmla="*/ 56 h 67"/>
                  <a:gd name="T8" fmla="*/ 42 w 74"/>
                  <a:gd name="T9" fmla="*/ 53 h 67"/>
                  <a:gd name="T10" fmla="*/ 46 w 74"/>
                  <a:gd name="T11" fmla="*/ 60 h 67"/>
                  <a:gd name="T12" fmla="*/ 54 w 74"/>
                  <a:gd name="T13" fmla="*/ 67 h 67"/>
                  <a:gd name="T14" fmla="*/ 67 w 74"/>
                  <a:gd name="T15" fmla="*/ 62 h 67"/>
                  <a:gd name="T16" fmla="*/ 67 w 74"/>
                  <a:gd name="T17" fmla="*/ 59 h 67"/>
                  <a:gd name="T18" fmla="*/ 73 w 74"/>
                  <a:gd name="T19" fmla="*/ 47 h 67"/>
                  <a:gd name="T20" fmla="*/ 66 w 74"/>
                  <a:gd name="T21" fmla="*/ 45 h 67"/>
                  <a:gd name="T22" fmla="*/ 60 w 74"/>
                  <a:gd name="T23" fmla="*/ 51 h 67"/>
                  <a:gd name="T24" fmla="*/ 59 w 74"/>
                  <a:gd name="T25" fmla="*/ 46 h 67"/>
                  <a:gd name="T26" fmla="*/ 60 w 74"/>
                  <a:gd name="T27" fmla="*/ 38 h 67"/>
                  <a:gd name="T28" fmla="*/ 58 w 74"/>
                  <a:gd name="T29" fmla="*/ 29 h 67"/>
                  <a:gd name="T30" fmla="*/ 57 w 74"/>
                  <a:gd name="T31" fmla="*/ 29 h 67"/>
                  <a:gd name="T32" fmla="*/ 50 w 74"/>
                  <a:gd name="T33" fmla="*/ 27 h 67"/>
                  <a:gd name="T34" fmla="*/ 46 w 74"/>
                  <a:gd name="T35" fmla="*/ 35 h 67"/>
                  <a:gd name="T36" fmla="*/ 35 w 74"/>
                  <a:gd name="T37" fmla="*/ 40 h 67"/>
                  <a:gd name="T38" fmla="*/ 33 w 74"/>
                  <a:gd name="T39" fmla="*/ 40 h 67"/>
                  <a:gd name="T40" fmla="*/ 36 w 74"/>
                  <a:gd name="T41" fmla="*/ 36 h 67"/>
                  <a:gd name="T42" fmla="*/ 38 w 74"/>
                  <a:gd name="T43" fmla="*/ 23 h 67"/>
                  <a:gd name="T44" fmla="*/ 34 w 74"/>
                  <a:gd name="T45" fmla="*/ 19 h 67"/>
                  <a:gd name="T46" fmla="*/ 39 w 74"/>
                  <a:gd name="T47" fmla="*/ 20 h 67"/>
                  <a:gd name="T48" fmla="*/ 44 w 74"/>
                  <a:gd name="T49" fmla="*/ 9 h 67"/>
                  <a:gd name="T50" fmla="*/ 37 w 74"/>
                  <a:gd name="T51" fmla="*/ 3 h 67"/>
                  <a:gd name="T52" fmla="*/ 28 w 74"/>
                  <a:gd name="T53" fmla="*/ 1 h 67"/>
                  <a:gd name="T54" fmla="*/ 26 w 74"/>
                  <a:gd name="T55" fmla="*/ 11 h 67"/>
                  <a:gd name="T56" fmla="*/ 29 w 74"/>
                  <a:gd name="T57" fmla="*/ 13 h 67"/>
                  <a:gd name="T58" fmla="*/ 22 w 74"/>
                  <a:gd name="T59" fmla="*/ 10 h 67"/>
                  <a:gd name="T60" fmla="*/ 6 w 74"/>
                  <a:gd name="T61" fmla="*/ 16 h 67"/>
                  <a:gd name="T62" fmla="*/ 2 w 74"/>
                  <a:gd name="T63" fmla="*/ 33 h 67"/>
                  <a:gd name="T64" fmla="*/ 9 w 74"/>
                  <a:gd name="T65" fmla="*/ 53 h 67"/>
                  <a:gd name="T66" fmla="*/ 17 w 74"/>
                  <a:gd name="T67" fmla="*/ 40 h 67"/>
                  <a:gd name="T68" fmla="*/ 16 w 74"/>
                  <a:gd name="T69" fmla="*/ 4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4" h="67">
                    <a:moveTo>
                      <a:pt x="9" y="53"/>
                    </a:moveTo>
                    <a:cubicBezTo>
                      <a:pt x="10" y="53"/>
                      <a:pt x="12" y="53"/>
                      <a:pt x="13" y="52"/>
                    </a:cubicBezTo>
                    <a:cubicBezTo>
                      <a:pt x="14" y="51"/>
                      <a:pt x="15" y="50"/>
                      <a:pt x="15" y="49"/>
                    </a:cubicBezTo>
                    <a:cubicBezTo>
                      <a:pt x="15" y="52"/>
                      <a:pt x="16" y="56"/>
                      <a:pt x="19" y="59"/>
                    </a:cubicBezTo>
                    <a:cubicBezTo>
                      <a:pt x="21" y="60"/>
                      <a:pt x="24" y="61"/>
                      <a:pt x="27" y="61"/>
                    </a:cubicBezTo>
                    <a:cubicBezTo>
                      <a:pt x="27" y="61"/>
                      <a:pt x="28" y="61"/>
                      <a:pt x="29" y="61"/>
                    </a:cubicBezTo>
                    <a:cubicBezTo>
                      <a:pt x="31" y="61"/>
                      <a:pt x="32" y="59"/>
                      <a:pt x="33" y="58"/>
                    </a:cubicBezTo>
                    <a:cubicBezTo>
                      <a:pt x="34" y="57"/>
                      <a:pt x="35" y="57"/>
                      <a:pt x="35" y="56"/>
                    </a:cubicBezTo>
                    <a:cubicBezTo>
                      <a:pt x="36" y="56"/>
                      <a:pt x="37" y="56"/>
                      <a:pt x="38" y="55"/>
                    </a:cubicBezTo>
                    <a:cubicBezTo>
                      <a:pt x="39" y="54"/>
                      <a:pt x="41" y="53"/>
                      <a:pt x="42" y="53"/>
                    </a:cubicBezTo>
                    <a:cubicBezTo>
                      <a:pt x="42" y="54"/>
                      <a:pt x="43" y="56"/>
                      <a:pt x="44" y="57"/>
                    </a:cubicBezTo>
                    <a:cubicBezTo>
                      <a:pt x="44" y="58"/>
                      <a:pt x="45" y="59"/>
                      <a:pt x="46" y="60"/>
                    </a:cubicBezTo>
                    <a:cubicBezTo>
                      <a:pt x="46" y="60"/>
                      <a:pt x="46" y="61"/>
                      <a:pt x="47" y="61"/>
                    </a:cubicBezTo>
                    <a:cubicBezTo>
                      <a:pt x="48" y="63"/>
                      <a:pt x="50" y="66"/>
                      <a:pt x="54" y="67"/>
                    </a:cubicBezTo>
                    <a:cubicBezTo>
                      <a:pt x="55" y="67"/>
                      <a:pt x="56" y="67"/>
                      <a:pt x="57" y="67"/>
                    </a:cubicBezTo>
                    <a:cubicBezTo>
                      <a:pt x="60" y="67"/>
                      <a:pt x="65" y="66"/>
                      <a:pt x="67" y="62"/>
                    </a:cubicBezTo>
                    <a:cubicBezTo>
                      <a:pt x="67" y="61"/>
                      <a:pt x="67" y="60"/>
                      <a:pt x="67" y="59"/>
                    </a:cubicBezTo>
                    <a:cubicBezTo>
                      <a:pt x="67" y="59"/>
                      <a:pt x="67" y="59"/>
                      <a:pt x="67" y="59"/>
                    </a:cubicBezTo>
                    <a:cubicBezTo>
                      <a:pt x="69" y="59"/>
                      <a:pt x="70" y="59"/>
                      <a:pt x="71" y="58"/>
                    </a:cubicBezTo>
                    <a:cubicBezTo>
                      <a:pt x="74" y="55"/>
                      <a:pt x="74" y="51"/>
                      <a:pt x="73" y="47"/>
                    </a:cubicBezTo>
                    <a:cubicBezTo>
                      <a:pt x="73" y="46"/>
                      <a:pt x="73" y="44"/>
                      <a:pt x="69" y="44"/>
                    </a:cubicBezTo>
                    <a:cubicBezTo>
                      <a:pt x="69" y="44"/>
                      <a:pt x="67" y="44"/>
                      <a:pt x="66" y="45"/>
                    </a:cubicBezTo>
                    <a:cubicBezTo>
                      <a:pt x="64" y="45"/>
                      <a:pt x="62" y="46"/>
                      <a:pt x="61" y="48"/>
                    </a:cubicBezTo>
                    <a:cubicBezTo>
                      <a:pt x="61" y="49"/>
                      <a:pt x="60" y="50"/>
                      <a:pt x="60" y="51"/>
                    </a:cubicBezTo>
                    <a:cubicBezTo>
                      <a:pt x="60" y="51"/>
                      <a:pt x="60" y="50"/>
                      <a:pt x="59" y="50"/>
                    </a:cubicBezTo>
                    <a:cubicBezTo>
                      <a:pt x="59" y="49"/>
                      <a:pt x="59" y="48"/>
                      <a:pt x="59" y="46"/>
                    </a:cubicBezTo>
                    <a:cubicBezTo>
                      <a:pt x="59" y="44"/>
                      <a:pt x="59" y="41"/>
                      <a:pt x="57" y="39"/>
                    </a:cubicBezTo>
                    <a:cubicBezTo>
                      <a:pt x="58" y="39"/>
                      <a:pt x="59" y="38"/>
                      <a:pt x="60" y="38"/>
                    </a:cubicBezTo>
                    <a:cubicBezTo>
                      <a:pt x="61" y="37"/>
                      <a:pt x="62" y="35"/>
                      <a:pt x="62" y="34"/>
                    </a:cubicBezTo>
                    <a:cubicBezTo>
                      <a:pt x="61" y="32"/>
                      <a:pt x="59" y="30"/>
                      <a:pt x="58" y="29"/>
                    </a:cubicBezTo>
                    <a:cubicBezTo>
                      <a:pt x="56" y="31"/>
                      <a:pt x="56" y="31"/>
                      <a:pt x="56" y="31"/>
                    </a:cubicBezTo>
                    <a:cubicBezTo>
                      <a:pt x="57" y="29"/>
                      <a:pt x="57" y="29"/>
                      <a:pt x="57" y="29"/>
                    </a:cubicBezTo>
                    <a:cubicBezTo>
                      <a:pt x="56" y="28"/>
                      <a:pt x="54" y="26"/>
                      <a:pt x="52" y="26"/>
                    </a:cubicBezTo>
                    <a:cubicBezTo>
                      <a:pt x="51" y="26"/>
                      <a:pt x="51" y="26"/>
                      <a:pt x="50" y="27"/>
                    </a:cubicBezTo>
                    <a:cubicBezTo>
                      <a:pt x="47" y="27"/>
                      <a:pt x="46" y="30"/>
                      <a:pt x="46" y="33"/>
                    </a:cubicBezTo>
                    <a:cubicBezTo>
                      <a:pt x="46" y="33"/>
                      <a:pt x="46" y="34"/>
                      <a:pt x="46" y="35"/>
                    </a:cubicBezTo>
                    <a:cubicBezTo>
                      <a:pt x="44" y="35"/>
                      <a:pt x="42" y="36"/>
                      <a:pt x="40" y="37"/>
                    </a:cubicBezTo>
                    <a:cubicBezTo>
                      <a:pt x="38" y="39"/>
                      <a:pt x="36" y="40"/>
                      <a:pt x="35" y="40"/>
                    </a:cubicBezTo>
                    <a:cubicBezTo>
                      <a:pt x="34" y="40"/>
                      <a:pt x="34" y="40"/>
                      <a:pt x="34" y="40"/>
                    </a:cubicBezTo>
                    <a:cubicBezTo>
                      <a:pt x="33" y="40"/>
                      <a:pt x="33" y="40"/>
                      <a:pt x="33" y="40"/>
                    </a:cubicBezTo>
                    <a:cubicBezTo>
                      <a:pt x="33" y="40"/>
                      <a:pt x="33" y="40"/>
                      <a:pt x="33" y="39"/>
                    </a:cubicBezTo>
                    <a:cubicBezTo>
                      <a:pt x="33" y="38"/>
                      <a:pt x="35" y="37"/>
                      <a:pt x="36" y="36"/>
                    </a:cubicBezTo>
                    <a:cubicBezTo>
                      <a:pt x="39" y="34"/>
                      <a:pt x="44" y="31"/>
                      <a:pt x="42" y="26"/>
                    </a:cubicBezTo>
                    <a:cubicBezTo>
                      <a:pt x="41" y="24"/>
                      <a:pt x="39" y="23"/>
                      <a:pt x="38" y="23"/>
                    </a:cubicBezTo>
                    <a:cubicBezTo>
                      <a:pt x="37" y="22"/>
                      <a:pt x="36" y="22"/>
                      <a:pt x="36" y="21"/>
                    </a:cubicBezTo>
                    <a:cubicBezTo>
                      <a:pt x="35" y="21"/>
                      <a:pt x="35" y="20"/>
                      <a:pt x="34" y="19"/>
                    </a:cubicBezTo>
                    <a:cubicBezTo>
                      <a:pt x="34" y="19"/>
                      <a:pt x="34" y="19"/>
                      <a:pt x="34" y="19"/>
                    </a:cubicBezTo>
                    <a:cubicBezTo>
                      <a:pt x="36" y="20"/>
                      <a:pt x="37" y="20"/>
                      <a:pt x="39" y="20"/>
                    </a:cubicBezTo>
                    <a:cubicBezTo>
                      <a:pt x="40" y="20"/>
                      <a:pt x="41" y="20"/>
                      <a:pt x="42" y="19"/>
                    </a:cubicBezTo>
                    <a:cubicBezTo>
                      <a:pt x="45" y="17"/>
                      <a:pt x="46" y="13"/>
                      <a:pt x="44" y="9"/>
                    </a:cubicBezTo>
                    <a:cubicBezTo>
                      <a:pt x="43" y="5"/>
                      <a:pt x="40" y="3"/>
                      <a:pt x="37" y="3"/>
                    </a:cubicBezTo>
                    <a:cubicBezTo>
                      <a:pt x="37" y="3"/>
                      <a:pt x="37" y="3"/>
                      <a:pt x="37" y="3"/>
                    </a:cubicBezTo>
                    <a:cubicBezTo>
                      <a:pt x="36" y="1"/>
                      <a:pt x="34" y="0"/>
                      <a:pt x="31" y="0"/>
                    </a:cubicBezTo>
                    <a:cubicBezTo>
                      <a:pt x="30" y="0"/>
                      <a:pt x="29" y="0"/>
                      <a:pt x="28" y="1"/>
                    </a:cubicBezTo>
                    <a:cubicBezTo>
                      <a:pt x="26" y="2"/>
                      <a:pt x="25" y="4"/>
                      <a:pt x="25" y="6"/>
                    </a:cubicBezTo>
                    <a:cubicBezTo>
                      <a:pt x="24" y="8"/>
                      <a:pt x="25" y="9"/>
                      <a:pt x="26" y="11"/>
                    </a:cubicBezTo>
                    <a:cubicBezTo>
                      <a:pt x="27" y="12"/>
                      <a:pt x="28" y="12"/>
                      <a:pt x="28" y="12"/>
                    </a:cubicBezTo>
                    <a:cubicBezTo>
                      <a:pt x="28" y="12"/>
                      <a:pt x="29" y="13"/>
                      <a:pt x="29" y="13"/>
                    </a:cubicBezTo>
                    <a:cubicBezTo>
                      <a:pt x="29" y="13"/>
                      <a:pt x="29" y="13"/>
                      <a:pt x="29" y="14"/>
                    </a:cubicBezTo>
                    <a:cubicBezTo>
                      <a:pt x="27" y="12"/>
                      <a:pt x="25" y="11"/>
                      <a:pt x="22" y="10"/>
                    </a:cubicBezTo>
                    <a:cubicBezTo>
                      <a:pt x="21" y="10"/>
                      <a:pt x="20" y="10"/>
                      <a:pt x="19" y="10"/>
                    </a:cubicBezTo>
                    <a:cubicBezTo>
                      <a:pt x="14" y="10"/>
                      <a:pt x="9" y="13"/>
                      <a:pt x="6" y="16"/>
                    </a:cubicBezTo>
                    <a:cubicBezTo>
                      <a:pt x="3" y="20"/>
                      <a:pt x="3" y="24"/>
                      <a:pt x="2" y="28"/>
                    </a:cubicBezTo>
                    <a:cubicBezTo>
                      <a:pt x="2" y="30"/>
                      <a:pt x="2" y="32"/>
                      <a:pt x="2" y="33"/>
                    </a:cubicBezTo>
                    <a:cubicBezTo>
                      <a:pt x="1" y="36"/>
                      <a:pt x="0" y="42"/>
                      <a:pt x="2" y="47"/>
                    </a:cubicBezTo>
                    <a:cubicBezTo>
                      <a:pt x="3" y="51"/>
                      <a:pt x="6" y="53"/>
                      <a:pt x="9" y="53"/>
                    </a:cubicBezTo>
                    <a:close/>
                    <a:moveTo>
                      <a:pt x="16" y="42"/>
                    </a:moveTo>
                    <a:cubicBezTo>
                      <a:pt x="17" y="41"/>
                      <a:pt x="17" y="41"/>
                      <a:pt x="17" y="40"/>
                    </a:cubicBezTo>
                    <a:cubicBezTo>
                      <a:pt x="17" y="41"/>
                      <a:pt x="17" y="43"/>
                      <a:pt x="16" y="44"/>
                    </a:cubicBezTo>
                    <a:cubicBezTo>
                      <a:pt x="16" y="44"/>
                      <a:pt x="16" y="44"/>
                      <a:pt x="16" y="44"/>
                    </a:cubicBezTo>
                    <a:cubicBezTo>
                      <a:pt x="16" y="43"/>
                      <a:pt x="16" y="43"/>
                      <a:pt x="16" y="42"/>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10" name="Freeform 10"/>
              <p:cNvSpPr>
                <a:spLocks/>
              </p:cNvSpPr>
              <p:nvPr/>
            </p:nvSpPr>
            <p:spPr bwMode="auto">
              <a:xfrm>
                <a:off x="133825" y="1243422"/>
                <a:ext cx="34251" cy="50536"/>
              </a:xfrm>
              <a:custGeom>
                <a:avLst/>
                <a:gdLst>
                  <a:gd name="T0" fmla="*/ 15 w 18"/>
                  <a:gd name="T1" fmla="*/ 13 h 28"/>
                  <a:gd name="T2" fmla="*/ 16 w 18"/>
                  <a:gd name="T3" fmla="*/ 13 h 28"/>
                  <a:gd name="T4" fmla="*/ 17 w 18"/>
                  <a:gd name="T5" fmla="*/ 11 h 28"/>
                  <a:gd name="T6" fmla="*/ 16 w 18"/>
                  <a:gd name="T7" fmla="*/ 1 h 28"/>
                  <a:gd name="T8" fmla="*/ 15 w 18"/>
                  <a:gd name="T9" fmla="*/ 0 h 28"/>
                  <a:gd name="T10" fmla="*/ 14 w 18"/>
                  <a:gd name="T11" fmla="*/ 0 h 28"/>
                  <a:gd name="T12" fmla="*/ 13 w 18"/>
                  <a:gd name="T13" fmla="*/ 0 h 28"/>
                  <a:gd name="T14" fmla="*/ 7 w 18"/>
                  <a:gd name="T15" fmla="*/ 3 h 28"/>
                  <a:gd name="T16" fmla="*/ 6 w 18"/>
                  <a:gd name="T17" fmla="*/ 4 h 28"/>
                  <a:gd name="T18" fmla="*/ 5 w 18"/>
                  <a:gd name="T19" fmla="*/ 5 h 28"/>
                  <a:gd name="T20" fmla="*/ 3 w 18"/>
                  <a:gd name="T21" fmla="*/ 6 h 28"/>
                  <a:gd name="T22" fmla="*/ 0 w 18"/>
                  <a:gd name="T23" fmla="*/ 11 h 28"/>
                  <a:gd name="T24" fmla="*/ 4 w 18"/>
                  <a:gd name="T25" fmla="*/ 17 h 28"/>
                  <a:gd name="T26" fmla="*/ 5 w 18"/>
                  <a:gd name="T27" fmla="*/ 18 h 28"/>
                  <a:gd name="T28" fmla="*/ 5 w 18"/>
                  <a:gd name="T29" fmla="*/ 20 h 28"/>
                  <a:gd name="T30" fmla="*/ 6 w 18"/>
                  <a:gd name="T31" fmla="*/ 25 h 28"/>
                  <a:gd name="T32" fmla="*/ 11 w 18"/>
                  <a:gd name="T33" fmla="*/ 28 h 28"/>
                  <a:gd name="T34" fmla="*/ 16 w 18"/>
                  <a:gd name="T35" fmla="*/ 24 h 28"/>
                  <a:gd name="T36" fmla="*/ 15 w 18"/>
                  <a:gd name="T37" fmla="*/ 19 h 28"/>
                  <a:gd name="T38" fmla="*/ 15 w 18"/>
                  <a:gd name="T39" fmla="*/ 17 h 28"/>
                  <a:gd name="T40" fmla="*/ 15 w 18"/>
                  <a:gd name="T41" fmla="*/ 14 h 28"/>
                  <a:gd name="T42" fmla="*/ 15 w 18"/>
                  <a:gd name="T43"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8">
                    <a:moveTo>
                      <a:pt x="15" y="13"/>
                    </a:moveTo>
                    <a:cubicBezTo>
                      <a:pt x="16" y="13"/>
                      <a:pt x="16" y="13"/>
                      <a:pt x="16" y="13"/>
                    </a:cubicBezTo>
                    <a:cubicBezTo>
                      <a:pt x="16" y="12"/>
                      <a:pt x="17" y="12"/>
                      <a:pt x="17" y="11"/>
                    </a:cubicBezTo>
                    <a:cubicBezTo>
                      <a:pt x="18" y="8"/>
                      <a:pt x="17" y="3"/>
                      <a:pt x="16" y="1"/>
                    </a:cubicBezTo>
                    <a:cubicBezTo>
                      <a:pt x="15" y="0"/>
                      <a:pt x="15" y="0"/>
                      <a:pt x="15" y="0"/>
                    </a:cubicBezTo>
                    <a:cubicBezTo>
                      <a:pt x="14" y="0"/>
                      <a:pt x="14" y="0"/>
                      <a:pt x="14" y="0"/>
                    </a:cubicBezTo>
                    <a:cubicBezTo>
                      <a:pt x="13" y="0"/>
                      <a:pt x="13" y="0"/>
                      <a:pt x="13" y="0"/>
                    </a:cubicBezTo>
                    <a:cubicBezTo>
                      <a:pt x="10" y="0"/>
                      <a:pt x="8" y="2"/>
                      <a:pt x="7" y="3"/>
                    </a:cubicBezTo>
                    <a:cubicBezTo>
                      <a:pt x="7" y="3"/>
                      <a:pt x="6" y="4"/>
                      <a:pt x="6" y="4"/>
                    </a:cubicBezTo>
                    <a:cubicBezTo>
                      <a:pt x="5" y="4"/>
                      <a:pt x="5" y="5"/>
                      <a:pt x="5" y="5"/>
                    </a:cubicBezTo>
                    <a:cubicBezTo>
                      <a:pt x="4" y="5"/>
                      <a:pt x="3" y="5"/>
                      <a:pt x="3" y="6"/>
                    </a:cubicBezTo>
                    <a:cubicBezTo>
                      <a:pt x="0" y="7"/>
                      <a:pt x="0" y="9"/>
                      <a:pt x="0" y="11"/>
                    </a:cubicBezTo>
                    <a:cubicBezTo>
                      <a:pt x="0" y="15"/>
                      <a:pt x="3" y="16"/>
                      <a:pt x="4" y="17"/>
                    </a:cubicBezTo>
                    <a:cubicBezTo>
                      <a:pt x="4" y="17"/>
                      <a:pt x="5" y="17"/>
                      <a:pt x="5" y="18"/>
                    </a:cubicBezTo>
                    <a:cubicBezTo>
                      <a:pt x="5" y="18"/>
                      <a:pt x="5" y="19"/>
                      <a:pt x="5" y="20"/>
                    </a:cubicBezTo>
                    <a:cubicBezTo>
                      <a:pt x="5" y="22"/>
                      <a:pt x="5" y="24"/>
                      <a:pt x="6" y="25"/>
                    </a:cubicBezTo>
                    <a:cubicBezTo>
                      <a:pt x="7" y="27"/>
                      <a:pt x="9" y="28"/>
                      <a:pt x="11" y="28"/>
                    </a:cubicBezTo>
                    <a:cubicBezTo>
                      <a:pt x="13" y="28"/>
                      <a:pt x="15" y="26"/>
                      <a:pt x="16" y="24"/>
                    </a:cubicBezTo>
                    <a:cubicBezTo>
                      <a:pt x="16" y="22"/>
                      <a:pt x="16" y="20"/>
                      <a:pt x="15" y="19"/>
                    </a:cubicBezTo>
                    <a:cubicBezTo>
                      <a:pt x="15" y="18"/>
                      <a:pt x="15" y="17"/>
                      <a:pt x="15" y="17"/>
                    </a:cubicBezTo>
                    <a:cubicBezTo>
                      <a:pt x="15" y="16"/>
                      <a:pt x="15" y="15"/>
                      <a:pt x="15" y="14"/>
                    </a:cubicBezTo>
                    <a:lnTo>
                      <a:pt x="15" y="13"/>
                    </a:ln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11" name="Freeform 11"/>
              <p:cNvSpPr>
                <a:spLocks/>
              </p:cNvSpPr>
              <p:nvPr/>
            </p:nvSpPr>
            <p:spPr bwMode="auto">
              <a:xfrm>
                <a:off x="116699" y="1075734"/>
                <a:ext cx="54638" cy="37519"/>
              </a:xfrm>
              <a:custGeom>
                <a:avLst/>
                <a:gdLst>
                  <a:gd name="T0" fmla="*/ 7 w 29"/>
                  <a:gd name="T1" fmla="*/ 10 h 21"/>
                  <a:gd name="T2" fmla="*/ 7 w 29"/>
                  <a:gd name="T3" fmla="*/ 10 h 21"/>
                  <a:gd name="T4" fmla="*/ 13 w 29"/>
                  <a:gd name="T5" fmla="*/ 17 h 21"/>
                  <a:gd name="T6" fmla="*/ 17 w 29"/>
                  <a:gd name="T7" fmla="*/ 18 h 21"/>
                  <a:gd name="T8" fmla="*/ 16 w 29"/>
                  <a:gd name="T9" fmla="*/ 15 h 21"/>
                  <a:gd name="T10" fmla="*/ 19 w 29"/>
                  <a:gd name="T11" fmla="*/ 16 h 21"/>
                  <a:gd name="T12" fmla="*/ 21 w 29"/>
                  <a:gd name="T13" fmla="*/ 20 h 21"/>
                  <a:gd name="T14" fmla="*/ 24 w 29"/>
                  <a:gd name="T15" fmla="*/ 21 h 21"/>
                  <a:gd name="T16" fmla="*/ 25 w 29"/>
                  <a:gd name="T17" fmla="*/ 21 h 21"/>
                  <a:gd name="T18" fmla="*/ 27 w 29"/>
                  <a:gd name="T19" fmla="*/ 21 h 21"/>
                  <a:gd name="T20" fmla="*/ 27 w 29"/>
                  <a:gd name="T21" fmla="*/ 19 h 21"/>
                  <a:gd name="T22" fmla="*/ 23 w 29"/>
                  <a:gd name="T23" fmla="*/ 8 h 21"/>
                  <a:gd name="T24" fmla="*/ 22 w 29"/>
                  <a:gd name="T25" fmla="*/ 8 h 21"/>
                  <a:gd name="T26" fmla="*/ 18 w 29"/>
                  <a:gd name="T27" fmla="*/ 5 h 21"/>
                  <a:gd name="T28" fmla="*/ 16 w 29"/>
                  <a:gd name="T29" fmla="*/ 5 h 21"/>
                  <a:gd name="T30" fmla="*/ 16 w 29"/>
                  <a:gd name="T31" fmla="*/ 5 h 21"/>
                  <a:gd name="T32" fmla="*/ 15 w 29"/>
                  <a:gd name="T33" fmla="*/ 4 h 21"/>
                  <a:gd name="T34" fmla="*/ 15 w 29"/>
                  <a:gd name="T35" fmla="*/ 4 h 21"/>
                  <a:gd name="T36" fmla="*/ 8 w 29"/>
                  <a:gd name="T37" fmla="*/ 0 h 21"/>
                  <a:gd name="T38" fmla="*/ 6 w 29"/>
                  <a:gd name="T39" fmla="*/ 0 h 21"/>
                  <a:gd name="T40" fmla="*/ 0 w 29"/>
                  <a:gd name="T41" fmla="*/ 4 h 21"/>
                  <a:gd name="T42" fmla="*/ 1 w 29"/>
                  <a:gd name="T43" fmla="*/ 7 h 21"/>
                  <a:gd name="T44" fmla="*/ 7 w 29"/>
                  <a:gd name="T45"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 h="21">
                    <a:moveTo>
                      <a:pt x="7" y="10"/>
                    </a:moveTo>
                    <a:cubicBezTo>
                      <a:pt x="7" y="10"/>
                      <a:pt x="7" y="10"/>
                      <a:pt x="7" y="10"/>
                    </a:cubicBezTo>
                    <a:cubicBezTo>
                      <a:pt x="8" y="12"/>
                      <a:pt x="9" y="17"/>
                      <a:pt x="13" y="17"/>
                    </a:cubicBezTo>
                    <a:cubicBezTo>
                      <a:pt x="17" y="18"/>
                      <a:pt x="17" y="18"/>
                      <a:pt x="17" y="18"/>
                    </a:cubicBezTo>
                    <a:cubicBezTo>
                      <a:pt x="16" y="15"/>
                      <a:pt x="16" y="15"/>
                      <a:pt x="16" y="15"/>
                    </a:cubicBezTo>
                    <a:cubicBezTo>
                      <a:pt x="17" y="15"/>
                      <a:pt x="18" y="15"/>
                      <a:pt x="19" y="16"/>
                    </a:cubicBezTo>
                    <a:cubicBezTo>
                      <a:pt x="19" y="17"/>
                      <a:pt x="20" y="19"/>
                      <a:pt x="21" y="20"/>
                    </a:cubicBezTo>
                    <a:cubicBezTo>
                      <a:pt x="22" y="21"/>
                      <a:pt x="23" y="21"/>
                      <a:pt x="24" y="21"/>
                    </a:cubicBezTo>
                    <a:cubicBezTo>
                      <a:pt x="24" y="21"/>
                      <a:pt x="25" y="21"/>
                      <a:pt x="25" y="21"/>
                    </a:cubicBezTo>
                    <a:cubicBezTo>
                      <a:pt x="27" y="21"/>
                      <a:pt x="27" y="21"/>
                      <a:pt x="27" y="21"/>
                    </a:cubicBezTo>
                    <a:cubicBezTo>
                      <a:pt x="27" y="19"/>
                      <a:pt x="27" y="19"/>
                      <a:pt x="27" y="19"/>
                    </a:cubicBezTo>
                    <a:cubicBezTo>
                      <a:pt x="29" y="13"/>
                      <a:pt x="27" y="11"/>
                      <a:pt x="23" y="8"/>
                    </a:cubicBezTo>
                    <a:cubicBezTo>
                      <a:pt x="22" y="8"/>
                      <a:pt x="22" y="8"/>
                      <a:pt x="22" y="8"/>
                    </a:cubicBezTo>
                    <a:cubicBezTo>
                      <a:pt x="21" y="6"/>
                      <a:pt x="20" y="6"/>
                      <a:pt x="18" y="5"/>
                    </a:cubicBezTo>
                    <a:cubicBezTo>
                      <a:pt x="17" y="5"/>
                      <a:pt x="16" y="5"/>
                      <a:pt x="16" y="5"/>
                    </a:cubicBezTo>
                    <a:cubicBezTo>
                      <a:pt x="16" y="5"/>
                      <a:pt x="16" y="5"/>
                      <a:pt x="16" y="5"/>
                    </a:cubicBezTo>
                    <a:cubicBezTo>
                      <a:pt x="15" y="4"/>
                      <a:pt x="15" y="4"/>
                      <a:pt x="15" y="4"/>
                    </a:cubicBezTo>
                    <a:cubicBezTo>
                      <a:pt x="15" y="4"/>
                      <a:pt x="15" y="4"/>
                      <a:pt x="15" y="4"/>
                    </a:cubicBezTo>
                    <a:cubicBezTo>
                      <a:pt x="14" y="1"/>
                      <a:pt x="11" y="0"/>
                      <a:pt x="8" y="0"/>
                    </a:cubicBezTo>
                    <a:cubicBezTo>
                      <a:pt x="7" y="0"/>
                      <a:pt x="7" y="0"/>
                      <a:pt x="6" y="0"/>
                    </a:cubicBezTo>
                    <a:cubicBezTo>
                      <a:pt x="3" y="0"/>
                      <a:pt x="0" y="1"/>
                      <a:pt x="0" y="4"/>
                    </a:cubicBezTo>
                    <a:cubicBezTo>
                      <a:pt x="0" y="5"/>
                      <a:pt x="0" y="6"/>
                      <a:pt x="1" y="7"/>
                    </a:cubicBezTo>
                    <a:cubicBezTo>
                      <a:pt x="2" y="9"/>
                      <a:pt x="5" y="9"/>
                      <a:pt x="7" y="10"/>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12" name="Freeform 12"/>
              <p:cNvSpPr>
                <a:spLocks/>
              </p:cNvSpPr>
              <p:nvPr/>
            </p:nvSpPr>
            <p:spPr bwMode="auto">
              <a:xfrm>
                <a:off x="163998" y="1078797"/>
                <a:ext cx="93782" cy="71976"/>
              </a:xfrm>
              <a:custGeom>
                <a:avLst/>
                <a:gdLst>
                  <a:gd name="T0" fmla="*/ 2 w 49"/>
                  <a:gd name="T1" fmla="*/ 24 h 40"/>
                  <a:gd name="T2" fmla="*/ 3 w 49"/>
                  <a:gd name="T3" fmla="*/ 27 h 40"/>
                  <a:gd name="T4" fmla="*/ 3 w 49"/>
                  <a:gd name="T5" fmla="*/ 26 h 40"/>
                  <a:gd name="T6" fmla="*/ 1 w 49"/>
                  <a:gd name="T7" fmla="*/ 30 h 40"/>
                  <a:gd name="T8" fmla="*/ 3 w 49"/>
                  <a:gd name="T9" fmla="*/ 35 h 40"/>
                  <a:gd name="T10" fmla="*/ 4 w 49"/>
                  <a:gd name="T11" fmla="*/ 35 h 40"/>
                  <a:gd name="T12" fmla="*/ 4 w 49"/>
                  <a:gd name="T13" fmla="*/ 36 h 40"/>
                  <a:gd name="T14" fmla="*/ 7 w 49"/>
                  <a:gd name="T15" fmla="*/ 39 h 40"/>
                  <a:gd name="T16" fmla="*/ 10 w 49"/>
                  <a:gd name="T17" fmla="*/ 40 h 40"/>
                  <a:gd name="T18" fmla="*/ 15 w 49"/>
                  <a:gd name="T19" fmla="*/ 37 h 40"/>
                  <a:gd name="T20" fmla="*/ 15 w 49"/>
                  <a:gd name="T21" fmla="*/ 33 h 40"/>
                  <a:gd name="T22" fmla="*/ 12 w 49"/>
                  <a:gd name="T23" fmla="*/ 31 h 40"/>
                  <a:gd name="T24" fmla="*/ 12 w 49"/>
                  <a:gd name="T25" fmla="*/ 31 h 40"/>
                  <a:gd name="T26" fmla="*/ 13 w 49"/>
                  <a:gd name="T27" fmla="*/ 28 h 40"/>
                  <a:gd name="T28" fmla="*/ 14 w 49"/>
                  <a:gd name="T29" fmla="*/ 27 h 40"/>
                  <a:gd name="T30" fmla="*/ 14 w 49"/>
                  <a:gd name="T31" fmla="*/ 27 h 40"/>
                  <a:gd name="T32" fmla="*/ 19 w 49"/>
                  <a:gd name="T33" fmla="*/ 30 h 40"/>
                  <a:gd name="T34" fmla="*/ 19 w 49"/>
                  <a:gd name="T35" fmla="*/ 30 h 40"/>
                  <a:gd name="T36" fmla="*/ 25 w 49"/>
                  <a:gd name="T37" fmla="*/ 24 h 40"/>
                  <a:gd name="T38" fmla="*/ 28 w 49"/>
                  <a:gd name="T39" fmla="*/ 21 h 40"/>
                  <a:gd name="T40" fmla="*/ 31 w 49"/>
                  <a:gd name="T41" fmla="*/ 20 h 40"/>
                  <a:gd name="T42" fmla="*/ 39 w 49"/>
                  <a:gd name="T43" fmla="*/ 17 h 40"/>
                  <a:gd name="T44" fmla="*/ 41 w 49"/>
                  <a:gd name="T45" fmla="*/ 14 h 40"/>
                  <a:gd name="T46" fmla="*/ 42 w 49"/>
                  <a:gd name="T47" fmla="*/ 13 h 40"/>
                  <a:gd name="T48" fmla="*/ 43 w 49"/>
                  <a:gd name="T49" fmla="*/ 12 h 40"/>
                  <a:gd name="T50" fmla="*/ 48 w 49"/>
                  <a:gd name="T51" fmla="*/ 10 h 40"/>
                  <a:gd name="T52" fmla="*/ 48 w 49"/>
                  <a:gd name="T53" fmla="*/ 3 h 40"/>
                  <a:gd name="T54" fmla="*/ 44 w 49"/>
                  <a:gd name="T55" fmla="*/ 1 h 40"/>
                  <a:gd name="T56" fmla="*/ 39 w 49"/>
                  <a:gd name="T57" fmla="*/ 3 h 40"/>
                  <a:gd name="T58" fmla="*/ 37 w 49"/>
                  <a:gd name="T59" fmla="*/ 4 h 40"/>
                  <a:gd name="T60" fmla="*/ 35 w 49"/>
                  <a:gd name="T61" fmla="*/ 1 h 40"/>
                  <a:gd name="T62" fmla="*/ 31 w 49"/>
                  <a:gd name="T63" fmla="*/ 0 h 40"/>
                  <a:gd name="T64" fmla="*/ 23 w 49"/>
                  <a:gd name="T65" fmla="*/ 9 h 40"/>
                  <a:gd name="T66" fmla="*/ 20 w 49"/>
                  <a:gd name="T67" fmla="*/ 15 h 40"/>
                  <a:gd name="T68" fmla="*/ 19 w 49"/>
                  <a:gd name="T69" fmla="*/ 16 h 40"/>
                  <a:gd name="T70" fmla="*/ 16 w 49"/>
                  <a:gd name="T71" fmla="*/ 20 h 40"/>
                  <a:gd name="T72" fmla="*/ 15 w 49"/>
                  <a:gd name="T73" fmla="*/ 19 h 40"/>
                  <a:gd name="T74" fmla="*/ 14 w 49"/>
                  <a:gd name="T75" fmla="*/ 17 h 40"/>
                  <a:gd name="T76" fmla="*/ 14 w 49"/>
                  <a:gd name="T77" fmla="*/ 16 h 40"/>
                  <a:gd name="T78" fmla="*/ 12 w 49"/>
                  <a:gd name="T79" fmla="*/ 15 h 40"/>
                  <a:gd name="T80" fmla="*/ 9 w 49"/>
                  <a:gd name="T81" fmla="*/ 14 h 40"/>
                  <a:gd name="T82" fmla="*/ 5 w 49"/>
                  <a:gd name="T83" fmla="*/ 16 h 40"/>
                  <a:gd name="T84" fmla="*/ 4 w 49"/>
                  <a:gd name="T85" fmla="*/ 17 h 40"/>
                  <a:gd name="T86" fmla="*/ 3 w 49"/>
                  <a:gd name="T87" fmla="*/ 19 h 40"/>
                  <a:gd name="T88" fmla="*/ 2 w 49"/>
                  <a:gd name="T8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9" h="40">
                    <a:moveTo>
                      <a:pt x="2" y="24"/>
                    </a:moveTo>
                    <a:cubicBezTo>
                      <a:pt x="3" y="27"/>
                      <a:pt x="3" y="27"/>
                      <a:pt x="3" y="27"/>
                    </a:cubicBezTo>
                    <a:cubicBezTo>
                      <a:pt x="3" y="26"/>
                      <a:pt x="3" y="26"/>
                      <a:pt x="3" y="26"/>
                    </a:cubicBezTo>
                    <a:cubicBezTo>
                      <a:pt x="2" y="27"/>
                      <a:pt x="1" y="28"/>
                      <a:pt x="1" y="30"/>
                    </a:cubicBezTo>
                    <a:cubicBezTo>
                      <a:pt x="0" y="34"/>
                      <a:pt x="2" y="35"/>
                      <a:pt x="3" y="35"/>
                    </a:cubicBezTo>
                    <a:cubicBezTo>
                      <a:pt x="3" y="35"/>
                      <a:pt x="4" y="35"/>
                      <a:pt x="4" y="35"/>
                    </a:cubicBezTo>
                    <a:cubicBezTo>
                      <a:pt x="4" y="35"/>
                      <a:pt x="4" y="36"/>
                      <a:pt x="4" y="36"/>
                    </a:cubicBezTo>
                    <a:cubicBezTo>
                      <a:pt x="5" y="37"/>
                      <a:pt x="5" y="38"/>
                      <a:pt x="7" y="39"/>
                    </a:cubicBezTo>
                    <a:cubicBezTo>
                      <a:pt x="8" y="39"/>
                      <a:pt x="9" y="40"/>
                      <a:pt x="10" y="40"/>
                    </a:cubicBezTo>
                    <a:cubicBezTo>
                      <a:pt x="13" y="40"/>
                      <a:pt x="15" y="39"/>
                      <a:pt x="15" y="37"/>
                    </a:cubicBezTo>
                    <a:cubicBezTo>
                      <a:pt x="16" y="36"/>
                      <a:pt x="16" y="35"/>
                      <a:pt x="15" y="33"/>
                    </a:cubicBezTo>
                    <a:cubicBezTo>
                      <a:pt x="14" y="32"/>
                      <a:pt x="13" y="32"/>
                      <a:pt x="12" y="31"/>
                    </a:cubicBezTo>
                    <a:cubicBezTo>
                      <a:pt x="12" y="31"/>
                      <a:pt x="12" y="31"/>
                      <a:pt x="12" y="31"/>
                    </a:cubicBezTo>
                    <a:cubicBezTo>
                      <a:pt x="12" y="30"/>
                      <a:pt x="13" y="28"/>
                      <a:pt x="13" y="28"/>
                    </a:cubicBezTo>
                    <a:cubicBezTo>
                      <a:pt x="13" y="27"/>
                      <a:pt x="14" y="27"/>
                      <a:pt x="14" y="27"/>
                    </a:cubicBezTo>
                    <a:cubicBezTo>
                      <a:pt x="14" y="27"/>
                      <a:pt x="14" y="27"/>
                      <a:pt x="14" y="27"/>
                    </a:cubicBezTo>
                    <a:cubicBezTo>
                      <a:pt x="15" y="28"/>
                      <a:pt x="16" y="30"/>
                      <a:pt x="19" y="30"/>
                    </a:cubicBezTo>
                    <a:cubicBezTo>
                      <a:pt x="19" y="30"/>
                      <a:pt x="19" y="30"/>
                      <a:pt x="19" y="30"/>
                    </a:cubicBezTo>
                    <a:cubicBezTo>
                      <a:pt x="22" y="30"/>
                      <a:pt x="24" y="27"/>
                      <a:pt x="25" y="24"/>
                    </a:cubicBezTo>
                    <a:cubicBezTo>
                      <a:pt x="26" y="23"/>
                      <a:pt x="27" y="21"/>
                      <a:pt x="28" y="21"/>
                    </a:cubicBezTo>
                    <a:cubicBezTo>
                      <a:pt x="29" y="20"/>
                      <a:pt x="30" y="20"/>
                      <a:pt x="31" y="20"/>
                    </a:cubicBezTo>
                    <a:cubicBezTo>
                      <a:pt x="34" y="20"/>
                      <a:pt x="37" y="20"/>
                      <a:pt x="39" y="17"/>
                    </a:cubicBezTo>
                    <a:cubicBezTo>
                      <a:pt x="40" y="16"/>
                      <a:pt x="41" y="15"/>
                      <a:pt x="41" y="14"/>
                    </a:cubicBezTo>
                    <a:cubicBezTo>
                      <a:pt x="42" y="14"/>
                      <a:pt x="42" y="13"/>
                      <a:pt x="42" y="13"/>
                    </a:cubicBezTo>
                    <a:cubicBezTo>
                      <a:pt x="42" y="13"/>
                      <a:pt x="43" y="12"/>
                      <a:pt x="43" y="12"/>
                    </a:cubicBezTo>
                    <a:cubicBezTo>
                      <a:pt x="45" y="12"/>
                      <a:pt x="47" y="12"/>
                      <a:pt x="48" y="10"/>
                    </a:cubicBezTo>
                    <a:cubicBezTo>
                      <a:pt x="49" y="8"/>
                      <a:pt x="49" y="5"/>
                      <a:pt x="48" y="3"/>
                    </a:cubicBezTo>
                    <a:cubicBezTo>
                      <a:pt x="48" y="2"/>
                      <a:pt x="46" y="1"/>
                      <a:pt x="44" y="1"/>
                    </a:cubicBezTo>
                    <a:cubicBezTo>
                      <a:pt x="42" y="1"/>
                      <a:pt x="40" y="1"/>
                      <a:pt x="39" y="3"/>
                    </a:cubicBezTo>
                    <a:cubicBezTo>
                      <a:pt x="38" y="3"/>
                      <a:pt x="38" y="4"/>
                      <a:pt x="37" y="4"/>
                    </a:cubicBezTo>
                    <a:cubicBezTo>
                      <a:pt x="37" y="3"/>
                      <a:pt x="36" y="2"/>
                      <a:pt x="35" y="1"/>
                    </a:cubicBezTo>
                    <a:cubicBezTo>
                      <a:pt x="34" y="1"/>
                      <a:pt x="32" y="0"/>
                      <a:pt x="31" y="0"/>
                    </a:cubicBezTo>
                    <a:cubicBezTo>
                      <a:pt x="27" y="0"/>
                      <a:pt x="24" y="6"/>
                      <a:pt x="23" y="9"/>
                    </a:cubicBezTo>
                    <a:cubicBezTo>
                      <a:pt x="23" y="11"/>
                      <a:pt x="22" y="12"/>
                      <a:pt x="20" y="15"/>
                    </a:cubicBezTo>
                    <a:cubicBezTo>
                      <a:pt x="19" y="16"/>
                      <a:pt x="19" y="16"/>
                      <a:pt x="19" y="16"/>
                    </a:cubicBezTo>
                    <a:cubicBezTo>
                      <a:pt x="18" y="17"/>
                      <a:pt x="17" y="18"/>
                      <a:pt x="16" y="20"/>
                    </a:cubicBezTo>
                    <a:cubicBezTo>
                      <a:pt x="16" y="20"/>
                      <a:pt x="16" y="19"/>
                      <a:pt x="15" y="19"/>
                    </a:cubicBezTo>
                    <a:cubicBezTo>
                      <a:pt x="15" y="18"/>
                      <a:pt x="14" y="18"/>
                      <a:pt x="14" y="17"/>
                    </a:cubicBezTo>
                    <a:cubicBezTo>
                      <a:pt x="14" y="16"/>
                      <a:pt x="14" y="16"/>
                      <a:pt x="14" y="16"/>
                    </a:cubicBezTo>
                    <a:cubicBezTo>
                      <a:pt x="12" y="15"/>
                      <a:pt x="12" y="15"/>
                      <a:pt x="12" y="15"/>
                    </a:cubicBezTo>
                    <a:cubicBezTo>
                      <a:pt x="11" y="14"/>
                      <a:pt x="10" y="14"/>
                      <a:pt x="9" y="14"/>
                    </a:cubicBezTo>
                    <a:cubicBezTo>
                      <a:pt x="8" y="14"/>
                      <a:pt x="6" y="15"/>
                      <a:pt x="5" y="16"/>
                    </a:cubicBezTo>
                    <a:cubicBezTo>
                      <a:pt x="5" y="16"/>
                      <a:pt x="5" y="17"/>
                      <a:pt x="4" y="17"/>
                    </a:cubicBezTo>
                    <a:cubicBezTo>
                      <a:pt x="4" y="18"/>
                      <a:pt x="3" y="18"/>
                      <a:pt x="3" y="19"/>
                    </a:cubicBezTo>
                    <a:cubicBezTo>
                      <a:pt x="2" y="20"/>
                      <a:pt x="2" y="22"/>
                      <a:pt x="2" y="24"/>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13" name="Freeform 13"/>
              <p:cNvSpPr>
                <a:spLocks/>
              </p:cNvSpPr>
              <p:nvPr/>
            </p:nvSpPr>
            <p:spPr bwMode="auto">
              <a:xfrm>
                <a:off x="-603387" y="2001462"/>
                <a:ext cx="55454" cy="49770"/>
              </a:xfrm>
              <a:custGeom>
                <a:avLst/>
                <a:gdLst>
                  <a:gd name="T0" fmla="*/ 18 w 29"/>
                  <a:gd name="T1" fmla="*/ 20 h 28"/>
                  <a:gd name="T2" fmla="*/ 21 w 29"/>
                  <a:gd name="T3" fmla="*/ 17 h 28"/>
                  <a:gd name="T4" fmla="*/ 22 w 29"/>
                  <a:gd name="T5" fmla="*/ 15 h 28"/>
                  <a:gd name="T6" fmla="*/ 29 w 29"/>
                  <a:gd name="T7" fmla="*/ 5 h 28"/>
                  <a:gd name="T8" fmla="*/ 24 w 29"/>
                  <a:gd name="T9" fmla="*/ 0 h 28"/>
                  <a:gd name="T10" fmla="*/ 17 w 29"/>
                  <a:gd name="T11" fmla="*/ 3 h 28"/>
                  <a:gd name="T12" fmla="*/ 13 w 29"/>
                  <a:gd name="T13" fmla="*/ 6 h 28"/>
                  <a:gd name="T14" fmla="*/ 10 w 29"/>
                  <a:gd name="T15" fmla="*/ 9 h 28"/>
                  <a:gd name="T16" fmla="*/ 7 w 29"/>
                  <a:gd name="T17" fmla="*/ 13 h 28"/>
                  <a:gd name="T18" fmla="*/ 5 w 29"/>
                  <a:gd name="T19" fmla="*/ 15 h 28"/>
                  <a:gd name="T20" fmla="*/ 4 w 29"/>
                  <a:gd name="T21" fmla="*/ 16 h 28"/>
                  <a:gd name="T22" fmla="*/ 0 w 29"/>
                  <a:gd name="T23" fmla="*/ 23 h 28"/>
                  <a:gd name="T24" fmla="*/ 2 w 29"/>
                  <a:gd name="T25" fmla="*/ 27 h 28"/>
                  <a:gd name="T26" fmla="*/ 6 w 29"/>
                  <a:gd name="T27" fmla="*/ 28 h 28"/>
                  <a:gd name="T28" fmla="*/ 13 w 29"/>
                  <a:gd name="T29" fmla="*/ 25 h 28"/>
                  <a:gd name="T30" fmla="*/ 18 w 29"/>
                  <a:gd name="T31"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28">
                    <a:moveTo>
                      <a:pt x="18" y="20"/>
                    </a:moveTo>
                    <a:cubicBezTo>
                      <a:pt x="19" y="19"/>
                      <a:pt x="20" y="18"/>
                      <a:pt x="21" y="17"/>
                    </a:cubicBezTo>
                    <a:cubicBezTo>
                      <a:pt x="21" y="16"/>
                      <a:pt x="22" y="16"/>
                      <a:pt x="22" y="15"/>
                    </a:cubicBezTo>
                    <a:cubicBezTo>
                      <a:pt x="25" y="13"/>
                      <a:pt x="29" y="10"/>
                      <a:pt x="29" y="5"/>
                    </a:cubicBezTo>
                    <a:cubicBezTo>
                      <a:pt x="29" y="1"/>
                      <a:pt x="26" y="0"/>
                      <a:pt x="24" y="0"/>
                    </a:cubicBezTo>
                    <a:cubicBezTo>
                      <a:pt x="22" y="0"/>
                      <a:pt x="20" y="1"/>
                      <a:pt x="17" y="3"/>
                    </a:cubicBezTo>
                    <a:cubicBezTo>
                      <a:pt x="16" y="4"/>
                      <a:pt x="14" y="5"/>
                      <a:pt x="13" y="6"/>
                    </a:cubicBezTo>
                    <a:cubicBezTo>
                      <a:pt x="12" y="7"/>
                      <a:pt x="11" y="8"/>
                      <a:pt x="10" y="9"/>
                    </a:cubicBezTo>
                    <a:cubicBezTo>
                      <a:pt x="8" y="10"/>
                      <a:pt x="7" y="11"/>
                      <a:pt x="7" y="13"/>
                    </a:cubicBezTo>
                    <a:cubicBezTo>
                      <a:pt x="6" y="13"/>
                      <a:pt x="6" y="14"/>
                      <a:pt x="5" y="15"/>
                    </a:cubicBezTo>
                    <a:cubicBezTo>
                      <a:pt x="5" y="15"/>
                      <a:pt x="5" y="15"/>
                      <a:pt x="4" y="16"/>
                    </a:cubicBezTo>
                    <a:cubicBezTo>
                      <a:pt x="2" y="18"/>
                      <a:pt x="0" y="20"/>
                      <a:pt x="0" y="23"/>
                    </a:cubicBezTo>
                    <a:cubicBezTo>
                      <a:pt x="0" y="25"/>
                      <a:pt x="0" y="26"/>
                      <a:pt x="2" y="27"/>
                    </a:cubicBezTo>
                    <a:cubicBezTo>
                      <a:pt x="3" y="28"/>
                      <a:pt x="4" y="28"/>
                      <a:pt x="6" y="28"/>
                    </a:cubicBezTo>
                    <a:cubicBezTo>
                      <a:pt x="9" y="28"/>
                      <a:pt x="12" y="26"/>
                      <a:pt x="13" y="25"/>
                    </a:cubicBezTo>
                    <a:cubicBezTo>
                      <a:pt x="15" y="24"/>
                      <a:pt x="17" y="22"/>
                      <a:pt x="18" y="20"/>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14" name="Freeform 14"/>
              <p:cNvSpPr>
                <a:spLocks/>
              </p:cNvSpPr>
              <p:nvPr/>
            </p:nvSpPr>
            <p:spPr bwMode="auto">
              <a:xfrm>
                <a:off x="-666181" y="2049701"/>
                <a:ext cx="59531" cy="44410"/>
              </a:xfrm>
              <a:custGeom>
                <a:avLst/>
                <a:gdLst>
                  <a:gd name="T0" fmla="*/ 26 w 31"/>
                  <a:gd name="T1" fmla="*/ 0 h 25"/>
                  <a:gd name="T2" fmla="*/ 16 w 31"/>
                  <a:gd name="T3" fmla="*/ 3 h 25"/>
                  <a:gd name="T4" fmla="*/ 14 w 31"/>
                  <a:gd name="T5" fmla="*/ 4 h 25"/>
                  <a:gd name="T6" fmla="*/ 10 w 31"/>
                  <a:gd name="T7" fmla="*/ 6 h 25"/>
                  <a:gd name="T8" fmla="*/ 8 w 31"/>
                  <a:gd name="T9" fmla="*/ 6 h 25"/>
                  <a:gd name="T10" fmla="*/ 7 w 31"/>
                  <a:gd name="T11" fmla="*/ 6 h 25"/>
                  <a:gd name="T12" fmla="*/ 3 w 31"/>
                  <a:gd name="T13" fmla="*/ 7 h 25"/>
                  <a:gd name="T14" fmla="*/ 1 w 31"/>
                  <a:gd name="T15" fmla="*/ 19 h 25"/>
                  <a:gd name="T16" fmla="*/ 9 w 31"/>
                  <a:gd name="T17" fmla="*/ 25 h 25"/>
                  <a:gd name="T18" fmla="*/ 11 w 31"/>
                  <a:gd name="T19" fmla="*/ 25 h 25"/>
                  <a:gd name="T20" fmla="*/ 15 w 31"/>
                  <a:gd name="T21" fmla="*/ 19 h 25"/>
                  <a:gd name="T22" fmla="*/ 16 w 31"/>
                  <a:gd name="T23" fmla="*/ 18 h 25"/>
                  <a:gd name="T24" fmla="*/ 18 w 31"/>
                  <a:gd name="T25" fmla="*/ 17 h 25"/>
                  <a:gd name="T26" fmla="*/ 21 w 31"/>
                  <a:gd name="T27" fmla="*/ 15 h 25"/>
                  <a:gd name="T28" fmla="*/ 23 w 31"/>
                  <a:gd name="T29" fmla="*/ 12 h 25"/>
                  <a:gd name="T30" fmla="*/ 23 w 31"/>
                  <a:gd name="T31" fmla="*/ 11 h 25"/>
                  <a:gd name="T32" fmla="*/ 24 w 31"/>
                  <a:gd name="T33" fmla="*/ 11 h 25"/>
                  <a:gd name="T34" fmla="*/ 25 w 31"/>
                  <a:gd name="T35" fmla="*/ 10 h 25"/>
                  <a:gd name="T36" fmla="*/ 31 w 31"/>
                  <a:gd name="T37" fmla="*/ 5 h 25"/>
                  <a:gd name="T38" fmla="*/ 29 w 31"/>
                  <a:gd name="T39" fmla="*/ 1 h 25"/>
                  <a:gd name="T40" fmla="*/ 26 w 31"/>
                  <a:gd name="T4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25">
                    <a:moveTo>
                      <a:pt x="26" y="0"/>
                    </a:moveTo>
                    <a:cubicBezTo>
                      <a:pt x="23" y="0"/>
                      <a:pt x="19" y="1"/>
                      <a:pt x="16" y="3"/>
                    </a:cubicBezTo>
                    <a:cubicBezTo>
                      <a:pt x="15" y="4"/>
                      <a:pt x="15" y="4"/>
                      <a:pt x="14" y="4"/>
                    </a:cubicBezTo>
                    <a:cubicBezTo>
                      <a:pt x="13" y="5"/>
                      <a:pt x="11" y="5"/>
                      <a:pt x="10" y="6"/>
                    </a:cubicBezTo>
                    <a:cubicBezTo>
                      <a:pt x="9" y="6"/>
                      <a:pt x="9" y="6"/>
                      <a:pt x="8" y="6"/>
                    </a:cubicBezTo>
                    <a:cubicBezTo>
                      <a:pt x="8" y="6"/>
                      <a:pt x="7" y="6"/>
                      <a:pt x="7" y="6"/>
                    </a:cubicBezTo>
                    <a:cubicBezTo>
                      <a:pt x="6" y="6"/>
                      <a:pt x="4" y="6"/>
                      <a:pt x="3" y="7"/>
                    </a:cubicBezTo>
                    <a:cubicBezTo>
                      <a:pt x="0" y="9"/>
                      <a:pt x="0" y="17"/>
                      <a:pt x="1" y="19"/>
                    </a:cubicBezTo>
                    <a:cubicBezTo>
                      <a:pt x="2" y="23"/>
                      <a:pt x="5" y="25"/>
                      <a:pt x="9" y="25"/>
                    </a:cubicBezTo>
                    <a:cubicBezTo>
                      <a:pt x="10" y="25"/>
                      <a:pt x="11" y="25"/>
                      <a:pt x="11" y="25"/>
                    </a:cubicBezTo>
                    <a:cubicBezTo>
                      <a:pt x="14" y="24"/>
                      <a:pt x="15" y="21"/>
                      <a:pt x="15" y="19"/>
                    </a:cubicBezTo>
                    <a:cubicBezTo>
                      <a:pt x="15" y="19"/>
                      <a:pt x="16" y="18"/>
                      <a:pt x="16" y="18"/>
                    </a:cubicBezTo>
                    <a:cubicBezTo>
                      <a:pt x="16" y="18"/>
                      <a:pt x="17" y="17"/>
                      <a:pt x="18" y="17"/>
                    </a:cubicBezTo>
                    <a:cubicBezTo>
                      <a:pt x="19" y="17"/>
                      <a:pt x="20" y="16"/>
                      <a:pt x="21" y="15"/>
                    </a:cubicBezTo>
                    <a:cubicBezTo>
                      <a:pt x="22" y="14"/>
                      <a:pt x="23" y="13"/>
                      <a:pt x="23" y="12"/>
                    </a:cubicBezTo>
                    <a:cubicBezTo>
                      <a:pt x="23" y="12"/>
                      <a:pt x="23" y="12"/>
                      <a:pt x="23" y="11"/>
                    </a:cubicBezTo>
                    <a:cubicBezTo>
                      <a:pt x="23" y="11"/>
                      <a:pt x="24" y="11"/>
                      <a:pt x="24" y="11"/>
                    </a:cubicBezTo>
                    <a:cubicBezTo>
                      <a:pt x="25" y="10"/>
                      <a:pt x="25" y="10"/>
                      <a:pt x="25" y="10"/>
                    </a:cubicBezTo>
                    <a:cubicBezTo>
                      <a:pt x="27" y="9"/>
                      <a:pt x="31" y="8"/>
                      <a:pt x="31" y="5"/>
                    </a:cubicBezTo>
                    <a:cubicBezTo>
                      <a:pt x="31" y="4"/>
                      <a:pt x="31" y="2"/>
                      <a:pt x="29" y="1"/>
                    </a:cubicBezTo>
                    <a:cubicBezTo>
                      <a:pt x="28" y="0"/>
                      <a:pt x="27" y="0"/>
                      <a:pt x="26" y="0"/>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15" name="Freeform 15"/>
              <p:cNvSpPr>
                <a:spLocks/>
              </p:cNvSpPr>
              <p:nvPr/>
            </p:nvSpPr>
            <p:spPr bwMode="auto">
              <a:xfrm>
                <a:off x="-526730" y="2201309"/>
                <a:ext cx="41590" cy="53599"/>
              </a:xfrm>
              <a:custGeom>
                <a:avLst/>
                <a:gdLst>
                  <a:gd name="T0" fmla="*/ 4 w 22"/>
                  <a:gd name="T1" fmla="*/ 29 h 30"/>
                  <a:gd name="T2" fmla="*/ 6 w 22"/>
                  <a:gd name="T3" fmla="*/ 30 h 30"/>
                  <a:gd name="T4" fmla="*/ 11 w 22"/>
                  <a:gd name="T5" fmla="*/ 25 h 30"/>
                  <a:gd name="T6" fmla="*/ 11 w 22"/>
                  <a:gd name="T7" fmla="*/ 24 h 30"/>
                  <a:gd name="T8" fmla="*/ 13 w 22"/>
                  <a:gd name="T9" fmla="*/ 22 h 30"/>
                  <a:gd name="T10" fmla="*/ 15 w 22"/>
                  <a:gd name="T11" fmla="*/ 20 h 30"/>
                  <a:gd name="T12" fmla="*/ 16 w 22"/>
                  <a:gd name="T13" fmla="*/ 17 h 30"/>
                  <a:gd name="T14" fmla="*/ 17 w 22"/>
                  <a:gd name="T15" fmla="*/ 16 h 30"/>
                  <a:gd name="T16" fmla="*/ 18 w 22"/>
                  <a:gd name="T17" fmla="*/ 14 h 30"/>
                  <a:gd name="T18" fmla="*/ 22 w 22"/>
                  <a:gd name="T19" fmla="*/ 7 h 30"/>
                  <a:gd name="T20" fmla="*/ 21 w 22"/>
                  <a:gd name="T21" fmla="*/ 2 h 30"/>
                  <a:gd name="T22" fmla="*/ 17 w 22"/>
                  <a:gd name="T23" fmla="*/ 0 h 30"/>
                  <a:gd name="T24" fmla="*/ 14 w 22"/>
                  <a:gd name="T25" fmla="*/ 0 h 30"/>
                  <a:gd name="T26" fmla="*/ 0 w 22"/>
                  <a:gd name="T27" fmla="*/ 23 h 30"/>
                  <a:gd name="T28" fmla="*/ 4 w 22"/>
                  <a:gd name="T29"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30">
                    <a:moveTo>
                      <a:pt x="4" y="29"/>
                    </a:moveTo>
                    <a:cubicBezTo>
                      <a:pt x="5" y="30"/>
                      <a:pt x="5" y="30"/>
                      <a:pt x="6" y="30"/>
                    </a:cubicBezTo>
                    <a:cubicBezTo>
                      <a:pt x="9" y="30"/>
                      <a:pt x="10" y="26"/>
                      <a:pt x="11" y="25"/>
                    </a:cubicBezTo>
                    <a:cubicBezTo>
                      <a:pt x="11" y="25"/>
                      <a:pt x="11" y="24"/>
                      <a:pt x="11" y="24"/>
                    </a:cubicBezTo>
                    <a:cubicBezTo>
                      <a:pt x="12" y="23"/>
                      <a:pt x="12" y="23"/>
                      <a:pt x="13" y="22"/>
                    </a:cubicBezTo>
                    <a:cubicBezTo>
                      <a:pt x="13" y="22"/>
                      <a:pt x="14" y="21"/>
                      <a:pt x="15" y="20"/>
                    </a:cubicBezTo>
                    <a:cubicBezTo>
                      <a:pt x="16" y="19"/>
                      <a:pt x="16" y="18"/>
                      <a:pt x="16" y="17"/>
                    </a:cubicBezTo>
                    <a:cubicBezTo>
                      <a:pt x="16" y="17"/>
                      <a:pt x="17" y="16"/>
                      <a:pt x="17" y="16"/>
                    </a:cubicBezTo>
                    <a:cubicBezTo>
                      <a:pt x="17" y="15"/>
                      <a:pt x="18" y="14"/>
                      <a:pt x="18" y="14"/>
                    </a:cubicBezTo>
                    <a:cubicBezTo>
                      <a:pt x="20" y="12"/>
                      <a:pt x="21" y="9"/>
                      <a:pt x="22" y="7"/>
                    </a:cubicBezTo>
                    <a:cubicBezTo>
                      <a:pt x="22" y="4"/>
                      <a:pt x="22" y="2"/>
                      <a:pt x="21" y="2"/>
                    </a:cubicBezTo>
                    <a:cubicBezTo>
                      <a:pt x="20" y="0"/>
                      <a:pt x="19" y="0"/>
                      <a:pt x="17" y="0"/>
                    </a:cubicBezTo>
                    <a:cubicBezTo>
                      <a:pt x="16" y="0"/>
                      <a:pt x="15" y="0"/>
                      <a:pt x="14" y="0"/>
                    </a:cubicBezTo>
                    <a:cubicBezTo>
                      <a:pt x="9" y="2"/>
                      <a:pt x="0" y="16"/>
                      <a:pt x="0" y="23"/>
                    </a:cubicBezTo>
                    <a:cubicBezTo>
                      <a:pt x="0" y="26"/>
                      <a:pt x="2" y="28"/>
                      <a:pt x="4" y="29"/>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16" name="Freeform 16"/>
              <p:cNvSpPr>
                <a:spLocks/>
              </p:cNvSpPr>
              <p:nvPr/>
            </p:nvSpPr>
            <p:spPr bwMode="auto">
              <a:xfrm>
                <a:off x="-580553" y="2178338"/>
                <a:ext cx="192458" cy="226646"/>
              </a:xfrm>
              <a:custGeom>
                <a:avLst/>
                <a:gdLst>
                  <a:gd name="T0" fmla="*/ 93 w 101"/>
                  <a:gd name="T1" fmla="*/ 28 h 127"/>
                  <a:gd name="T2" fmla="*/ 98 w 101"/>
                  <a:gd name="T3" fmla="*/ 11 h 127"/>
                  <a:gd name="T4" fmla="*/ 97 w 101"/>
                  <a:gd name="T5" fmla="*/ 9 h 127"/>
                  <a:gd name="T6" fmla="*/ 95 w 101"/>
                  <a:gd name="T7" fmla="*/ 0 h 127"/>
                  <a:gd name="T8" fmla="*/ 90 w 101"/>
                  <a:gd name="T9" fmla="*/ 3 h 127"/>
                  <a:gd name="T10" fmla="*/ 89 w 101"/>
                  <a:gd name="T11" fmla="*/ 4 h 127"/>
                  <a:gd name="T12" fmla="*/ 85 w 101"/>
                  <a:gd name="T13" fmla="*/ 13 h 127"/>
                  <a:gd name="T14" fmla="*/ 79 w 101"/>
                  <a:gd name="T15" fmla="*/ 18 h 127"/>
                  <a:gd name="T16" fmla="*/ 68 w 101"/>
                  <a:gd name="T17" fmla="*/ 30 h 127"/>
                  <a:gd name="T18" fmla="*/ 63 w 101"/>
                  <a:gd name="T19" fmla="*/ 36 h 127"/>
                  <a:gd name="T20" fmla="*/ 63 w 101"/>
                  <a:gd name="T21" fmla="*/ 48 h 127"/>
                  <a:gd name="T22" fmla="*/ 51 w 101"/>
                  <a:gd name="T23" fmla="*/ 58 h 127"/>
                  <a:gd name="T24" fmla="*/ 50 w 101"/>
                  <a:gd name="T25" fmla="*/ 53 h 127"/>
                  <a:gd name="T26" fmla="*/ 48 w 101"/>
                  <a:gd name="T27" fmla="*/ 51 h 127"/>
                  <a:gd name="T28" fmla="*/ 40 w 101"/>
                  <a:gd name="T29" fmla="*/ 55 h 127"/>
                  <a:gd name="T30" fmla="*/ 35 w 101"/>
                  <a:gd name="T31" fmla="*/ 58 h 127"/>
                  <a:gd name="T32" fmla="*/ 27 w 101"/>
                  <a:gd name="T33" fmla="*/ 63 h 127"/>
                  <a:gd name="T34" fmla="*/ 18 w 101"/>
                  <a:gd name="T35" fmla="*/ 63 h 127"/>
                  <a:gd name="T36" fmla="*/ 15 w 101"/>
                  <a:gd name="T37" fmla="*/ 65 h 127"/>
                  <a:gd name="T38" fmla="*/ 8 w 101"/>
                  <a:gd name="T39" fmla="*/ 78 h 127"/>
                  <a:gd name="T40" fmla="*/ 4 w 101"/>
                  <a:gd name="T41" fmla="*/ 90 h 127"/>
                  <a:gd name="T42" fmla="*/ 6 w 101"/>
                  <a:gd name="T43" fmla="*/ 107 h 127"/>
                  <a:gd name="T44" fmla="*/ 19 w 101"/>
                  <a:gd name="T45" fmla="*/ 94 h 127"/>
                  <a:gd name="T46" fmla="*/ 27 w 101"/>
                  <a:gd name="T47" fmla="*/ 84 h 127"/>
                  <a:gd name="T48" fmla="*/ 26 w 101"/>
                  <a:gd name="T49" fmla="*/ 88 h 127"/>
                  <a:gd name="T50" fmla="*/ 27 w 101"/>
                  <a:gd name="T51" fmla="*/ 102 h 127"/>
                  <a:gd name="T52" fmla="*/ 24 w 101"/>
                  <a:gd name="T53" fmla="*/ 111 h 127"/>
                  <a:gd name="T54" fmla="*/ 26 w 101"/>
                  <a:gd name="T55" fmla="*/ 126 h 127"/>
                  <a:gd name="T56" fmla="*/ 39 w 101"/>
                  <a:gd name="T57" fmla="*/ 119 h 127"/>
                  <a:gd name="T58" fmla="*/ 57 w 101"/>
                  <a:gd name="T59" fmla="*/ 105 h 127"/>
                  <a:gd name="T60" fmla="*/ 56 w 101"/>
                  <a:gd name="T61" fmla="*/ 85 h 127"/>
                  <a:gd name="T62" fmla="*/ 61 w 101"/>
                  <a:gd name="T63" fmla="*/ 86 h 127"/>
                  <a:gd name="T64" fmla="*/ 68 w 101"/>
                  <a:gd name="T65" fmla="*/ 75 h 127"/>
                  <a:gd name="T66" fmla="*/ 73 w 101"/>
                  <a:gd name="T67" fmla="*/ 66 h 127"/>
                  <a:gd name="T68" fmla="*/ 83 w 101"/>
                  <a:gd name="T69" fmla="*/ 4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1" h="127">
                    <a:moveTo>
                      <a:pt x="85" y="43"/>
                    </a:moveTo>
                    <a:cubicBezTo>
                      <a:pt x="87" y="38"/>
                      <a:pt x="90" y="33"/>
                      <a:pt x="93" y="28"/>
                    </a:cubicBezTo>
                    <a:cubicBezTo>
                      <a:pt x="95" y="26"/>
                      <a:pt x="95" y="26"/>
                      <a:pt x="95" y="26"/>
                    </a:cubicBezTo>
                    <a:cubicBezTo>
                      <a:pt x="95" y="26"/>
                      <a:pt x="101" y="16"/>
                      <a:pt x="98" y="11"/>
                    </a:cubicBezTo>
                    <a:cubicBezTo>
                      <a:pt x="98" y="11"/>
                      <a:pt x="97" y="10"/>
                      <a:pt x="97" y="10"/>
                    </a:cubicBezTo>
                    <a:cubicBezTo>
                      <a:pt x="97" y="9"/>
                      <a:pt x="97" y="9"/>
                      <a:pt x="97" y="9"/>
                    </a:cubicBezTo>
                    <a:cubicBezTo>
                      <a:pt x="100" y="6"/>
                      <a:pt x="99" y="4"/>
                      <a:pt x="98" y="3"/>
                    </a:cubicBezTo>
                    <a:cubicBezTo>
                      <a:pt x="97" y="0"/>
                      <a:pt x="95" y="0"/>
                      <a:pt x="95" y="0"/>
                    </a:cubicBezTo>
                    <a:cubicBezTo>
                      <a:pt x="93" y="0"/>
                      <a:pt x="91" y="1"/>
                      <a:pt x="91" y="3"/>
                    </a:cubicBezTo>
                    <a:cubicBezTo>
                      <a:pt x="90" y="3"/>
                      <a:pt x="90" y="3"/>
                      <a:pt x="90" y="3"/>
                    </a:cubicBezTo>
                    <a:cubicBezTo>
                      <a:pt x="89" y="3"/>
                      <a:pt x="89" y="3"/>
                      <a:pt x="89" y="3"/>
                    </a:cubicBezTo>
                    <a:cubicBezTo>
                      <a:pt x="89" y="4"/>
                      <a:pt x="89" y="4"/>
                      <a:pt x="89" y="4"/>
                    </a:cubicBezTo>
                    <a:cubicBezTo>
                      <a:pt x="88" y="6"/>
                      <a:pt x="88" y="8"/>
                      <a:pt x="89" y="10"/>
                    </a:cubicBezTo>
                    <a:cubicBezTo>
                      <a:pt x="88" y="11"/>
                      <a:pt x="86" y="12"/>
                      <a:pt x="85" y="13"/>
                    </a:cubicBezTo>
                    <a:cubicBezTo>
                      <a:pt x="85" y="14"/>
                      <a:pt x="84" y="14"/>
                      <a:pt x="84" y="14"/>
                    </a:cubicBezTo>
                    <a:cubicBezTo>
                      <a:pt x="82" y="16"/>
                      <a:pt x="81" y="17"/>
                      <a:pt x="79" y="18"/>
                    </a:cubicBezTo>
                    <a:cubicBezTo>
                      <a:pt x="77" y="19"/>
                      <a:pt x="77" y="19"/>
                      <a:pt x="77" y="19"/>
                    </a:cubicBezTo>
                    <a:cubicBezTo>
                      <a:pt x="73" y="22"/>
                      <a:pt x="70" y="26"/>
                      <a:pt x="68" y="30"/>
                    </a:cubicBezTo>
                    <a:cubicBezTo>
                      <a:pt x="66" y="31"/>
                      <a:pt x="65" y="33"/>
                      <a:pt x="64" y="35"/>
                    </a:cubicBezTo>
                    <a:cubicBezTo>
                      <a:pt x="64" y="35"/>
                      <a:pt x="63" y="35"/>
                      <a:pt x="63" y="36"/>
                    </a:cubicBezTo>
                    <a:cubicBezTo>
                      <a:pt x="61" y="38"/>
                      <a:pt x="58" y="41"/>
                      <a:pt x="59" y="44"/>
                    </a:cubicBezTo>
                    <a:cubicBezTo>
                      <a:pt x="59" y="45"/>
                      <a:pt x="60" y="48"/>
                      <a:pt x="63" y="48"/>
                    </a:cubicBezTo>
                    <a:cubicBezTo>
                      <a:pt x="62" y="48"/>
                      <a:pt x="60" y="50"/>
                      <a:pt x="60" y="50"/>
                    </a:cubicBezTo>
                    <a:cubicBezTo>
                      <a:pt x="56" y="51"/>
                      <a:pt x="52" y="53"/>
                      <a:pt x="51" y="58"/>
                    </a:cubicBezTo>
                    <a:cubicBezTo>
                      <a:pt x="51" y="58"/>
                      <a:pt x="51" y="58"/>
                      <a:pt x="51" y="58"/>
                    </a:cubicBezTo>
                    <a:cubicBezTo>
                      <a:pt x="51" y="56"/>
                      <a:pt x="51" y="55"/>
                      <a:pt x="50" y="53"/>
                    </a:cubicBezTo>
                    <a:cubicBezTo>
                      <a:pt x="50" y="51"/>
                      <a:pt x="50" y="51"/>
                      <a:pt x="50" y="51"/>
                    </a:cubicBezTo>
                    <a:cubicBezTo>
                      <a:pt x="48" y="51"/>
                      <a:pt x="48" y="51"/>
                      <a:pt x="48" y="51"/>
                    </a:cubicBezTo>
                    <a:cubicBezTo>
                      <a:pt x="48" y="51"/>
                      <a:pt x="47" y="51"/>
                      <a:pt x="47" y="51"/>
                    </a:cubicBezTo>
                    <a:cubicBezTo>
                      <a:pt x="43" y="51"/>
                      <a:pt x="41" y="53"/>
                      <a:pt x="40" y="55"/>
                    </a:cubicBezTo>
                    <a:cubicBezTo>
                      <a:pt x="39" y="56"/>
                      <a:pt x="38" y="56"/>
                      <a:pt x="37" y="57"/>
                    </a:cubicBezTo>
                    <a:cubicBezTo>
                      <a:pt x="36" y="57"/>
                      <a:pt x="35" y="57"/>
                      <a:pt x="35" y="58"/>
                    </a:cubicBezTo>
                    <a:cubicBezTo>
                      <a:pt x="32" y="59"/>
                      <a:pt x="29" y="61"/>
                      <a:pt x="28" y="63"/>
                    </a:cubicBezTo>
                    <a:cubicBezTo>
                      <a:pt x="27" y="63"/>
                      <a:pt x="27" y="63"/>
                      <a:pt x="27" y="63"/>
                    </a:cubicBezTo>
                    <a:cubicBezTo>
                      <a:pt x="26" y="61"/>
                      <a:pt x="25" y="61"/>
                      <a:pt x="24" y="61"/>
                    </a:cubicBezTo>
                    <a:cubicBezTo>
                      <a:pt x="21" y="61"/>
                      <a:pt x="20" y="62"/>
                      <a:pt x="18" y="63"/>
                    </a:cubicBezTo>
                    <a:cubicBezTo>
                      <a:pt x="18" y="63"/>
                      <a:pt x="18" y="64"/>
                      <a:pt x="17" y="64"/>
                    </a:cubicBezTo>
                    <a:cubicBezTo>
                      <a:pt x="16" y="64"/>
                      <a:pt x="16" y="65"/>
                      <a:pt x="15" y="65"/>
                    </a:cubicBezTo>
                    <a:cubicBezTo>
                      <a:pt x="13" y="66"/>
                      <a:pt x="11" y="66"/>
                      <a:pt x="9" y="71"/>
                    </a:cubicBezTo>
                    <a:cubicBezTo>
                      <a:pt x="8" y="73"/>
                      <a:pt x="8" y="75"/>
                      <a:pt x="8" y="78"/>
                    </a:cubicBezTo>
                    <a:cubicBezTo>
                      <a:pt x="8" y="79"/>
                      <a:pt x="8" y="80"/>
                      <a:pt x="7" y="82"/>
                    </a:cubicBezTo>
                    <a:cubicBezTo>
                      <a:pt x="7" y="85"/>
                      <a:pt x="6" y="87"/>
                      <a:pt x="4" y="90"/>
                    </a:cubicBezTo>
                    <a:cubicBezTo>
                      <a:pt x="3" y="93"/>
                      <a:pt x="0" y="98"/>
                      <a:pt x="2" y="102"/>
                    </a:cubicBezTo>
                    <a:cubicBezTo>
                      <a:pt x="3" y="106"/>
                      <a:pt x="5" y="107"/>
                      <a:pt x="6" y="107"/>
                    </a:cubicBezTo>
                    <a:cubicBezTo>
                      <a:pt x="8" y="107"/>
                      <a:pt x="10" y="106"/>
                      <a:pt x="12" y="104"/>
                    </a:cubicBezTo>
                    <a:cubicBezTo>
                      <a:pt x="15" y="101"/>
                      <a:pt x="17" y="97"/>
                      <a:pt x="19" y="94"/>
                    </a:cubicBezTo>
                    <a:cubicBezTo>
                      <a:pt x="21" y="91"/>
                      <a:pt x="22" y="89"/>
                      <a:pt x="24" y="87"/>
                    </a:cubicBezTo>
                    <a:cubicBezTo>
                      <a:pt x="25" y="85"/>
                      <a:pt x="26" y="84"/>
                      <a:pt x="27" y="84"/>
                    </a:cubicBezTo>
                    <a:cubicBezTo>
                      <a:pt x="27" y="84"/>
                      <a:pt x="27" y="84"/>
                      <a:pt x="27" y="85"/>
                    </a:cubicBezTo>
                    <a:cubicBezTo>
                      <a:pt x="28" y="85"/>
                      <a:pt x="27" y="86"/>
                      <a:pt x="26" y="88"/>
                    </a:cubicBezTo>
                    <a:cubicBezTo>
                      <a:pt x="26" y="87"/>
                      <a:pt x="26" y="87"/>
                      <a:pt x="26" y="87"/>
                    </a:cubicBezTo>
                    <a:cubicBezTo>
                      <a:pt x="21" y="93"/>
                      <a:pt x="24" y="98"/>
                      <a:pt x="27" y="102"/>
                    </a:cubicBezTo>
                    <a:cubicBezTo>
                      <a:pt x="28" y="105"/>
                      <a:pt x="28" y="106"/>
                      <a:pt x="25" y="109"/>
                    </a:cubicBezTo>
                    <a:cubicBezTo>
                      <a:pt x="24" y="110"/>
                      <a:pt x="24" y="111"/>
                      <a:pt x="24" y="111"/>
                    </a:cubicBezTo>
                    <a:cubicBezTo>
                      <a:pt x="23" y="113"/>
                      <a:pt x="19" y="117"/>
                      <a:pt x="21" y="122"/>
                    </a:cubicBezTo>
                    <a:cubicBezTo>
                      <a:pt x="21" y="123"/>
                      <a:pt x="22" y="125"/>
                      <a:pt x="26" y="126"/>
                    </a:cubicBezTo>
                    <a:cubicBezTo>
                      <a:pt x="27" y="127"/>
                      <a:pt x="28" y="127"/>
                      <a:pt x="29" y="127"/>
                    </a:cubicBezTo>
                    <a:cubicBezTo>
                      <a:pt x="34" y="127"/>
                      <a:pt x="37" y="122"/>
                      <a:pt x="39" y="119"/>
                    </a:cubicBezTo>
                    <a:cubicBezTo>
                      <a:pt x="41" y="116"/>
                      <a:pt x="43" y="116"/>
                      <a:pt x="47" y="115"/>
                    </a:cubicBezTo>
                    <a:cubicBezTo>
                      <a:pt x="51" y="114"/>
                      <a:pt x="56" y="112"/>
                      <a:pt x="57" y="105"/>
                    </a:cubicBezTo>
                    <a:cubicBezTo>
                      <a:pt x="58" y="100"/>
                      <a:pt x="58" y="95"/>
                      <a:pt x="58" y="90"/>
                    </a:cubicBezTo>
                    <a:cubicBezTo>
                      <a:pt x="57" y="88"/>
                      <a:pt x="57" y="86"/>
                      <a:pt x="56" y="85"/>
                    </a:cubicBezTo>
                    <a:cubicBezTo>
                      <a:pt x="57" y="85"/>
                      <a:pt x="58" y="86"/>
                      <a:pt x="59" y="86"/>
                    </a:cubicBezTo>
                    <a:cubicBezTo>
                      <a:pt x="60" y="86"/>
                      <a:pt x="60" y="86"/>
                      <a:pt x="61" y="86"/>
                    </a:cubicBezTo>
                    <a:cubicBezTo>
                      <a:pt x="66" y="85"/>
                      <a:pt x="67" y="79"/>
                      <a:pt x="68" y="77"/>
                    </a:cubicBezTo>
                    <a:cubicBezTo>
                      <a:pt x="68" y="76"/>
                      <a:pt x="68" y="75"/>
                      <a:pt x="68" y="75"/>
                    </a:cubicBezTo>
                    <a:cubicBezTo>
                      <a:pt x="69" y="73"/>
                      <a:pt x="69" y="71"/>
                      <a:pt x="70" y="69"/>
                    </a:cubicBezTo>
                    <a:cubicBezTo>
                      <a:pt x="71" y="68"/>
                      <a:pt x="72" y="67"/>
                      <a:pt x="73" y="66"/>
                    </a:cubicBezTo>
                    <a:cubicBezTo>
                      <a:pt x="74" y="65"/>
                      <a:pt x="75" y="64"/>
                      <a:pt x="76" y="63"/>
                    </a:cubicBezTo>
                    <a:cubicBezTo>
                      <a:pt x="80" y="58"/>
                      <a:pt x="82" y="53"/>
                      <a:pt x="83" y="48"/>
                    </a:cubicBezTo>
                    <a:cubicBezTo>
                      <a:pt x="84" y="46"/>
                      <a:pt x="84" y="45"/>
                      <a:pt x="85" y="43"/>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17" name="Freeform 17"/>
              <p:cNvSpPr>
                <a:spLocks/>
              </p:cNvSpPr>
              <p:nvPr/>
            </p:nvSpPr>
            <p:spPr bwMode="auto">
              <a:xfrm>
                <a:off x="-423977" y="2342963"/>
                <a:ext cx="22834" cy="35222"/>
              </a:xfrm>
              <a:custGeom>
                <a:avLst/>
                <a:gdLst>
                  <a:gd name="T0" fmla="*/ 1 w 12"/>
                  <a:gd name="T1" fmla="*/ 15 h 20"/>
                  <a:gd name="T2" fmla="*/ 6 w 12"/>
                  <a:gd name="T3" fmla="*/ 20 h 20"/>
                  <a:gd name="T4" fmla="*/ 6 w 12"/>
                  <a:gd name="T5" fmla="*/ 20 h 20"/>
                  <a:gd name="T6" fmla="*/ 10 w 12"/>
                  <a:gd name="T7" fmla="*/ 15 h 20"/>
                  <a:gd name="T8" fmla="*/ 11 w 12"/>
                  <a:gd name="T9" fmla="*/ 6 h 20"/>
                  <a:gd name="T10" fmla="*/ 11 w 12"/>
                  <a:gd name="T11" fmla="*/ 6 h 20"/>
                  <a:gd name="T12" fmla="*/ 10 w 12"/>
                  <a:gd name="T13" fmla="*/ 1 h 20"/>
                  <a:gd name="T14" fmla="*/ 7 w 12"/>
                  <a:gd name="T15" fmla="*/ 0 h 20"/>
                  <a:gd name="T16" fmla="*/ 6 w 12"/>
                  <a:gd name="T17" fmla="*/ 0 h 20"/>
                  <a:gd name="T18" fmla="*/ 3 w 12"/>
                  <a:gd name="T19" fmla="*/ 2 h 20"/>
                  <a:gd name="T20" fmla="*/ 3 w 12"/>
                  <a:gd name="T21" fmla="*/ 7 h 20"/>
                  <a:gd name="T22" fmla="*/ 1 w 12"/>
                  <a:gd name="T23" fmla="*/ 1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0">
                    <a:moveTo>
                      <a:pt x="1" y="15"/>
                    </a:moveTo>
                    <a:cubicBezTo>
                      <a:pt x="2" y="16"/>
                      <a:pt x="3" y="20"/>
                      <a:pt x="6" y="20"/>
                    </a:cubicBezTo>
                    <a:cubicBezTo>
                      <a:pt x="6" y="20"/>
                      <a:pt x="6" y="20"/>
                      <a:pt x="6" y="20"/>
                    </a:cubicBezTo>
                    <a:cubicBezTo>
                      <a:pt x="9" y="20"/>
                      <a:pt x="10" y="17"/>
                      <a:pt x="10" y="15"/>
                    </a:cubicBezTo>
                    <a:cubicBezTo>
                      <a:pt x="11" y="12"/>
                      <a:pt x="11" y="9"/>
                      <a:pt x="11" y="6"/>
                    </a:cubicBezTo>
                    <a:cubicBezTo>
                      <a:pt x="11" y="6"/>
                      <a:pt x="11" y="6"/>
                      <a:pt x="11" y="6"/>
                    </a:cubicBezTo>
                    <a:cubicBezTo>
                      <a:pt x="11" y="5"/>
                      <a:pt x="12" y="2"/>
                      <a:pt x="10" y="1"/>
                    </a:cubicBezTo>
                    <a:cubicBezTo>
                      <a:pt x="10" y="0"/>
                      <a:pt x="9" y="0"/>
                      <a:pt x="7" y="0"/>
                    </a:cubicBezTo>
                    <a:cubicBezTo>
                      <a:pt x="6" y="0"/>
                      <a:pt x="6" y="0"/>
                      <a:pt x="6" y="0"/>
                    </a:cubicBezTo>
                    <a:cubicBezTo>
                      <a:pt x="5" y="0"/>
                      <a:pt x="4" y="0"/>
                      <a:pt x="3" y="2"/>
                    </a:cubicBezTo>
                    <a:cubicBezTo>
                      <a:pt x="2" y="3"/>
                      <a:pt x="2" y="5"/>
                      <a:pt x="3" y="7"/>
                    </a:cubicBezTo>
                    <a:cubicBezTo>
                      <a:pt x="1" y="9"/>
                      <a:pt x="0" y="11"/>
                      <a:pt x="1" y="15"/>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18" name="Freeform 18"/>
              <p:cNvSpPr>
                <a:spLocks/>
              </p:cNvSpPr>
              <p:nvPr/>
            </p:nvSpPr>
            <p:spPr bwMode="auto">
              <a:xfrm>
                <a:off x="-344058" y="2349854"/>
                <a:ext cx="79919" cy="119449"/>
              </a:xfrm>
              <a:custGeom>
                <a:avLst/>
                <a:gdLst>
                  <a:gd name="T0" fmla="*/ 28 w 42"/>
                  <a:gd name="T1" fmla="*/ 67 h 67"/>
                  <a:gd name="T2" fmla="*/ 28 w 42"/>
                  <a:gd name="T3" fmla="*/ 67 h 67"/>
                  <a:gd name="T4" fmla="*/ 35 w 42"/>
                  <a:gd name="T5" fmla="*/ 66 h 67"/>
                  <a:gd name="T6" fmla="*/ 39 w 42"/>
                  <a:gd name="T7" fmla="*/ 52 h 67"/>
                  <a:gd name="T8" fmla="*/ 39 w 42"/>
                  <a:gd name="T9" fmla="*/ 51 h 67"/>
                  <a:gd name="T10" fmla="*/ 39 w 42"/>
                  <a:gd name="T11" fmla="*/ 44 h 67"/>
                  <a:gd name="T12" fmla="*/ 40 w 42"/>
                  <a:gd name="T13" fmla="*/ 42 h 67"/>
                  <a:gd name="T14" fmla="*/ 40 w 42"/>
                  <a:gd name="T15" fmla="*/ 33 h 67"/>
                  <a:gd name="T16" fmla="*/ 38 w 42"/>
                  <a:gd name="T17" fmla="*/ 29 h 67"/>
                  <a:gd name="T18" fmla="*/ 35 w 42"/>
                  <a:gd name="T19" fmla="*/ 24 h 67"/>
                  <a:gd name="T20" fmla="*/ 35 w 42"/>
                  <a:gd name="T21" fmla="*/ 20 h 67"/>
                  <a:gd name="T22" fmla="*/ 34 w 42"/>
                  <a:gd name="T23" fmla="*/ 15 h 67"/>
                  <a:gd name="T24" fmla="*/ 26 w 42"/>
                  <a:gd name="T25" fmla="*/ 2 h 67"/>
                  <a:gd name="T26" fmla="*/ 18 w 42"/>
                  <a:gd name="T27" fmla="*/ 0 h 67"/>
                  <a:gd name="T28" fmla="*/ 12 w 42"/>
                  <a:gd name="T29" fmla="*/ 1 h 67"/>
                  <a:gd name="T30" fmla="*/ 10 w 42"/>
                  <a:gd name="T31" fmla="*/ 4 h 67"/>
                  <a:gd name="T32" fmla="*/ 8 w 42"/>
                  <a:gd name="T33" fmla="*/ 6 h 67"/>
                  <a:gd name="T34" fmla="*/ 4 w 42"/>
                  <a:gd name="T35" fmla="*/ 10 h 67"/>
                  <a:gd name="T36" fmla="*/ 3 w 42"/>
                  <a:gd name="T37" fmla="*/ 11 h 67"/>
                  <a:gd name="T38" fmla="*/ 1 w 42"/>
                  <a:gd name="T39" fmla="*/ 15 h 67"/>
                  <a:gd name="T40" fmla="*/ 0 w 42"/>
                  <a:gd name="T41" fmla="*/ 19 h 67"/>
                  <a:gd name="T42" fmla="*/ 1 w 42"/>
                  <a:gd name="T43" fmla="*/ 20 h 67"/>
                  <a:gd name="T44" fmla="*/ 1 w 42"/>
                  <a:gd name="T45" fmla="*/ 22 h 67"/>
                  <a:gd name="T46" fmla="*/ 1 w 42"/>
                  <a:gd name="T47" fmla="*/ 26 h 67"/>
                  <a:gd name="T48" fmla="*/ 3 w 42"/>
                  <a:gd name="T49" fmla="*/ 29 h 67"/>
                  <a:gd name="T50" fmla="*/ 4 w 42"/>
                  <a:gd name="T51" fmla="*/ 30 h 67"/>
                  <a:gd name="T52" fmla="*/ 6 w 42"/>
                  <a:gd name="T53" fmla="*/ 38 h 67"/>
                  <a:gd name="T54" fmla="*/ 5 w 42"/>
                  <a:gd name="T55" fmla="*/ 42 h 67"/>
                  <a:gd name="T56" fmla="*/ 5 w 42"/>
                  <a:gd name="T57" fmla="*/ 50 h 67"/>
                  <a:gd name="T58" fmla="*/ 11 w 42"/>
                  <a:gd name="T59" fmla="*/ 62 h 67"/>
                  <a:gd name="T60" fmla="*/ 22 w 42"/>
                  <a:gd name="T61" fmla="*/ 67 h 67"/>
                  <a:gd name="T62" fmla="*/ 28 w 42"/>
                  <a:gd name="T6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 h="67">
                    <a:moveTo>
                      <a:pt x="28" y="67"/>
                    </a:moveTo>
                    <a:cubicBezTo>
                      <a:pt x="28" y="67"/>
                      <a:pt x="28" y="67"/>
                      <a:pt x="28" y="67"/>
                    </a:cubicBezTo>
                    <a:cubicBezTo>
                      <a:pt x="31" y="67"/>
                      <a:pt x="33" y="67"/>
                      <a:pt x="35" y="66"/>
                    </a:cubicBezTo>
                    <a:cubicBezTo>
                      <a:pt x="41" y="62"/>
                      <a:pt x="40" y="55"/>
                      <a:pt x="39" y="52"/>
                    </a:cubicBezTo>
                    <a:cubicBezTo>
                      <a:pt x="39" y="51"/>
                      <a:pt x="39" y="51"/>
                      <a:pt x="39" y="51"/>
                    </a:cubicBezTo>
                    <a:cubicBezTo>
                      <a:pt x="38" y="48"/>
                      <a:pt x="38" y="46"/>
                      <a:pt x="39" y="44"/>
                    </a:cubicBezTo>
                    <a:cubicBezTo>
                      <a:pt x="39" y="43"/>
                      <a:pt x="39" y="43"/>
                      <a:pt x="40" y="42"/>
                    </a:cubicBezTo>
                    <a:cubicBezTo>
                      <a:pt x="41" y="40"/>
                      <a:pt x="42" y="37"/>
                      <a:pt x="40" y="33"/>
                    </a:cubicBezTo>
                    <a:cubicBezTo>
                      <a:pt x="40" y="32"/>
                      <a:pt x="39" y="30"/>
                      <a:pt x="38" y="29"/>
                    </a:cubicBezTo>
                    <a:cubicBezTo>
                      <a:pt x="36" y="28"/>
                      <a:pt x="35" y="26"/>
                      <a:pt x="35" y="24"/>
                    </a:cubicBezTo>
                    <a:cubicBezTo>
                      <a:pt x="35" y="23"/>
                      <a:pt x="35" y="22"/>
                      <a:pt x="35" y="20"/>
                    </a:cubicBezTo>
                    <a:cubicBezTo>
                      <a:pt x="35" y="18"/>
                      <a:pt x="35" y="17"/>
                      <a:pt x="34" y="15"/>
                    </a:cubicBezTo>
                    <a:cubicBezTo>
                      <a:pt x="34" y="10"/>
                      <a:pt x="30" y="5"/>
                      <a:pt x="26" y="2"/>
                    </a:cubicBezTo>
                    <a:cubicBezTo>
                      <a:pt x="24" y="1"/>
                      <a:pt x="20" y="0"/>
                      <a:pt x="18" y="0"/>
                    </a:cubicBezTo>
                    <a:cubicBezTo>
                      <a:pt x="16" y="0"/>
                      <a:pt x="14" y="0"/>
                      <a:pt x="12" y="1"/>
                    </a:cubicBezTo>
                    <a:cubicBezTo>
                      <a:pt x="11" y="2"/>
                      <a:pt x="10" y="3"/>
                      <a:pt x="10" y="4"/>
                    </a:cubicBezTo>
                    <a:cubicBezTo>
                      <a:pt x="9" y="5"/>
                      <a:pt x="9" y="5"/>
                      <a:pt x="8" y="6"/>
                    </a:cubicBezTo>
                    <a:cubicBezTo>
                      <a:pt x="7" y="7"/>
                      <a:pt x="5" y="8"/>
                      <a:pt x="4" y="10"/>
                    </a:cubicBezTo>
                    <a:cubicBezTo>
                      <a:pt x="3" y="11"/>
                      <a:pt x="3" y="11"/>
                      <a:pt x="3" y="11"/>
                    </a:cubicBezTo>
                    <a:cubicBezTo>
                      <a:pt x="2" y="12"/>
                      <a:pt x="1" y="13"/>
                      <a:pt x="1" y="15"/>
                    </a:cubicBezTo>
                    <a:cubicBezTo>
                      <a:pt x="0" y="17"/>
                      <a:pt x="0" y="18"/>
                      <a:pt x="0" y="19"/>
                    </a:cubicBezTo>
                    <a:cubicBezTo>
                      <a:pt x="1" y="20"/>
                      <a:pt x="1" y="20"/>
                      <a:pt x="1" y="20"/>
                    </a:cubicBezTo>
                    <a:cubicBezTo>
                      <a:pt x="1" y="21"/>
                      <a:pt x="1" y="21"/>
                      <a:pt x="1" y="22"/>
                    </a:cubicBezTo>
                    <a:cubicBezTo>
                      <a:pt x="1" y="23"/>
                      <a:pt x="1" y="24"/>
                      <a:pt x="1" y="26"/>
                    </a:cubicBezTo>
                    <a:cubicBezTo>
                      <a:pt x="2" y="27"/>
                      <a:pt x="2" y="28"/>
                      <a:pt x="3" y="29"/>
                    </a:cubicBezTo>
                    <a:cubicBezTo>
                      <a:pt x="3" y="29"/>
                      <a:pt x="3" y="29"/>
                      <a:pt x="4" y="30"/>
                    </a:cubicBezTo>
                    <a:cubicBezTo>
                      <a:pt x="5" y="33"/>
                      <a:pt x="6" y="35"/>
                      <a:pt x="6" y="38"/>
                    </a:cubicBezTo>
                    <a:cubicBezTo>
                      <a:pt x="6" y="39"/>
                      <a:pt x="5" y="41"/>
                      <a:pt x="5" y="42"/>
                    </a:cubicBezTo>
                    <a:cubicBezTo>
                      <a:pt x="5" y="45"/>
                      <a:pt x="4" y="47"/>
                      <a:pt x="5" y="50"/>
                    </a:cubicBezTo>
                    <a:cubicBezTo>
                      <a:pt x="5" y="54"/>
                      <a:pt x="8" y="60"/>
                      <a:pt x="11" y="62"/>
                    </a:cubicBezTo>
                    <a:cubicBezTo>
                      <a:pt x="14" y="65"/>
                      <a:pt x="18" y="66"/>
                      <a:pt x="22" y="67"/>
                    </a:cubicBezTo>
                    <a:cubicBezTo>
                      <a:pt x="24" y="67"/>
                      <a:pt x="26" y="67"/>
                      <a:pt x="28" y="67"/>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19" name="Freeform 19"/>
              <p:cNvSpPr>
                <a:spLocks/>
              </p:cNvSpPr>
              <p:nvPr/>
            </p:nvSpPr>
            <p:spPr bwMode="auto">
              <a:xfrm>
                <a:off x="-517760" y="1947863"/>
                <a:ext cx="21203" cy="16080"/>
              </a:xfrm>
              <a:custGeom>
                <a:avLst/>
                <a:gdLst>
                  <a:gd name="T0" fmla="*/ 6 w 11"/>
                  <a:gd name="T1" fmla="*/ 0 h 9"/>
                  <a:gd name="T2" fmla="*/ 0 w 11"/>
                  <a:gd name="T3" fmla="*/ 4 h 9"/>
                  <a:gd name="T4" fmla="*/ 1 w 11"/>
                  <a:gd name="T5" fmla="*/ 7 h 9"/>
                  <a:gd name="T6" fmla="*/ 6 w 11"/>
                  <a:gd name="T7" fmla="*/ 9 h 9"/>
                  <a:gd name="T8" fmla="*/ 8 w 11"/>
                  <a:gd name="T9" fmla="*/ 8 h 9"/>
                  <a:gd name="T10" fmla="*/ 10 w 11"/>
                  <a:gd name="T11" fmla="*/ 8 h 9"/>
                  <a:gd name="T12" fmla="*/ 10 w 11"/>
                  <a:gd name="T13" fmla="*/ 7 h 9"/>
                  <a:gd name="T14" fmla="*/ 9 w 11"/>
                  <a:gd name="T15" fmla="*/ 2 h 9"/>
                  <a:gd name="T16" fmla="*/ 6 w 11"/>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9">
                    <a:moveTo>
                      <a:pt x="6" y="0"/>
                    </a:moveTo>
                    <a:cubicBezTo>
                      <a:pt x="3" y="0"/>
                      <a:pt x="1" y="2"/>
                      <a:pt x="0" y="4"/>
                    </a:cubicBezTo>
                    <a:cubicBezTo>
                      <a:pt x="0" y="5"/>
                      <a:pt x="1" y="7"/>
                      <a:pt x="1" y="7"/>
                    </a:cubicBezTo>
                    <a:cubicBezTo>
                      <a:pt x="2" y="8"/>
                      <a:pt x="4" y="9"/>
                      <a:pt x="6" y="9"/>
                    </a:cubicBezTo>
                    <a:cubicBezTo>
                      <a:pt x="7" y="9"/>
                      <a:pt x="8" y="9"/>
                      <a:pt x="8" y="8"/>
                    </a:cubicBezTo>
                    <a:cubicBezTo>
                      <a:pt x="10" y="8"/>
                      <a:pt x="10" y="8"/>
                      <a:pt x="10" y="8"/>
                    </a:cubicBezTo>
                    <a:cubicBezTo>
                      <a:pt x="10" y="7"/>
                      <a:pt x="10" y="7"/>
                      <a:pt x="10" y="7"/>
                    </a:cubicBezTo>
                    <a:cubicBezTo>
                      <a:pt x="11" y="4"/>
                      <a:pt x="10" y="2"/>
                      <a:pt x="9" y="2"/>
                    </a:cubicBezTo>
                    <a:cubicBezTo>
                      <a:pt x="8" y="1"/>
                      <a:pt x="7" y="0"/>
                      <a:pt x="6" y="0"/>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20" name="Freeform 20"/>
              <p:cNvSpPr>
                <a:spLocks/>
              </p:cNvSpPr>
              <p:nvPr/>
            </p:nvSpPr>
            <p:spPr bwMode="auto">
              <a:xfrm>
                <a:off x="-507974" y="1913407"/>
                <a:ext cx="34251" cy="35988"/>
              </a:xfrm>
              <a:custGeom>
                <a:avLst/>
                <a:gdLst>
                  <a:gd name="T0" fmla="*/ 2 w 18"/>
                  <a:gd name="T1" fmla="*/ 9 h 20"/>
                  <a:gd name="T2" fmla="*/ 5 w 18"/>
                  <a:gd name="T3" fmla="*/ 18 h 20"/>
                  <a:gd name="T4" fmla="*/ 6 w 18"/>
                  <a:gd name="T5" fmla="*/ 18 h 20"/>
                  <a:gd name="T6" fmla="*/ 11 w 18"/>
                  <a:gd name="T7" fmla="*/ 20 h 20"/>
                  <a:gd name="T8" fmla="*/ 15 w 18"/>
                  <a:gd name="T9" fmla="*/ 18 h 20"/>
                  <a:gd name="T10" fmla="*/ 15 w 18"/>
                  <a:gd name="T11" fmla="*/ 15 h 20"/>
                  <a:gd name="T12" fmla="*/ 16 w 18"/>
                  <a:gd name="T13" fmla="*/ 14 h 20"/>
                  <a:gd name="T14" fmla="*/ 16 w 18"/>
                  <a:gd name="T15" fmla="*/ 13 h 20"/>
                  <a:gd name="T16" fmla="*/ 17 w 18"/>
                  <a:gd name="T17" fmla="*/ 11 h 20"/>
                  <a:gd name="T18" fmla="*/ 17 w 18"/>
                  <a:gd name="T19" fmla="*/ 2 h 20"/>
                  <a:gd name="T20" fmla="*/ 16 w 18"/>
                  <a:gd name="T21" fmla="*/ 0 h 20"/>
                  <a:gd name="T22" fmla="*/ 14 w 18"/>
                  <a:gd name="T23" fmla="*/ 0 h 20"/>
                  <a:gd name="T24" fmla="*/ 14 w 18"/>
                  <a:gd name="T25" fmla="*/ 0 h 20"/>
                  <a:gd name="T26" fmla="*/ 12 w 18"/>
                  <a:gd name="T27" fmla="*/ 0 h 20"/>
                  <a:gd name="T28" fmla="*/ 9 w 18"/>
                  <a:gd name="T29" fmla="*/ 1 h 20"/>
                  <a:gd name="T30" fmla="*/ 7 w 18"/>
                  <a:gd name="T31" fmla="*/ 5 h 20"/>
                  <a:gd name="T32" fmla="*/ 7 w 18"/>
                  <a:gd name="T33" fmla="*/ 6 h 20"/>
                  <a:gd name="T34" fmla="*/ 6 w 18"/>
                  <a:gd name="T35" fmla="*/ 6 h 20"/>
                  <a:gd name="T36" fmla="*/ 2 w 18"/>
                  <a:gd name="T37"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0">
                    <a:moveTo>
                      <a:pt x="2" y="9"/>
                    </a:moveTo>
                    <a:cubicBezTo>
                      <a:pt x="0" y="12"/>
                      <a:pt x="3" y="16"/>
                      <a:pt x="5" y="18"/>
                    </a:cubicBezTo>
                    <a:cubicBezTo>
                      <a:pt x="6" y="18"/>
                      <a:pt x="6" y="18"/>
                      <a:pt x="6" y="18"/>
                    </a:cubicBezTo>
                    <a:cubicBezTo>
                      <a:pt x="7" y="19"/>
                      <a:pt x="9" y="20"/>
                      <a:pt x="11" y="20"/>
                    </a:cubicBezTo>
                    <a:cubicBezTo>
                      <a:pt x="12" y="20"/>
                      <a:pt x="14" y="19"/>
                      <a:pt x="15" y="18"/>
                    </a:cubicBezTo>
                    <a:cubicBezTo>
                      <a:pt x="15" y="17"/>
                      <a:pt x="15" y="16"/>
                      <a:pt x="15" y="15"/>
                    </a:cubicBezTo>
                    <a:cubicBezTo>
                      <a:pt x="15" y="15"/>
                      <a:pt x="15" y="14"/>
                      <a:pt x="16" y="14"/>
                    </a:cubicBezTo>
                    <a:cubicBezTo>
                      <a:pt x="16" y="14"/>
                      <a:pt x="16" y="13"/>
                      <a:pt x="16" y="13"/>
                    </a:cubicBezTo>
                    <a:cubicBezTo>
                      <a:pt x="17" y="12"/>
                      <a:pt x="17" y="11"/>
                      <a:pt x="17" y="11"/>
                    </a:cubicBezTo>
                    <a:cubicBezTo>
                      <a:pt x="18" y="7"/>
                      <a:pt x="18" y="5"/>
                      <a:pt x="17" y="2"/>
                    </a:cubicBezTo>
                    <a:cubicBezTo>
                      <a:pt x="16" y="0"/>
                      <a:pt x="16" y="0"/>
                      <a:pt x="16" y="0"/>
                    </a:cubicBezTo>
                    <a:cubicBezTo>
                      <a:pt x="14" y="0"/>
                      <a:pt x="14" y="0"/>
                      <a:pt x="14" y="0"/>
                    </a:cubicBezTo>
                    <a:cubicBezTo>
                      <a:pt x="14" y="0"/>
                      <a:pt x="14" y="0"/>
                      <a:pt x="14" y="0"/>
                    </a:cubicBezTo>
                    <a:cubicBezTo>
                      <a:pt x="13" y="0"/>
                      <a:pt x="12" y="0"/>
                      <a:pt x="12" y="0"/>
                    </a:cubicBezTo>
                    <a:cubicBezTo>
                      <a:pt x="11" y="0"/>
                      <a:pt x="10" y="0"/>
                      <a:pt x="9" y="1"/>
                    </a:cubicBezTo>
                    <a:cubicBezTo>
                      <a:pt x="7" y="2"/>
                      <a:pt x="7" y="4"/>
                      <a:pt x="7" y="5"/>
                    </a:cubicBezTo>
                    <a:cubicBezTo>
                      <a:pt x="7" y="5"/>
                      <a:pt x="7" y="5"/>
                      <a:pt x="7" y="6"/>
                    </a:cubicBezTo>
                    <a:cubicBezTo>
                      <a:pt x="7" y="6"/>
                      <a:pt x="6" y="6"/>
                      <a:pt x="6" y="6"/>
                    </a:cubicBezTo>
                    <a:cubicBezTo>
                      <a:pt x="5" y="6"/>
                      <a:pt x="3" y="7"/>
                      <a:pt x="2" y="9"/>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21" name="Freeform 21"/>
              <p:cNvSpPr>
                <a:spLocks/>
              </p:cNvSpPr>
              <p:nvPr/>
            </p:nvSpPr>
            <p:spPr bwMode="auto">
              <a:xfrm>
                <a:off x="-549564" y="1874356"/>
                <a:ext cx="48930" cy="52067"/>
              </a:xfrm>
              <a:custGeom>
                <a:avLst/>
                <a:gdLst>
                  <a:gd name="T0" fmla="*/ 22 w 26"/>
                  <a:gd name="T1" fmla="*/ 7 h 29"/>
                  <a:gd name="T2" fmla="*/ 18 w 26"/>
                  <a:gd name="T3" fmla="*/ 1 h 29"/>
                  <a:gd name="T4" fmla="*/ 13 w 26"/>
                  <a:gd name="T5" fmla="*/ 0 h 29"/>
                  <a:gd name="T6" fmla="*/ 7 w 26"/>
                  <a:gd name="T7" fmla="*/ 2 h 29"/>
                  <a:gd name="T8" fmla="*/ 0 w 26"/>
                  <a:gd name="T9" fmla="*/ 10 h 29"/>
                  <a:gd name="T10" fmla="*/ 5 w 26"/>
                  <a:gd name="T11" fmla="*/ 18 h 29"/>
                  <a:gd name="T12" fmla="*/ 7 w 26"/>
                  <a:gd name="T13" fmla="*/ 19 h 29"/>
                  <a:gd name="T14" fmla="*/ 7 w 26"/>
                  <a:gd name="T15" fmla="*/ 19 h 29"/>
                  <a:gd name="T16" fmla="*/ 8 w 26"/>
                  <a:gd name="T17" fmla="*/ 21 h 29"/>
                  <a:gd name="T18" fmla="*/ 9 w 26"/>
                  <a:gd name="T19" fmla="*/ 23 h 29"/>
                  <a:gd name="T20" fmla="*/ 9 w 26"/>
                  <a:gd name="T21" fmla="*/ 23 h 29"/>
                  <a:gd name="T22" fmla="*/ 10 w 26"/>
                  <a:gd name="T23" fmla="*/ 25 h 29"/>
                  <a:gd name="T24" fmla="*/ 15 w 26"/>
                  <a:gd name="T25" fmla="*/ 29 h 29"/>
                  <a:gd name="T26" fmla="*/ 18 w 26"/>
                  <a:gd name="T27" fmla="*/ 27 h 29"/>
                  <a:gd name="T28" fmla="*/ 24 w 26"/>
                  <a:gd name="T29" fmla="*/ 20 h 29"/>
                  <a:gd name="T30" fmla="*/ 23 w 26"/>
                  <a:gd name="T31" fmla="*/ 9 h 29"/>
                  <a:gd name="T32" fmla="*/ 22 w 26"/>
                  <a:gd name="T33"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9">
                    <a:moveTo>
                      <a:pt x="22" y="7"/>
                    </a:moveTo>
                    <a:cubicBezTo>
                      <a:pt x="21" y="5"/>
                      <a:pt x="20" y="3"/>
                      <a:pt x="18" y="1"/>
                    </a:cubicBezTo>
                    <a:cubicBezTo>
                      <a:pt x="17" y="0"/>
                      <a:pt x="15" y="0"/>
                      <a:pt x="13" y="0"/>
                    </a:cubicBezTo>
                    <a:cubicBezTo>
                      <a:pt x="11" y="0"/>
                      <a:pt x="9" y="1"/>
                      <a:pt x="7" y="2"/>
                    </a:cubicBezTo>
                    <a:cubicBezTo>
                      <a:pt x="3" y="4"/>
                      <a:pt x="1" y="7"/>
                      <a:pt x="0" y="10"/>
                    </a:cubicBezTo>
                    <a:cubicBezTo>
                      <a:pt x="0" y="13"/>
                      <a:pt x="2" y="16"/>
                      <a:pt x="5" y="18"/>
                    </a:cubicBezTo>
                    <a:cubicBezTo>
                      <a:pt x="6" y="19"/>
                      <a:pt x="6" y="19"/>
                      <a:pt x="7" y="19"/>
                    </a:cubicBezTo>
                    <a:cubicBezTo>
                      <a:pt x="7" y="19"/>
                      <a:pt x="7" y="19"/>
                      <a:pt x="7" y="19"/>
                    </a:cubicBezTo>
                    <a:cubicBezTo>
                      <a:pt x="7" y="20"/>
                      <a:pt x="7" y="21"/>
                      <a:pt x="8" y="21"/>
                    </a:cubicBezTo>
                    <a:cubicBezTo>
                      <a:pt x="8" y="22"/>
                      <a:pt x="9" y="23"/>
                      <a:pt x="9" y="23"/>
                    </a:cubicBezTo>
                    <a:cubicBezTo>
                      <a:pt x="9" y="23"/>
                      <a:pt x="9" y="23"/>
                      <a:pt x="9" y="23"/>
                    </a:cubicBezTo>
                    <a:cubicBezTo>
                      <a:pt x="10" y="24"/>
                      <a:pt x="10" y="25"/>
                      <a:pt x="10" y="25"/>
                    </a:cubicBezTo>
                    <a:cubicBezTo>
                      <a:pt x="10" y="25"/>
                      <a:pt x="12" y="29"/>
                      <a:pt x="15" y="29"/>
                    </a:cubicBezTo>
                    <a:cubicBezTo>
                      <a:pt x="17" y="29"/>
                      <a:pt x="18" y="28"/>
                      <a:pt x="18" y="27"/>
                    </a:cubicBezTo>
                    <a:cubicBezTo>
                      <a:pt x="21" y="25"/>
                      <a:pt x="23" y="23"/>
                      <a:pt x="24" y="20"/>
                    </a:cubicBezTo>
                    <a:cubicBezTo>
                      <a:pt x="26" y="15"/>
                      <a:pt x="25" y="13"/>
                      <a:pt x="23" y="9"/>
                    </a:cubicBezTo>
                    <a:cubicBezTo>
                      <a:pt x="22" y="8"/>
                      <a:pt x="22" y="8"/>
                      <a:pt x="22" y="7"/>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22" name="Freeform 22"/>
              <p:cNvSpPr>
                <a:spLocks/>
              </p:cNvSpPr>
              <p:nvPr/>
            </p:nvSpPr>
            <p:spPr bwMode="auto">
              <a:xfrm>
                <a:off x="-582184" y="1867465"/>
                <a:ext cx="32620" cy="19142"/>
              </a:xfrm>
              <a:custGeom>
                <a:avLst/>
                <a:gdLst>
                  <a:gd name="T0" fmla="*/ 10 w 17"/>
                  <a:gd name="T1" fmla="*/ 11 h 11"/>
                  <a:gd name="T2" fmla="*/ 11 w 17"/>
                  <a:gd name="T3" fmla="*/ 10 h 11"/>
                  <a:gd name="T4" fmla="*/ 12 w 17"/>
                  <a:gd name="T5" fmla="*/ 8 h 11"/>
                  <a:gd name="T6" fmla="*/ 15 w 17"/>
                  <a:gd name="T7" fmla="*/ 7 h 11"/>
                  <a:gd name="T8" fmla="*/ 16 w 17"/>
                  <a:gd name="T9" fmla="*/ 3 h 11"/>
                  <a:gd name="T10" fmla="*/ 11 w 17"/>
                  <a:gd name="T11" fmla="*/ 0 h 11"/>
                  <a:gd name="T12" fmla="*/ 10 w 17"/>
                  <a:gd name="T13" fmla="*/ 0 h 11"/>
                  <a:gd name="T14" fmla="*/ 4 w 17"/>
                  <a:gd name="T15" fmla="*/ 2 h 11"/>
                  <a:gd name="T16" fmla="*/ 1 w 17"/>
                  <a:gd name="T17" fmla="*/ 6 h 11"/>
                  <a:gd name="T18" fmla="*/ 9 w 17"/>
                  <a:gd name="T19" fmla="*/ 11 h 11"/>
                  <a:gd name="T20" fmla="*/ 10 w 17"/>
                  <a:gd name="T2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1">
                    <a:moveTo>
                      <a:pt x="10" y="11"/>
                    </a:moveTo>
                    <a:cubicBezTo>
                      <a:pt x="11" y="10"/>
                      <a:pt x="11" y="10"/>
                      <a:pt x="11" y="10"/>
                    </a:cubicBezTo>
                    <a:cubicBezTo>
                      <a:pt x="12" y="8"/>
                      <a:pt x="12" y="8"/>
                      <a:pt x="12" y="8"/>
                    </a:cubicBezTo>
                    <a:cubicBezTo>
                      <a:pt x="13" y="8"/>
                      <a:pt x="14" y="8"/>
                      <a:pt x="15" y="7"/>
                    </a:cubicBezTo>
                    <a:cubicBezTo>
                      <a:pt x="17" y="5"/>
                      <a:pt x="16" y="3"/>
                      <a:pt x="16" y="3"/>
                    </a:cubicBezTo>
                    <a:cubicBezTo>
                      <a:pt x="15" y="0"/>
                      <a:pt x="12" y="0"/>
                      <a:pt x="11" y="0"/>
                    </a:cubicBezTo>
                    <a:cubicBezTo>
                      <a:pt x="10" y="0"/>
                      <a:pt x="10" y="0"/>
                      <a:pt x="10" y="0"/>
                    </a:cubicBezTo>
                    <a:cubicBezTo>
                      <a:pt x="7" y="0"/>
                      <a:pt x="6" y="1"/>
                      <a:pt x="4" y="2"/>
                    </a:cubicBezTo>
                    <a:cubicBezTo>
                      <a:pt x="3" y="2"/>
                      <a:pt x="0" y="3"/>
                      <a:pt x="1" y="6"/>
                    </a:cubicBezTo>
                    <a:cubicBezTo>
                      <a:pt x="1" y="11"/>
                      <a:pt x="9" y="11"/>
                      <a:pt x="9" y="11"/>
                    </a:cubicBezTo>
                    <a:cubicBezTo>
                      <a:pt x="9" y="11"/>
                      <a:pt x="9" y="11"/>
                      <a:pt x="10" y="11"/>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23" name="Freeform 23"/>
              <p:cNvSpPr>
                <a:spLocks/>
              </p:cNvSpPr>
              <p:nvPr/>
            </p:nvSpPr>
            <p:spPr bwMode="auto">
              <a:xfrm>
                <a:off x="-456597" y="1697480"/>
                <a:ext cx="18756" cy="22971"/>
              </a:xfrm>
              <a:custGeom>
                <a:avLst/>
                <a:gdLst>
                  <a:gd name="T0" fmla="*/ 4 w 10"/>
                  <a:gd name="T1" fmla="*/ 13 h 13"/>
                  <a:gd name="T2" fmla="*/ 5 w 10"/>
                  <a:gd name="T3" fmla="*/ 12 h 13"/>
                  <a:gd name="T4" fmla="*/ 8 w 10"/>
                  <a:gd name="T5" fmla="*/ 8 h 13"/>
                  <a:gd name="T6" fmla="*/ 8 w 10"/>
                  <a:gd name="T7" fmla="*/ 8 h 13"/>
                  <a:gd name="T8" fmla="*/ 9 w 10"/>
                  <a:gd name="T9" fmla="*/ 1 h 13"/>
                  <a:gd name="T10" fmla="*/ 8 w 10"/>
                  <a:gd name="T11" fmla="*/ 0 h 13"/>
                  <a:gd name="T12" fmla="*/ 6 w 10"/>
                  <a:gd name="T13" fmla="*/ 0 h 13"/>
                  <a:gd name="T14" fmla="*/ 3 w 10"/>
                  <a:gd name="T15" fmla="*/ 2 h 13"/>
                  <a:gd name="T16" fmla="*/ 2 w 10"/>
                  <a:gd name="T17" fmla="*/ 11 h 13"/>
                  <a:gd name="T18" fmla="*/ 4 w 10"/>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3">
                    <a:moveTo>
                      <a:pt x="4" y="13"/>
                    </a:moveTo>
                    <a:cubicBezTo>
                      <a:pt x="5" y="12"/>
                      <a:pt x="5" y="12"/>
                      <a:pt x="5" y="12"/>
                    </a:cubicBezTo>
                    <a:cubicBezTo>
                      <a:pt x="7" y="11"/>
                      <a:pt x="8" y="9"/>
                      <a:pt x="8" y="8"/>
                    </a:cubicBezTo>
                    <a:cubicBezTo>
                      <a:pt x="8" y="8"/>
                      <a:pt x="8" y="8"/>
                      <a:pt x="8" y="8"/>
                    </a:cubicBezTo>
                    <a:cubicBezTo>
                      <a:pt x="10" y="3"/>
                      <a:pt x="9" y="2"/>
                      <a:pt x="9" y="1"/>
                    </a:cubicBezTo>
                    <a:cubicBezTo>
                      <a:pt x="8" y="0"/>
                      <a:pt x="8" y="0"/>
                      <a:pt x="8" y="0"/>
                    </a:cubicBezTo>
                    <a:cubicBezTo>
                      <a:pt x="6" y="0"/>
                      <a:pt x="6" y="0"/>
                      <a:pt x="6" y="0"/>
                    </a:cubicBezTo>
                    <a:cubicBezTo>
                      <a:pt x="5" y="0"/>
                      <a:pt x="4" y="1"/>
                      <a:pt x="3" y="2"/>
                    </a:cubicBezTo>
                    <a:cubicBezTo>
                      <a:pt x="1" y="3"/>
                      <a:pt x="0" y="8"/>
                      <a:pt x="2" y="11"/>
                    </a:cubicBezTo>
                    <a:lnTo>
                      <a:pt x="4" y="13"/>
                    </a:ln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24" name="Freeform 24"/>
              <p:cNvSpPr>
                <a:spLocks/>
              </p:cNvSpPr>
              <p:nvPr/>
            </p:nvSpPr>
            <p:spPr bwMode="auto">
              <a:xfrm>
                <a:off x="-557719" y="2068843"/>
                <a:ext cx="15494" cy="14548"/>
              </a:xfrm>
              <a:custGeom>
                <a:avLst/>
                <a:gdLst>
                  <a:gd name="T0" fmla="*/ 4 w 8"/>
                  <a:gd name="T1" fmla="*/ 0 h 8"/>
                  <a:gd name="T2" fmla="*/ 1 w 8"/>
                  <a:gd name="T3" fmla="*/ 1 h 8"/>
                  <a:gd name="T4" fmla="*/ 0 w 8"/>
                  <a:gd name="T5" fmla="*/ 4 h 8"/>
                  <a:gd name="T6" fmla="*/ 4 w 8"/>
                  <a:gd name="T7" fmla="*/ 8 h 8"/>
                  <a:gd name="T8" fmla="*/ 7 w 8"/>
                  <a:gd name="T9" fmla="*/ 6 h 8"/>
                  <a:gd name="T10" fmla="*/ 7 w 8"/>
                  <a:gd name="T11" fmla="*/ 2 h 8"/>
                  <a:gd name="T12" fmla="*/ 4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4" y="0"/>
                    </a:moveTo>
                    <a:cubicBezTo>
                      <a:pt x="3" y="0"/>
                      <a:pt x="2" y="1"/>
                      <a:pt x="1" y="1"/>
                    </a:cubicBezTo>
                    <a:cubicBezTo>
                      <a:pt x="0" y="2"/>
                      <a:pt x="0" y="3"/>
                      <a:pt x="0" y="4"/>
                    </a:cubicBezTo>
                    <a:cubicBezTo>
                      <a:pt x="0" y="6"/>
                      <a:pt x="2" y="8"/>
                      <a:pt x="4" y="8"/>
                    </a:cubicBezTo>
                    <a:cubicBezTo>
                      <a:pt x="5" y="8"/>
                      <a:pt x="7" y="7"/>
                      <a:pt x="7" y="6"/>
                    </a:cubicBezTo>
                    <a:cubicBezTo>
                      <a:pt x="8" y="4"/>
                      <a:pt x="8" y="3"/>
                      <a:pt x="7" y="2"/>
                    </a:cubicBezTo>
                    <a:cubicBezTo>
                      <a:pt x="6" y="1"/>
                      <a:pt x="5" y="0"/>
                      <a:pt x="4" y="0"/>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25" name="Freeform 25"/>
              <p:cNvSpPr>
                <a:spLocks/>
              </p:cNvSpPr>
              <p:nvPr/>
            </p:nvSpPr>
            <p:spPr bwMode="auto">
              <a:xfrm>
                <a:off x="-791768" y="1934846"/>
                <a:ext cx="17125" cy="13017"/>
              </a:xfrm>
              <a:custGeom>
                <a:avLst/>
                <a:gdLst>
                  <a:gd name="T0" fmla="*/ 6 w 9"/>
                  <a:gd name="T1" fmla="*/ 0 h 7"/>
                  <a:gd name="T2" fmla="*/ 5 w 9"/>
                  <a:gd name="T3" fmla="*/ 0 h 7"/>
                  <a:gd name="T4" fmla="*/ 2 w 9"/>
                  <a:gd name="T5" fmla="*/ 2 h 7"/>
                  <a:gd name="T6" fmla="*/ 0 w 9"/>
                  <a:gd name="T7" fmla="*/ 5 h 7"/>
                  <a:gd name="T8" fmla="*/ 3 w 9"/>
                  <a:gd name="T9" fmla="*/ 6 h 7"/>
                  <a:gd name="T10" fmla="*/ 5 w 9"/>
                  <a:gd name="T11" fmla="*/ 7 h 7"/>
                  <a:gd name="T12" fmla="*/ 8 w 9"/>
                  <a:gd name="T13" fmla="*/ 5 h 7"/>
                  <a:gd name="T14" fmla="*/ 9 w 9"/>
                  <a:gd name="T15" fmla="*/ 2 h 7"/>
                  <a:gd name="T16" fmla="*/ 9 w 9"/>
                  <a:gd name="T17" fmla="*/ 0 h 7"/>
                  <a:gd name="T18" fmla="*/ 6 w 9"/>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6" y="0"/>
                    </a:moveTo>
                    <a:cubicBezTo>
                      <a:pt x="6" y="0"/>
                      <a:pt x="5" y="0"/>
                      <a:pt x="5" y="0"/>
                    </a:cubicBezTo>
                    <a:cubicBezTo>
                      <a:pt x="4" y="0"/>
                      <a:pt x="3" y="1"/>
                      <a:pt x="2" y="2"/>
                    </a:cubicBezTo>
                    <a:cubicBezTo>
                      <a:pt x="0" y="5"/>
                      <a:pt x="0" y="5"/>
                      <a:pt x="0" y="5"/>
                    </a:cubicBezTo>
                    <a:cubicBezTo>
                      <a:pt x="3" y="6"/>
                      <a:pt x="3" y="6"/>
                      <a:pt x="3" y="6"/>
                    </a:cubicBezTo>
                    <a:cubicBezTo>
                      <a:pt x="4" y="7"/>
                      <a:pt x="4" y="7"/>
                      <a:pt x="5" y="7"/>
                    </a:cubicBezTo>
                    <a:cubicBezTo>
                      <a:pt x="6" y="7"/>
                      <a:pt x="7" y="6"/>
                      <a:pt x="8" y="5"/>
                    </a:cubicBezTo>
                    <a:cubicBezTo>
                      <a:pt x="9" y="5"/>
                      <a:pt x="9" y="4"/>
                      <a:pt x="9" y="2"/>
                    </a:cubicBezTo>
                    <a:cubicBezTo>
                      <a:pt x="9" y="0"/>
                      <a:pt x="9" y="0"/>
                      <a:pt x="9" y="0"/>
                    </a:cubicBezTo>
                    <a:lnTo>
                      <a:pt x="6" y="0"/>
                    </a:ln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26" name="Freeform 26"/>
              <p:cNvSpPr>
                <a:spLocks/>
              </p:cNvSpPr>
              <p:nvPr/>
            </p:nvSpPr>
            <p:spPr bwMode="auto">
              <a:xfrm>
                <a:off x="-781982" y="1867465"/>
                <a:ext cx="53007" cy="71210"/>
              </a:xfrm>
              <a:custGeom>
                <a:avLst/>
                <a:gdLst>
                  <a:gd name="T0" fmla="*/ 25 w 28"/>
                  <a:gd name="T1" fmla="*/ 12 h 40"/>
                  <a:gd name="T2" fmla="*/ 23 w 28"/>
                  <a:gd name="T3" fmla="*/ 9 h 40"/>
                  <a:gd name="T4" fmla="*/ 21 w 28"/>
                  <a:gd name="T5" fmla="*/ 7 h 40"/>
                  <a:gd name="T6" fmla="*/ 21 w 28"/>
                  <a:gd name="T7" fmla="*/ 6 h 40"/>
                  <a:gd name="T8" fmla="*/ 14 w 28"/>
                  <a:gd name="T9" fmla="*/ 0 h 40"/>
                  <a:gd name="T10" fmla="*/ 13 w 28"/>
                  <a:gd name="T11" fmla="*/ 0 h 40"/>
                  <a:gd name="T12" fmla="*/ 9 w 28"/>
                  <a:gd name="T13" fmla="*/ 4 h 40"/>
                  <a:gd name="T14" fmla="*/ 9 w 28"/>
                  <a:gd name="T15" fmla="*/ 5 h 40"/>
                  <a:gd name="T16" fmla="*/ 8 w 28"/>
                  <a:gd name="T17" fmla="*/ 6 h 40"/>
                  <a:gd name="T18" fmla="*/ 7 w 28"/>
                  <a:gd name="T19" fmla="*/ 10 h 40"/>
                  <a:gd name="T20" fmla="*/ 7 w 28"/>
                  <a:gd name="T21" fmla="*/ 12 h 40"/>
                  <a:gd name="T22" fmla="*/ 7 w 28"/>
                  <a:gd name="T23" fmla="*/ 13 h 40"/>
                  <a:gd name="T24" fmla="*/ 6 w 28"/>
                  <a:gd name="T25" fmla="*/ 14 h 40"/>
                  <a:gd name="T26" fmla="*/ 5 w 28"/>
                  <a:gd name="T27" fmla="*/ 16 h 40"/>
                  <a:gd name="T28" fmla="*/ 2 w 28"/>
                  <a:gd name="T29" fmla="*/ 21 h 40"/>
                  <a:gd name="T30" fmla="*/ 2 w 28"/>
                  <a:gd name="T31" fmla="*/ 24 h 40"/>
                  <a:gd name="T32" fmla="*/ 2 w 28"/>
                  <a:gd name="T33" fmla="*/ 24 h 40"/>
                  <a:gd name="T34" fmla="*/ 1 w 28"/>
                  <a:gd name="T35" fmla="*/ 25 h 40"/>
                  <a:gd name="T36" fmla="*/ 1 w 28"/>
                  <a:gd name="T37" fmla="*/ 29 h 40"/>
                  <a:gd name="T38" fmla="*/ 3 w 28"/>
                  <a:gd name="T39" fmla="*/ 32 h 40"/>
                  <a:gd name="T40" fmla="*/ 3 w 28"/>
                  <a:gd name="T41" fmla="*/ 33 h 40"/>
                  <a:gd name="T42" fmla="*/ 5 w 28"/>
                  <a:gd name="T43" fmla="*/ 34 h 40"/>
                  <a:gd name="T44" fmla="*/ 4 w 28"/>
                  <a:gd name="T45" fmla="*/ 37 h 40"/>
                  <a:gd name="T46" fmla="*/ 6 w 28"/>
                  <a:gd name="T47" fmla="*/ 39 h 40"/>
                  <a:gd name="T48" fmla="*/ 8 w 28"/>
                  <a:gd name="T49" fmla="*/ 40 h 40"/>
                  <a:gd name="T50" fmla="*/ 12 w 28"/>
                  <a:gd name="T51" fmla="*/ 38 h 40"/>
                  <a:gd name="T52" fmla="*/ 13 w 28"/>
                  <a:gd name="T53" fmla="*/ 34 h 40"/>
                  <a:gd name="T54" fmla="*/ 10 w 28"/>
                  <a:gd name="T55" fmla="*/ 32 h 40"/>
                  <a:gd name="T56" fmla="*/ 11 w 28"/>
                  <a:gd name="T57" fmla="*/ 30 h 40"/>
                  <a:gd name="T58" fmla="*/ 11 w 28"/>
                  <a:gd name="T59" fmla="*/ 30 h 40"/>
                  <a:gd name="T60" fmla="*/ 12 w 28"/>
                  <a:gd name="T61" fmla="*/ 28 h 40"/>
                  <a:gd name="T62" fmla="*/ 14 w 28"/>
                  <a:gd name="T63" fmla="*/ 26 h 40"/>
                  <a:gd name="T64" fmla="*/ 15 w 28"/>
                  <a:gd name="T65" fmla="*/ 26 h 40"/>
                  <a:gd name="T66" fmla="*/ 17 w 28"/>
                  <a:gd name="T67" fmla="*/ 26 h 40"/>
                  <a:gd name="T68" fmla="*/ 19 w 28"/>
                  <a:gd name="T69" fmla="*/ 23 h 40"/>
                  <a:gd name="T70" fmla="*/ 20 w 28"/>
                  <a:gd name="T71" fmla="*/ 23 h 40"/>
                  <a:gd name="T72" fmla="*/ 20 w 28"/>
                  <a:gd name="T73" fmla="*/ 22 h 40"/>
                  <a:gd name="T74" fmla="*/ 22 w 28"/>
                  <a:gd name="T75" fmla="*/ 20 h 40"/>
                  <a:gd name="T76" fmla="*/ 26 w 28"/>
                  <a:gd name="T77" fmla="*/ 18 h 40"/>
                  <a:gd name="T78" fmla="*/ 26 w 28"/>
                  <a:gd name="T79" fmla="*/ 13 h 40"/>
                  <a:gd name="T80" fmla="*/ 25 w 28"/>
                  <a:gd name="T81"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 h="40">
                    <a:moveTo>
                      <a:pt x="25" y="12"/>
                    </a:moveTo>
                    <a:cubicBezTo>
                      <a:pt x="25" y="11"/>
                      <a:pt x="24" y="10"/>
                      <a:pt x="23" y="9"/>
                    </a:cubicBezTo>
                    <a:cubicBezTo>
                      <a:pt x="22" y="8"/>
                      <a:pt x="22" y="8"/>
                      <a:pt x="21" y="7"/>
                    </a:cubicBezTo>
                    <a:cubicBezTo>
                      <a:pt x="21" y="6"/>
                      <a:pt x="21" y="6"/>
                      <a:pt x="21" y="6"/>
                    </a:cubicBezTo>
                    <a:cubicBezTo>
                      <a:pt x="20" y="4"/>
                      <a:pt x="18" y="0"/>
                      <a:pt x="14" y="0"/>
                    </a:cubicBezTo>
                    <a:cubicBezTo>
                      <a:pt x="14" y="0"/>
                      <a:pt x="13" y="0"/>
                      <a:pt x="13" y="0"/>
                    </a:cubicBezTo>
                    <a:cubicBezTo>
                      <a:pt x="10" y="1"/>
                      <a:pt x="9" y="3"/>
                      <a:pt x="9" y="4"/>
                    </a:cubicBezTo>
                    <a:cubicBezTo>
                      <a:pt x="9" y="5"/>
                      <a:pt x="9" y="5"/>
                      <a:pt x="9" y="5"/>
                    </a:cubicBezTo>
                    <a:cubicBezTo>
                      <a:pt x="9" y="5"/>
                      <a:pt x="9" y="6"/>
                      <a:pt x="8" y="6"/>
                    </a:cubicBezTo>
                    <a:cubicBezTo>
                      <a:pt x="8" y="7"/>
                      <a:pt x="7" y="8"/>
                      <a:pt x="7" y="10"/>
                    </a:cubicBezTo>
                    <a:cubicBezTo>
                      <a:pt x="6" y="11"/>
                      <a:pt x="7" y="12"/>
                      <a:pt x="7" y="12"/>
                    </a:cubicBezTo>
                    <a:cubicBezTo>
                      <a:pt x="7" y="13"/>
                      <a:pt x="7" y="13"/>
                      <a:pt x="7" y="13"/>
                    </a:cubicBezTo>
                    <a:cubicBezTo>
                      <a:pt x="7" y="14"/>
                      <a:pt x="7" y="14"/>
                      <a:pt x="6" y="14"/>
                    </a:cubicBezTo>
                    <a:cubicBezTo>
                      <a:pt x="6" y="15"/>
                      <a:pt x="6" y="16"/>
                      <a:pt x="5" y="16"/>
                    </a:cubicBezTo>
                    <a:cubicBezTo>
                      <a:pt x="3" y="17"/>
                      <a:pt x="2" y="19"/>
                      <a:pt x="2" y="21"/>
                    </a:cubicBezTo>
                    <a:cubicBezTo>
                      <a:pt x="1" y="22"/>
                      <a:pt x="1" y="23"/>
                      <a:pt x="2" y="24"/>
                    </a:cubicBezTo>
                    <a:cubicBezTo>
                      <a:pt x="2" y="24"/>
                      <a:pt x="2" y="24"/>
                      <a:pt x="2" y="24"/>
                    </a:cubicBezTo>
                    <a:cubicBezTo>
                      <a:pt x="2" y="24"/>
                      <a:pt x="1" y="24"/>
                      <a:pt x="1" y="25"/>
                    </a:cubicBezTo>
                    <a:cubicBezTo>
                      <a:pt x="1" y="25"/>
                      <a:pt x="0" y="27"/>
                      <a:pt x="1" y="29"/>
                    </a:cubicBezTo>
                    <a:cubicBezTo>
                      <a:pt x="1" y="30"/>
                      <a:pt x="2" y="31"/>
                      <a:pt x="3" y="32"/>
                    </a:cubicBezTo>
                    <a:cubicBezTo>
                      <a:pt x="3" y="32"/>
                      <a:pt x="3" y="33"/>
                      <a:pt x="3" y="33"/>
                    </a:cubicBezTo>
                    <a:cubicBezTo>
                      <a:pt x="5" y="34"/>
                      <a:pt x="5" y="34"/>
                      <a:pt x="5" y="34"/>
                    </a:cubicBezTo>
                    <a:cubicBezTo>
                      <a:pt x="4" y="35"/>
                      <a:pt x="4" y="36"/>
                      <a:pt x="4" y="37"/>
                    </a:cubicBezTo>
                    <a:cubicBezTo>
                      <a:pt x="4" y="38"/>
                      <a:pt x="5" y="39"/>
                      <a:pt x="6" y="39"/>
                    </a:cubicBezTo>
                    <a:cubicBezTo>
                      <a:pt x="6" y="40"/>
                      <a:pt x="7" y="40"/>
                      <a:pt x="8" y="40"/>
                    </a:cubicBezTo>
                    <a:cubicBezTo>
                      <a:pt x="9" y="40"/>
                      <a:pt x="11" y="39"/>
                      <a:pt x="12" y="38"/>
                    </a:cubicBezTo>
                    <a:cubicBezTo>
                      <a:pt x="12" y="37"/>
                      <a:pt x="13" y="35"/>
                      <a:pt x="13" y="34"/>
                    </a:cubicBezTo>
                    <a:cubicBezTo>
                      <a:pt x="12" y="33"/>
                      <a:pt x="11" y="32"/>
                      <a:pt x="10" y="32"/>
                    </a:cubicBezTo>
                    <a:cubicBezTo>
                      <a:pt x="10" y="31"/>
                      <a:pt x="10" y="31"/>
                      <a:pt x="11" y="30"/>
                    </a:cubicBezTo>
                    <a:cubicBezTo>
                      <a:pt x="11" y="30"/>
                      <a:pt x="11" y="30"/>
                      <a:pt x="11" y="30"/>
                    </a:cubicBezTo>
                    <a:cubicBezTo>
                      <a:pt x="11" y="29"/>
                      <a:pt x="12" y="29"/>
                      <a:pt x="12" y="28"/>
                    </a:cubicBezTo>
                    <a:cubicBezTo>
                      <a:pt x="13" y="28"/>
                      <a:pt x="14" y="27"/>
                      <a:pt x="14" y="26"/>
                    </a:cubicBezTo>
                    <a:cubicBezTo>
                      <a:pt x="14" y="26"/>
                      <a:pt x="14" y="26"/>
                      <a:pt x="15" y="26"/>
                    </a:cubicBezTo>
                    <a:cubicBezTo>
                      <a:pt x="15" y="26"/>
                      <a:pt x="16" y="26"/>
                      <a:pt x="17" y="26"/>
                    </a:cubicBezTo>
                    <a:cubicBezTo>
                      <a:pt x="18" y="25"/>
                      <a:pt x="19" y="24"/>
                      <a:pt x="19" y="23"/>
                    </a:cubicBezTo>
                    <a:cubicBezTo>
                      <a:pt x="20" y="23"/>
                      <a:pt x="20" y="23"/>
                      <a:pt x="20" y="23"/>
                    </a:cubicBezTo>
                    <a:cubicBezTo>
                      <a:pt x="20" y="23"/>
                      <a:pt x="20" y="23"/>
                      <a:pt x="20" y="22"/>
                    </a:cubicBezTo>
                    <a:cubicBezTo>
                      <a:pt x="21" y="22"/>
                      <a:pt x="22" y="21"/>
                      <a:pt x="22" y="20"/>
                    </a:cubicBezTo>
                    <a:cubicBezTo>
                      <a:pt x="24" y="20"/>
                      <a:pt x="26" y="19"/>
                      <a:pt x="26" y="18"/>
                    </a:cubicBezTo>
                    <a:cubicBezTo>
                      <a:pt x="28" y="15"/>
                      <a:pt x="26" y="13"/>
                      <a:pt x="26" y="13"/>
                    </a:cubicBezTo>
                    <a:cubicBezTo>
                      <a:pt x="26" y="13"/>
                      <a:pt x="25" y="12"/>
                      <a:pt x="25" y="12"/>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27" name="Freeform 27"/>
              <p:cNvSpPr>
                <a:spLocks/>
              </p:cNvSpPr>
              <p:nvPr/>
            </p:nvSpPr>
            <p:spPr bwMode="auto">
              <a:xfrm>
                <a:off x="-767303" y="1629333"/>
                <a:ext cx="109277" cy="232772"/>
              </a:xfrm>
              <a:custGeom>
                <a:avLst/>
                <a:gdLst>
                  <a:gd name="T0" fmla="*/ 55 w 57"/>
                  <a:gd name="T1" fmla="*/ 28 h 130"/>
                  <a:gd name="T2" fmla="*/ 50 w 57"/>
                  <a:gd name="T3" fmla="*/ 17 h 130"/>
                  <a:gd name="T4" fmla="*/ 47 w 57"/>
                  <a:gd name="T5" fmla="*/ 15 h 130"/>
                  <a:gd name="T6" fmla="*/ 43 w 57"/>
                  <a:gd name="T7" fmla="*/ 10 h 130"/>
                  <a:gd name="T8" fmla="*/ 49 w 57"/>
                  <a:gd name="T9" fmla="*/ 2 h 130"/>
                  <a:gd name="T10" fmla="*/ 47 w 57"/>
                  <a:gd name="T11" fmla="*/ 0 h 130"/>
                  <a:gd name="T12" fmla="*/ 38 w 57"/>
                  <a:gd name="T13" fmla="*/ 3 h 130"/>
                  <a:gd name="T14" fmla="*/ 39 w 57"/>
                  <a:gd name="T15" fmla="*/ 9 h 130"/>
                  <a:gd name="T16" fmla="*/ 31 w 57"/>
                  <a:gd name="T17" fmla="*/ 15 h 130"/>
                  <a:gd name="T18" fmla="*/ 31 w 57"/>
                  <a:gd name="T19" fmla="*/ 13 h 130"/>
                  <a:gd name="T20" fmla="*/ 33 w 57"/>
                  <a:gd name="T21" fmla="*/ 6 h 130"/>
                  <a:gd name="T22" fmla="*/ 28 w 57"/>
                  <a:gd name="T23" fmla="*/ 5 h 130"/>
                  <a:gd name="T24" fmla="*/ 26 w 57"/>
                  <a:gd name="T25" fmla="*/ 10 h 130"/>
                  <a:gd name="T26" fmla="*/ 21 w 57"/>
                  <a:gd name="T27" fmla="*/ 16 h 130"/>
                  <a:gd name="T28" fmla="*/ 14 w 57"/>
                  <a:gd name="T29" fmla="*/ 14 h 130"/>
                  <a:gd name="T30" fmla="*/ 6 w 57"/>
                  <a:gd name="T31" fmla="*/ 19 h 130"/>
                  <a:gd name="T32" fmla="*/ 5 w 57"/>
                  <a:gd name="T33" fmla="*/ 22 h 130"/>
                  <a:gd name="T34" fmla="*/ 14 w 57"/>
                  <a:gd name="T35" fmla="*/ 39 h 130"/>
                  <a:gd name="T36" fmla="*/ 19 w 57"/>
                  <a:gd name="T37" fmla="*/ 44 h 130"/>
                  <a:gd name="T38" fmla="*/ 24 w 57"/>
                  <a:gd name="T39" fmla="*/ 47 h 130"/>
                  <a:gd name="T40" fmla="*/ 24 w 57"/>
                  <a:gd name="T41" fmla="*/ 47 h 130"/>
                  <a:gd name="T42" fmla="*/ 12 w 57"/>
                  <a:gd name="T43" fmla="*/ 59 h 130"/>
                  <a:gd name="T44" fmla="*/ 16 w 57"/>
                  <a:gd name="T45" fmla="*/ 68 h 130"/>
                  <a:gd name="T46" fmla="*/ 16 w 57"/>
                  <a:gd name="T47" fmla="*/ 69 h 130"/>
                  <a:gd name="T48" fmla="*/ 13 w 57"/>
                  <a:gd name="T49" fmla="*/ 77 h 130"/>
                  <a:gd name="T50" fmla="*/ 14 w 57"/>
                  <a:gd name="T51" fmla="*/ 84 h 130"/>
                  <a:gd name="T52" fmla="*/ 11 w 57"/>
                  <a:gd name="T53" fmla="*/ 90 h 130"/>
                  <a:gd name="T54" fmla="*/ 11 w 57"/>
                  <a:gd name="T55" fmla="*/ 95 h 130"/>
                  <a:gd name="T56" fmla="*/ 8 w 57"/>
                  <a:gd name="T57" fmla="*/ 99 h 130"/>
                  <a:gd name="T58" fmla="*/ 9 w 57"/>
                  <a:gd name="T59" fmla="*/ 109 h 130"/>
                  <a:gd name="T60" fmla="*/ 13 w 57"/>
                  <a:gd name="T61" fmla="*/ 117 h 130"/>
                  <a:gd name="T62" fmla="*/ 14 w 57"/>
                  <a:gd name="T63" fmla="*/ 125 h 130"/>
                  <a:gd name="T64" fmla="*/ 23 w 57"/>
                  <a:gd name="T65" fmla="*/ 129 h 130"/>
                  <a:gd name="T66" fmla="*/ 29 w 57"/>
                  <a:gd name="T67" fmla="*/ 130 h 130"/>
                  <a:gd name="T68" fmla="*/ 35 w 57"/>
                  <a:gd name="T69" fmla="*/ 127 h 130"/>
                  <a:gd name="T70" fmla="*/ 30 w 57"/>
                  <a:gd name="T71" fmla="*/ 117 h 130"/>
                  <a:gd name="T72" fmla="*/ 33 w 57"/>
                  <a:gd name="T73" fmla="*/ 109 h 130"/>
                  <a:gd name="T74" fmla="*/ 35 w 57"/>
                  <a:gd name="T75" fmla="*/ 98 h 130"/>
                  <a:gd name="T76" fmla="*/ 35 w 57"/>
                  <a:gd name="T77" fmla="*/ 94 h 130"/>
                  <a:gd name="T78" fmla="*/ 39 w 57"/>
                  <a:gd name="T79" fmla="*/ 89 h 130"/>
                  <a:gd name="T80" fmla="*/ 38 w 57"/>
                  <a:gd name="T81" fmla="*/ 80 h 130"/>
                  <a:gd name="T82" fmla="*/ 32 w 57"/>
                  <a:gd name="T83" fmla="*/ 74 h 130"/>
                  <a:gd name="T84" fmla="*/ 31 w 57"/>
                  <a:gd name="T85" fmla="*/ 72 h 130"/>
                  <a:gd name="T86" fmla="*/ 35 w 57"/>
                  <a:gd name="T87" fmla="*/ 69 h 130"/>
                  <a:gd name="T88" fmla="*/ 36 w 57"/>
                  <a:gd name="T89" fmla="*/ 57 h 130"/>
                  <a:gd name="T90" fmla="*/ 33 w 57"/>
                  <a:gd name="T91" fmla="*/ 53 h 130"/>
                  <a:gd name="T92" fmla="*/ 31 w 57"/>
                  <a:gd name="T93" fmla="*/ 51 h 130"/>
                  <a:gd name="T94" fmla="*/ 35 w 57"/>
                  <a:gd name="T95" fmla="*/ 50 h 130"/>
                  <a:gd name="T96" fmla="*/ 40 w 57"/>
                  <a:gd name="T97" fmla="*/ 51 h 130"/>
                  <a:gd name="T98" fmla="*/ 47 w 57"/>
                  <a:gd name="T99" fmla="*/ 47 h 130"/>
                  <a:gd name="T100" fmla="*/ 46 w 57"/>
                  <a:gd name="T101" fmla="*/ 40 h 130"/>
                  <a:gd name="T102" fmla="*/ 50 w 57"/>
                  <a:gd name="T103" fmla="*/ 33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130">
                    <a:moveTo>
                      <a:pt x="49" y="31"/>
                    </a:moveTo>
                    <a:cubicBezTo>
                      <a:pt x="52" y="30"/>
                      <a:pt x="54" y="29"/>
                      <a:pt x="55" y="28"/>
                    </a:cubicBezTo>
                    <a:cubicBezTo>
                      <a:pt x="56" y="26"/>
                      <a:pt x="57" y="24"/>
                      <a:pt x="56" y="22"/>
                    </a:cubicBezTo>
                    <a:cubicBezTo>
                      <a:pt x="56" y="18"/>
                      <a:pt x="52" y="18"/>
                      <a:pt x="50" y="17"/>
                    </a:cubicBezTo>
                    <a:cubicBezTo>
                      <a:pt x="49" y="17"/>
                      <a:pt x="49" y="17"/>
                      <a:pt x="48" y="17"/>
                    </a:cubicBezTo>
                    <a:cubicBezTo>
                      <a:pt x="48" y="17"/>
                      <a:pt x="47" y="16"/>
                      <a:pt x="47" y="15"/>
                    </a:cubicBezTo>
                    <a:cubicBezTo>
                      <a:pt x="46" y="14"/>
                      <a:pt x="46" y="14"/>
                      <a:pt x="46" y="13"/>
                    </a:cubicBezTo>
                    <a:cubicBezTo>
                      <a:pt x="45" y="12"/>
                      <a:pt x="44" y="11"/>
                      <a:pt x="43" y="10"/>
                    </a:cubicBezTo>
                    <a:cubicBezTo>
                      <a:pt x="45" y="10"/>
                      <a:pt x="47" y="9"/>
                      <a:pt x="48" y="7"/>
                    </a:cubicBezTo>
                    <a:cubicBezTo>
                      <a:pt x="49" y="6"/>
                      <a:pt x="50" y="4"/>
                      <a:pt x="49" y="2"/>
                    </a:cubicBezTo>
                    <a:cubicBezTo>
                      <a:pt x="49" y="1"/>
                      <a:pt x="49" y="1"/>
                      <a:pt x="49" y="1"/>
                    </a:cubicBezTo>
                    <a:cubicBezTo>
                      <a:pt x="47" y="0"/>
                      <a:pt x="47" y="0"/>
                      <a:pt x="47" y="0"/>
                    </a:cubicBezTo>
                    <a:cubicBezTo>
                      <a:pt x="47" y="0"/>
                      <a:pt x="46" y="0"/>
                      <a:pt x="46" y="0"/>
                    </a:cubicBezTo>
                    <a:cubicBezTo>
                      <a:pt x="45" y="0"/>
                      <a:pt x="40" y="0"/>
                      <a:pt x="38" y="3"/>
                    </a:cubicBezTo>
                    <a:cubicBezTo>
                      <a:pt x="37" y="5"/>
                      <a:pt x="37" y="6"/>
                      <a:pt x="38" y="8"/>
                    </a:cubicBezTo>
                    <a:cubicBezTo>
                      <a:pt x="38" y="8"/>
                      <a:pt x="38" y="9"/>
                      <a:pt x="39" y="9"/>
                    </a:cubicBezTo>
                    <a:cubicBezTo>
                      <a:pt x="38" y="9"/>
                      <a:pt x="37" y="9"/>
                      <a:pt x="36" y="9"/>
                    </a:cubicBezTo>
                    <a:cubicBezTo>
                      <a:pt x="33" y="10"/>
                      <a:pt x="32" y="13"/>
                      <a:pt x="31" y="15"/>
                    </a:cubicBezTo>
                    <a:cubicBezTo>
                      <a:pt x="31" y="14"/>
                      <a:pt x="31" y="14"/>
                      <a:pt x="31" y="13"/>
                    </a:cubicBezTo>
                    <a:cubicBezTo>
                      <a:pt x="31" y="13"/>
                      <a:pt x="31" y="13"/>
                      <a:pt x="31" y="13"/>
                    </a:cubicBezTo>
                    <a:cubicBezTo>
                      <a:pt x="32" y="12"/>
                      <a:pt x="34" y="11"/>
                      <a:pt x="34" y="9"/>
                    </a:cubicBezTo>
                    <a:cubicBezTo>
                      <a:pt x="34" y="8"/>
                      <a:pt x="34" y="6"/>
                      <a:pt x="33" y="6"/>
                    </a:cubicBezTo>
                    <a:cubicBezTo>
                      <a:pt x="33" y="5"/>
                      <a:pt x="31" y="4"/>
                      <a:pt x="30" y="4"/>
                    </a:cubicBezTo>
                    <a:cubicBezTo>
                      <a:pt x="29" y="4"/>
                      <a:pt x="29" y="4"/>
                      <a:pt x="28" y="5"/>
                    </a:cubicBezTo>
                    <a:cubicBezTo>
                      <a:pt x="26" y="6"/>
                      <a:pt x="26" y="9"/>
                      <a:pt x="26" y="10"/>
                    </a:cubicBezTo>
                    <a:cubicBezTo>
                      <a:pt x="26" y="10"/>
                      <a:pt x="26" y="10"/>
                      <a:pt x="26" y="10"/>
                    </a:cubicBezTo>
                    <a:cubicBezTo>
                      <a:pt x="23" y="11"/>
                      <a:pt x="22" y="13"/>
                      <a:pt x="22" y="15"/>
                    </a:cubicBezTo>
                    <a:cubicBezTo>
                      <a:pt x="22" y="15"/>
                      <a:pt x="21" y="16"/>
                      <a:pt x="21" y="16"/>
                    </a:cubicBezTo>
                    <a:cubicBezTo>
                      <a:pt x="21" y="15"/>
                      <a:pt x="19" y="14"/>
                      <a:pt x="17" y="14"/>
                    </a:cubicBezTo>
                    <a:cubicBezTo>
                      <a:pt x="16" y="14"/>
                      <a:pt x="15" y="14"/>
                      <a:pt x="14" y="14"/>
                    </a:cubicBezTo>
                    <a:cubicBezTo>
                      <a:pt x="14" y="14"/>
                      <a:pt x="13" y="15"/>
                      <a:pt x="13" y="15"/>
                    </a:cubicBezTo>
                    <a:cubicBezTo>
                      <a:pt x="9" y="15"/>
                      <a:pt x="8" y="16"/>
                      <a:pt x="6" y="19"/>
                    </a:cubicBezTo>
                    <a:cubicBezTo>
                      <a:pt x="6" y="19"/>
                      <a:pt x="6" y="20"/>
                      <a:pt x="6" y="20"/>
                    </a:cubicBezTo>
                    <a:cubicBezTo>
                      <a:pt x="5" y="21"/>
                      <a:pt x="5" y="21"/>
                      <a:pt x="5" y="22"/>
                    </a:cubicBezTo>
                    <a:cubicBezTo>
                      <a:pt x="3" y="26"/>
                      <a:pt x="0" y="32"/>
                      <a:pt x="5" y="37"/>
                    </a:cubicBezTo>
                    <a:cubicBezTo>
                      <a:pt x="8" y="39"/>
                      <a:pt x="11" y="39"/>
                      <a:pt x="14" y="39"/>
                    </a:cubicBezTo>
                    <a:cubicBezTo>
                      <a:pt x="15" y="39"/>
                      <a:pt x="17" y="41"/>
                      <a:pt x="18" y="42"/>
                    </a:cubicBezTo>
                    <a:cubicBezTo>
                      <a:pt x="19" y="44"/>
                      <a:pt x="19" y="44"/>
                      <a:pt x="19" y="44"/>
                    </a:cubicBezTo>
                    <a:cubicBezTo>
                      <a:pt x="20" y="46"/>
                      <a:pt x="21" y="46"/>
                      <a:pt x="23" y="47"/>
                    </a:cubicBezTo>
                    <a:cubicBezTo>
                      <a:pt x="24" y="47"/>
                      <a:pt x="24" y="47"/>
                      <a:pt x="24" y="47"/>
                    </a:cubicBezTo>
                    <a:cubicBezTo>
                      <a:pt x="24" y="47"/>
                      <a:pt x="24" y="47"/>
                      <a:pt x="24" y="47"/>
                    </a:cubicBezTo>
                    <a:cubicBezTo>
                      <a:pt x="24" y="47"/>
                      <a:pt x="24" y="47"/>
                      <a:pt x="24" y="47"/>
                    </a:cubicBezTo>
                    <a:cubicBezTo>
                      <a:pt x="21" y="47"/>
                      <a:pt x="17" y="49"/>
                      <a:pt x="15" y="51"/>
                    </a:cubicBezTo>
                    <a:cubicBezTo>
                      <a:pt x="13" y="54"/>
                      <a:pt x="12" y="57"/>
                      <a:pt x="12" y="59"/>
                    </a:cubicBezTo>
                    <a:cubicBezTo>
                      <a:pt x="13" y="63"/>
                      <a:pt x="16" y="65"/>
                      <a:pt x="18" y="66"/>
                    </a:cubicBezTo>
                    <a:cubicBezTo>
                      <a:pt x="17" y="66"/>
                      <a:pt x="16" y="67"/>
                      <a:pt x="16" y="68"/>
                    </a:cubicBezTo>
                    <a:cubicBezTo>
                      <a:pt x="16" y="69"/>
                      <a:pt x="16" y="69"/>
                      <a:pt x="16" y="69"/>
                    </a:cubicBezTo>
                    <a:cubicBezTo>
                      <a:pt x="16" y="69"/>
                      <a:pt x="16" y="69"/>
                      <a:pt x="16" y="69"/>
                    </a:cubicBezTo>
                    <a:cubicBezTo>
                      <a:pt x="15" y="69"/>
                      <a:pt x="13" y="69"/>
                      <a:pt x="13" y="70"/>
                    </a:cubicBezTo>
                    <a:cubicBezTo>
                      <a:pt x="11" y="72"/>
                      <a:pt x="12" y="75"/>
                      <a:pt x="13" y="77"/>
                    </a:cubicBezTo>
                    <a:cubicBezTo>
                      <a:pt x="13" y="77"/>
                      <a:pt x="13" y="77"/>
                      <a:pt x="13" y="77"/>
                    </a:cubicBezTo>
                    <a:cubicBezTo>
                      <a:pt x="14" y="80"/>
                      <a:pt x="14" y="82"/>
                      <a:pt x="14" y="84"/>
                    </a:cubicBezTo>
                    <a:cubicBezTo>
                      <a:pt x="14" y="85"/>
                      <a:pt x="13" y="86"/>
                      <a:pt x="12" y="87"/>
                    </a:cubicBezTo>
                    <a:cubicBezTo>
                      <a:pt x="12" y="88"/>
                      <a:pt x="11" y="89"/>
                      <a:pt x="11" y="90"/>
                    </a:cubicBezTo>
                    <a:cubicBezTo>
                      <a:pt x="11" y="92"/>
                      <a:pt x="11" y="93"/>
                      <a:pt x="11" y="94"/>
                    </a:cubicBezTo>
                    <a:cubicBezTo>
                      <a:pt x="11" y="94"/>
                      <a:pt x="11" y="95"/>
                      <a:pt x="11" y="95"/>
                    </a:cubicBezTo>
                    <a:cubicBezTo>
                      <a:pt x="11" y="95"/>
                      <a:pt x="10" y="96"/>
                      <a:pt x="10" y="96"/>
                    </a:cubicBezTo>
                    <a:cubicBezTo>
                      <a:pt x="9" y="97"/>
                      <a:pt x="9" y="98"/>
                      <a:pt x="8" y="99"/>
                    </a:cubicBezTo>
                    <a:cubicBezTo>
                      <a:pt x="8" y="101"/>
                      <a:pt x="9" y="105"/>
                      <a:pt x="9" y="107"/>
                    </a:cubicBezTo>
                    <a:cubicBezTo>
                      <a:pt x="9" y="108"/>
                      <a:pt x="9" y="108"/>
                      <a:pt x="9" y="109"/>
                    </a:cubicBezTo>
                    <a:cubicBezTo>
                      <a:pt x="10" y="111"/>
                      <a:pt x="11" y="113"/>
                      <a:pt x="12" y="115"/>
                    </a:cubicBezTo>
                    <a:cubicBezTo>
                      <a:pt x="12" y="116"/>
                      <a:pt x="12" y="117"/>
                      <a:pt x="13" y="117"/>
                    </a:cubicBezTo>
                    <a:cubicBezTo>
                      <a:pt x="13" y="118"/>
                      <a:pt x="13" y="119"/>
                      <a:pt x="13" y="121"/>
                    </a:cubicBezTo>
                    <a:cubicBezTo>
                      <a:pt x="14" y="122"/>
                      <a:pt x="14" y="123"/>
                      <a:pt x="14" y="125"/>
                    </a:cubicBezTo>
                    <a:cubicBezTo>
                      <a:pt x="16" y="128"/>
                      <a:pt x="18" y="129"/>
                      <a:pt x="21" y="129"/>
                    </a:cubicBezTo>
                    <a:cubicBezTo>
                      <a:pt x="21" y="129"/>
                      <a:pt x="22" y="129"/>
                      <a:pt x="23" y="129"/>
                    </a:cubicBezTo>
                    <a:cubicBezTo>
                      <a:pt x="23" y="129"/>
                      <a:pt x="24" y="130"/>
                      <a:pt x="25" y="130"/>
                    </a:cubicBezTo>
                    <a:cubicBezTo>
                      <a:pt x="26" y="130"/>
                      <a:pt x="28" y="130"/>
                      <a:pt x="29" y="130"/>
                    </a:cubicBezTo>
                    <a:cubicBezTo>
                      <a:pt x="30" y="130"/>
                      <a:pt x="30" y="130"/>
                      <a:pt x="30" y="130"/>
                    </a:cubicBezTo>
                    <a:cubicBezTo>
                      <a:pt x="32" y="130"/>
                      <a:pt x="34" y="129"/>
                      <a:pt x="35" y="127"/>
                    </a:cubicBezTo>
                    <a:cubicBezTo>
                      <a:pt x="36" y="125"/>
                      <a:pt x="36" y="122"/>
                      <a:pt x="34" y="120"/>
                    </a:cubicBezTo>
                    <a:cubicBezTo>
                      <a:pt x="33" y="118"/>
                      <a:pt x="32" y="118"/>
                      <a:pt x="30" y="117"/>
                    </a:cubicBezTo>
                    <a:cubicBezTo>
                      <a:pt x="33" y="115"/>
                      <a:pt x="33" y="113"/>
                      <a:pt x="33" y="110"/>
                    </a:cubicBezTo>
                    <a:cubicBezTo>
                      <a:pt x="33" y="109"/>
                      <a:pt x="33" y="109"/>
                      <a:pt x="33" y="109"/>
                    </a:cubicBezTo>
                    <a:cubicBezTo>
                      <a:pt x="33" y="107"/>
                      <a:pt x="34" y="105"/>
                      <a:pt x="32" y="103"/>
                    </a:cubicBezTo>
                    <a:cubicBezTo>
                      <a:pt x="34" y="102"/>
                      <a:pt x="35" y="100"/>
                      <a:pt x="35" y="98"/>
                    </a:cubicBezTo>
                    <a:cubicBezTo>
                      <a:pt x="35" y="97"/>
                      <a:pt x="35" y="96"/>
                      <a:pt x="35" y="95"/>
                    </a:cubicBezTo>
                    <a:cubicBezTo>
                      <a:pt x="35" y="95"/>
                      <a:pt x="35" y="95"/>
                      <a:pt x="35" y="94"/>
                    </a:cubicBezTo>
                    <a:cubicBezTo>
                      <a:pt x="35" y="94"/>
                      <a:pt x="36" y="94"/>
                      <a:pt x="36" y="94"/>
                    </a:cubicBezTo>
                    <a:cubicBezTo>
                      <a:pt x="37" y="93"/>
                      <a:pt x="39" y="92"/>
                      <a:pt x="39" y="89"/>
                    </a:cubicBezTo>
                    <a:cubicBezTo>
                      <a:pt x="39" y="86"/>
                      <a:pt x="38" y="84"/>
                      <a:pt x="36" y="83"/>
                    </a:cubicBezTo>
                    <a:cubicBezTo>
                      <a:pt x="37" y="82"/>
                      <a:pt x="37" y="81"/>
                      <a:pt x="38" y="80"/>
                    </a:cubicBezTo>
                    <a:cubicBezTo>
                      <a:pt x="38" y="77"/>
                      <a:pt x="35" y="76"/>
                      <a:pt x="33" y="75"/>
                    </a:cubicBezTo>
                    <a:cubicBezTo>
                      <a:pt x="33" y="74"/>
                      <a:pt x="32" y="74"/>
                      <a:pt x="32" y="74"/>
                    </a:cubicBezTo>
                    <a:cubicBezTo>
                      <a:pt x="32" y="74"/>
                      <a:pt x="32" y="73"/>
                      <a:pt x="31" y="73"/>
                    </a:cubicBezTo>
                    <a:cubicBezTo>
                      <a:pt x="31" y="73"/>
                      <a:pt x="31" y="73"/>
                      <a:pt x="31" y="72"/>
                    </a:cubicBezTo>
                    <a:cubicBezTo>
                      <a:pt x="32" y="72"/>
                      <a:pt x="33" y="71"/>
                      <a:pt x="34" y="70"/>
                    </a:cubicBezTo>
                    <a:cubicBezTo>
                      <a:pt x="34" y="70"/>
                      <a:pt x="35" y="70"/>
                      <a:pt x="35" y="69"/>
                    </a:cubicBezTo>
                    <a:cubicBezTo>
                      <a:pt x="37" y="67"/>
                      <a:pt x="39" y="66"/>
                      <a:pt x="39" y="63"/>
                    </a:cubicBezTo>
                    <a:cubicBezTo>
                      <a:pt x="39" y="61"/>
                      <a:pt x="38" y="59"/>
                      <a:pt x="36" y="57"/>
                    </a:cubicBezTo>
                    <a:cubicBezTo>
                      <a:pt x="36" y="57"/>
                      <a:pt x="36" y="57"/>
                      <a:pt x="36" y="57"/>
                    </a:cubicBezTo>
                    <a:cubicBezTo>
                      <a:pt x="34" y="56"/>
                      <a:pt x="33" y="55"/>
                      <a:pt x="33" y="53"/>
                    </a:cubicBezTo>
                    <a:cubicBezTo>
                      <a:pt x="32" y="53"/>
                      <a:pt x="32" y="53"/>
                      <a:pt x="32" y="53"/>
                    </a:cubicBezTo>
                    <a:cubicBezTo>
                      <a:pt x="32" y="52"/>
                      <a:pt x="31" y="51"/>
                      <a:pt x="31" y="51"/>
                    </a:cubicBezTo>
                    <a:cubicBezTo>
                      <a:pt x="32" y="51"/>
                      <a:pt x="33" y="50"/>
                      <a:pt x="33" y="50"/>
                    </a:cubicBezTo>
                    <a:cubicBezTo>
                      <a:pt x="34" y="50"/>
                      <a:pt x="35" y="50"/>
                      <a:pt x="35" y="50"/>
                    </a:cubicBezTo>
                    <a:cubicBezTo>
                      <a:pt x="35" y="50"/>
                      <a:pt x="36" y="50"/>
                      <a:pt x="37" y="50"/>
                    </a:cubicBezTo>
                    <a:cubicBezTo>
                      <a:pt x="38" y="50"/>
                      <a:pt x="39" y="51"/>
                      <a:pt x="40" y="51"/>
                    </a:cubicBezTo>
                    <a:cubicBezTo>
                      <a:pt x="41" y="51"/>
                      <a:pt x="41" y="51"/>
                      <a:pt x="42" y="50"/>
                    </a:cubicBezTo>
                    <a:cubicBezTo>
                      <a:pt x="44" y="50"/>
                      <a:pt x="46" y="49"/>
                      <a:pt x="47" y="47"/>
                    </a:cubicBezTo>
                    <a:cubicBezTo>
                      <a:pt x="48" y="45"/>
                      <a:pt x="48" y="44"/>
                      <a:pt x="48" y="42"/>
                    </a:cubicBezTo>
                    <a:cubicBezTo>
                      <a:pt x="47" y="41"/>
                      <a:pt x="47" y="40"/>
                      <a:pt x="46" y="40"/>
                    </a:cubicBezTo>
                    <a:cubicBezTo>
                      <a:pt x="47" y="39"/>
                      <a:pt x="48" y="38"/>
                      <a:pt x="49" y="37"/>
                    </a:cubicBezTo>
                    <a:cubicBezTo>
                      <a:pt x="50" y="35"/>
                      <a:pt x="51" y="34"/>
                      <a:pt x="50" y="33"/>
                    </a:cubicBezTo>
                    <a:cubicBezTo>
                      <a:pt x="50" y="32"/>
                      <a:pt x="50" y="31"/>
                      <a:pt x="49" y="31"/>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28" name="Freeform 28"/>
              <p:cNvSpPr>
                <a:spLocks/>
              </p:cNvSpPr>
              <p:nvPr/>
            </p:nvSpPr>
            <p:spPr bwMode="auto">
              <a:xfrm>
                <a:off x="-707771" y="1613254"/>
                <a:ext cx="26911" cy="16080"/>
              </a:xfrm>
              <a:custGeom>
                <a:avLst/>
                <a:gdLst>
                  <a:gd name="T0" fmla="*/ 8 w 14"/>
                  <a:gd name="T1" fmla="*/ 9 h 9"/>
                  <a:gd name="T2" fmla="*/ 13 w 14"/>
                  <a:gd name="T3" fmla="*/ 7 h 9"/>
                  <a:gd name="T4" fmla="*/ 14 w 14"/>
                  <a:gd name="T5" fmla="*/ 4 h 9"/>
                  <a:gd name="T6" fmla="*/ 8 w 14"/>
                  <a:gd name="T7" fmla="*/ 0 h 9"/>
                  <a:gd name="T8" fmla="*/ 6 w 14"/>
                  <a:gd name="T9" fmla="*/ 0 h 9"/>
                  <a:gd name="T10" fmla="*/ 1 w 14"/>
                  <a:gd name="T11" fmla="*/ 2 h 9"/>
                  <a:gd name="T12" fmla="*/ 1 w 14"/>
                  <a:gd name="T13" fmla="*/ 6 h 9"/>
                  <a:gd name="T14" fmla="*/ 8 w 14"/>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8" y="9"/>
                    </a:moveTo>
                    <a:cubicBezTo>
                      <a:pt x="9" y="9"/>
                      <a:pt x="12" y="9"/>
                      <a:pt x="13" y="7"/>
                    </a:cubicBezTo>
                    <a:cubicBezTo>
                      <a:pt x="14" y="6"/>
                      <a:pt x="14" y="5"/>
                      <a:pt x="14" y="4"/>
                    </a:cubicBezTo>
                    <a:cubicBezTo>
                      <a:pt x="14" y="3"/>
                      <a:pt x="13" y="0"/>
                      <a:pt x="8" y="0"/>
                    </a:cubicBezTo>
                    <a:cubicBezTo>
                      <a:pt x="7" y="0"/>
                      <a:pt x="6" y="0"/>
                      <a:pt x="6" y="0"/>
                    </a:cubicBezTo>
                    <a:cubicBezTo>
                      <a:pt x="3" y="1"/>
                      <a:pt x="2" y="1"/>
                      <a:pt x="1" y="2"/>
                    </a:cubicBezTo>
                    <a:cubicBezTo>
                      <a:pt x="0" y="4"/>
                      <a:pt x="0" y="5"/>
                      <a:pt x="1" y="6"/>
                    </a:cubicBezTo>
                    <a:cubicBezTo>
                      <a:pt x="2" y="9"/>
                      <a:pt x="7" y="9"/>
                      <a:pt x="8" y="9"/>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29" name="Freeform 29"/>
              <p:cNvSpPr>
                <a:spLocks noEditPoints="1"/>
              </p:cNvSpPr>
              <p:nvPr/>
            </p:nvSpPr>
            <p:spPr bwMode="auto">
              <a:xfrm>
                <a:off x="-680860" y="1366699"/>
                <a:ext cx="212845" cy="277182"/>
              </a:xfrm>
              <a:custGeom>
                <a:avLst/>
                <a:gdLst>
                  <a:gd name="T0" fmla="*/ 5 w 112"/>
                  <a:gd name="T1" fmla="*/ 102 h 155"/>
                  <a:gd name="T2" fmla="*/ 23 w 112"/>
                  <a:gd name="T3" fmla="*/ 111 h 155"/>
                  <a:gd name="T4" fmla="*/ 30 w 112"/>
                  <a:gd name="T5" fmla="*/ 115 h 155"/>
                  <a:gd name="T6" fmla="*/ 20 w 112"/>
                  <a:gd name="T7" fmla="*/ 119 h 155"/>
                  <a:gd name="T8" fmla="*/ 9 w 112"/>
                  <a:gd name="T9" fmla="*/ 119 h 155"/>
                  <a:gd name="T10" fmla="*/ 20 w 112"/>
                  <a:gd name="T11" fmla="*/ 120 h 155"/>
                  <a:gd name="T12" fmla="*/ 20 w 112"/>
                  <a:gd name="T13" fmla="*/ 123 h 155"/>
                  <a:gd name="T14" fmla="*/ 16 w 112"/>
                  <a:gd name="T15" fmla="*/ 125 h 155"/>
                  <a:gd name="T16" fmla="*/ 12 w 112"/>
                  <a:gd name="T17" fmla="*/ 130 h 155"/>
                  <a:gd name="T18" fmla="*/ 10 w 112"/>
                  <a:gd name="T19" fmla="*/ 145 h 155"/>
                  <a:gd name="T20" fmla="*/ 18 w 112"/>
                  <a:gd name="T21" fmla="*/ 153 h 155"/>
                  <a:gd name="T22" fmla="*/ 20 w 112"/>
                  <a:gd name="T23" fmla="*/ 152 h 155"/>
                  <a:gd name="T24" fmla="*/ 20 w 112"/>
                  <a:gd name="T25" fmla="*/ 152 h 155"/>
                  <a:gd name="T26" fmla="*/ 26 w 112"/>
                  <a:gd name="T27" fmla="*/ 151 h 155"/>
                  <a:gd name="T28" fmla="*/ 30 w 112"/>
                  <a:gd name="T29" fmla="*/ 147 h 155"/>
                  <a:gd name="T30" fmla="*/ 47 w 112"/>
                  <a:gd name="T31" fmla="*/ 132 h 155"/>
                  <a:gd name="T32" fmla="*/ 46 w 112"/>
                  <a:gd name="T33" fmla="*/ 125 h 155"/>
                  <a:gd name="T34" fmla="*/ 55 w 112"/>
                  <a:gd name="T35" fmla="*/ 117 h 155"/>
                  <a:gd name="T36" fmla="*/ 75 w 112"/>
                  <a:gd name="T37" fmla="*/ 114 h 155"/>
                  <a:gd name="T38" fmla="*/ 86 w 112"/>
                  <a:gd name="T39" fmla="*/ 93 h 155"/>
                  <a:gd name="T40" fmla="*/ 84 w 112"/>
                  <a:gd name="T41" fmla="*/ 79 h 155"/>
                  <a:gd name="T42" fmla="*/ 88 w 112"/>
                  <a:gd name="T43" fmla="*/ 64 h 155"/>
                  <a:gd name="T44" fmla="*/ 98 w 112"/>
                  <a:gd name="T45" fmla="*/ 67 h 155"/>
                  <a:gd name="T46" fmla="*/ 107 w 112"/>
                  <a:gd name="T47" fmla="*/ 48 h 155"/>
                  <a:gd name="T48" fmla="*/ 94 w 112"/>
                  <a:gd name="T49" fmla="*/ 56 h 155"/>
                  <a:gd name="T50" fmla="*/ 97 w 112"/>
                  <a:gd name="T51" fmla="*/ 47 h 155"/>
                  <a:gd name="T52" fmla="*/ 107 w 112"/>
                  <a:gd name="T53" fmla="*/ 31 h 155"/>
                  <a:gd name="T54" fmla="*/ 108 w 112"/>
                  <a:gd name="T55" fmla="*/ 20 h 155"/>
                  <a:gd name="T56" fmla="*/ 93 w 112"/>
                  <a:gd name="T57" fmla="*/ 1 h 155"/>
                  <a:gd name="T58" fmla="*/ 72 w 112"/>
                  <a:gd name="T59" fmla="*/ 18 h 155"/>
                  <a:gd name="T60" fmla="*/ 65 w 112"/>
                  <a:gd name="T61" fmla="*/ 25 h 155"/>
                  <a:gd name="T62" fmla="*/ 42 w 112"/>
                  <a:gd name="T63" fmla="*/ 34 h 155"/>
                  <a:gd name="T64" fmla="*/ 39 w 112"/>
                  <a:gd name="T65" fmla="*/ 51 h 155"/>
                  <a:gd name="T66" fmla="*/ 31 w 112"/>
                  <a:gd name="T67" fmla="*/ 47 h 155"/>
                  <a:gd name="T68" fmla="*/ 34 w 112"/>
                  <a:gd name="T69" fmla="*/ 58 h 155"/>
                  <a:gd name="T70" fmla="*/ 31 w 112"/>
                  <a:gd name="T71" fmla="*/ 61 h 155"/>
                  <a:gd name="T72" fmla="*/ 28 w 112"/>
                  <a:gd name="T73" fmla="*/ 54 h 155"/>
                  <a:gd name="T74" fmla="*/ 22 w 112"/>
                  <a:gd name="T75" fmla="*/ 53 h 155"/>
                  <a:gd name="T76" fmla="*/ 13 w 112"/>
                  <a:gd name="T77" fmla="*/ 52 h 155"/>
                  <a:gd name="T78" fmla="*/ 12 w 112"/>
                  <a:gd name="T79" fmla="*/ 61 h 155"/>
                  <a:gd name="T80" fmla="*/ 7 w 112"/>
                  <a:gd name="T81" fmla="*/ 63 h 155"/>
                  <a:gd name="T82" fmla="*/ 6 w 112"/>
                  <a:gd name="T83" fmla="*/ 69 h 155"/>
                  <a:gd name="T84" fmla="*/ 14 w 112"/>
                  <a:gd name="T85" fmla="*/ 92 h 155"/>
                  <a:gd name="T86" fmla="*/ 11 w 112"/>
                  <a:gd name="T87" fmla="*/ 93 h 155"/>
                  <a:gd name="T88" fmla="*/ 2 w 112"/>
                  <a:gd name="T89" fmla="*/ 97 h 155"/>
                  <a:gd name="T90" fmla="*/ 43 w 112"/>
                  <a:gd name="T91" fmla="*/ 57 h 155"/>
                  <a:gd name="T92" fmla="*/ 42 w 112"/>
                  <a:gd name="T93" fmla="*/ 5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2" h="155">
                    <a:moveTo>
                      <a:pt x="6" y="99"/>
                    </a:moveTo>
                    <a:cubicBezTo>
                      <a:pt x="6" y="99"/>
                      <a:pt x="6" y="99"/>
                      <a:pt x="6" y="99"/>
                    </a:cubicBezTo>
                    <a:cubicBezTo>
                      <a:pt x="6" y="100"/>
                      <a:pt x="5" y="101"/>
                      <a:pt x="5" y="102"/>
                    </a:cubicBezTo>
                    <a:cubicBezTo>
                      <a:pt x="6" y="107"/>
                      <a:pt x="12" y="108"/>
                      <a:pt x="14" y="109"/>
                    </a:cubicBezTo>
                    <a:cubicBezTo>
                      <a:pt x="15" y="109"/>
                      <a:pt x="15" y="109"/>
                      <a:pt x="15" y="109"/>
                    </a:cubicBezTo>
                    <a:cubicBezTo>
                      <a:pt x="18" y="109"/>
                      <a:pt x="20" y="110"/>
                      <a:pt x="23" y="111"/>
                    </a:cubicBezTo>
                    <a:cubicBezTo>
                      <a:pt x="26" y="113"/>
                      <a:pt x="28" y="114"/>
                      <a:pt x="31" y="114"/>
                    </a:cubicBezTo>
                    <a:cubicBezTo>
                      <a:pt x="31" y="114"/>
                      <a:pt x="31" y="115"/>
                      <a:pt x="31" y="115"/>
                    </a:cubicBezTo>
                    <a:cubicBezTo>
                      <a:pt x="31" y="115"/>
                      <a:pt x="30" y="115"/>
                      <a:pt x="30" y="115"/>
                    </a:cubicBezTo>
                    <a:cubicBezTo>
                      <a:pt x="30" y="115"/>
                      <a:pt x="29" y="115"/>
                      <a:pt x="28" y="115"/>
                    </a:cubicBezTo>
                    <a:cubicBezTo>
                      <a:pt x="25" y="115"/>
                      <a:pt x="23" y="116"/>
                      <a:pt x="22" y="117"/>
                    </a:cubicBezTo>
                    <a:cubicBezTo>
                      <a:pt x="21" y="117"/>
                      <a:pt x="21" y="118"/>
                      <a:pt x="20" y="119"/>
                    </a:cubicBezTo>
                    <a:cubicBezTo>
                      <a:pt x="21" y="116"/>
                      <a:pt x="20" y="115"/>
                      <a:pt x="19" y="114"/>
                    </a:cubicBezTo>
                    <a:cubicBezTo>
                      <a:pt x="18" y="113"/>
                      <a:pt x="17" y="112"/>
                      <a:pt x="16" y="112"/>
                    </a:cubicBezTo>
                    <a:cubicBezTo>
                      <a:pt x="13" y="112"/>
                      <a:pt x="9" y="115"/>
                      <a:pt x="9" y="119"/>
                    </a:cubicBezTo>
                    <a:cubicBezTo>
                      <a:pt x="9" y="121"/>
                      <a:pt x="10" y="122"/>
                      <a:pt x="10" y="123"/>
                    </a:cubicBezTo>
                    <a:cubicBezTo>
                      <a:pt x="11" y="124"/>
                      <a:pt x="12" y="125"/>
                      <a:pt x="14" y="125"/>
                    </a:cubicBezTo>
                    <a:cubicBezTo>
                      <a:pt x="16" y="125"/>
                      <a:pt x="19" y="123"/>
                      <a:pt x="20" y="120"/>
                    </a:cubicBezTo>
                    <a:cubicBezTo>
                      <a:pt x="20" y="121"/>
                      <a:pt x="20" y="121"/>
                      <a:pt x="20" y="122"/>
                    </a:cubicBezTo>
                    <a:cubicBezTo>
                      <a:pt x="20" y="122"/>
                      <a:pt x="20" y="123"/>
                      <a:pt x="20" y="123"/>
                    </a:cubicBezTo>
                    <a:cubicBezTo>
                      <a:pt x="20" y="123"/>
                      <a:pt x="20" y="123"/>
                      <a:pt x="20" y="123"/>
                    </a:cubicBezTo>
                    <a:cubicBezTo>
                      <a:pt x="20" y="123"/>
                      <a:pt x="20" y="123"/>
                      <a:pt x="19" y="123"/>
                    </a:cubicBezTo>
                    <a:cubicBezTo>
                      <a:pt x="19" y="124"/>
                      <a:pt x="19" y="124"/>
                      <a:pt x="18" y="124"/>
                    </a:cubicBezTo>
                    <a:cubicBezTo>
                      <a:pt x="17" y="124"/>
                      <a:pt x="16" y="125"/>
                      <a:pt x="16" y="125"/>
                    </a:cubicBezTo>
                    <a:cubicBezTo>
                      <a:pt x="15" y="126"/>
                      <a:pt x="14" y="127"/>
                      <a:pt x="14" y="128"/>
                    </a:cubicBezTo>
                    <a:cubicBezTo>
                      <a:pt x="13" y="128"/>
                      <a:pt x="13" y="129"/>
                      <a:pt x="13" y="129"/>
                    </a:cubicBezTo>
                    <a:cubicBezTo>
                      <a:pt x="13" y="129"/>
                      <a:pt x="12" y="129"/>
                      <a:pt x="12" y="130"/>
                    </a:cubicBezTo>
                    <a:cubicBezTo>
                      <a:pt x="11" y="130"/>
                      <a:pt x="11" y="130"/>
                      <a:pt x="10" y="130"/>
                    </a:cubicBezTo>
                    <a:cubicBezTo>
                      <a:pt x="7" y="132"/>
                      <a:pt x="6" y="134"/>
                      <a:pt x="6" y="136"/>
                    </a:cubicBezTo>
                    <a:cubicBezTo>
                      <a:pt x="6" y="139"/>
                      <a:pt x="7" y="142"/>
                      <a:pt x="10" y="145"/>
                    </a:cubicBezTo>
                    <a:cubicBezTo>
                      <a:pt x="11" y="146"/>
                      <a:pt x="12" y="146"/>
                      <a:pt x="13" y="147"/>
                    </a:cubicBezTo>
                    <a:cubicBezTo>
                      <a:pt x="14" y="148"/>
                      <a:pt x="15" y="149"/>
                      <a:pt x="15" y="149"/>
                    </a:cubicBezTo>
                    <a:cubicBezTo>
                      <a:pt x="16" y="150"/>
                      <a:pt x="18" y="152"/>
                      <a:pt x="18" y="153"/>
                    </a:cubicBezTo>
                    <a:cubicBezTo>
                      <a:pt x="18" y="153"/>
                      <a:pt x="18" y="152"/>
                      <a:pt x="18" y="151"/>
                    </a:cubicBezTo>
                    <a:cubicBezTo>
                      <a:pt x="20" y="152"/>
                      <a:pt x="20" y="152"/>
                      <a:pt x="20" y="152"/>
                    </a:cubicBezTo>
                    <a:cubicBezTo>
                      <a:pt x="20" y="152"/>
                      <a:pt x="20" y="152"/>
                      <a:pt x="20" y="152"/>
                    </a:cubicBezTo>
                    <a:cubicBezTo>
                      <a:pt x="20" y="152"/>
                      <a:pt x="20" y="152"/>
                      <a:pt x="20" y="152"/>
                    </a:cubicBezTo>
                    <a:cubicBezTo>
                      <a:pt x="20" y="152"/>
                      <a:pt x="20" y="152"/>
                      <a:pt x="20" y="152"/>
                    </a:cubicBezTo>
                    <a:cubicBezTo>
                      <a:pt x="20" y="152"/>
                      <a:pt x="20" y="152"/>
                      <a:pt x="20" y="152"/>
                    </a:cubicBezTo>
                    <a:cubicBezTo>
                      <a:pt x="20" y="152"/>
                      <a:pt x="20" y="152"/>
                      <a:pt x="20" y="152"/>
                    </a:cubicBezTo>
                    <a:cubicBezTo>
                      <a:pt x="21" y="155"/>
                      <a:pt x="21" y="155"/>
                      <a:pt x="21" y="155"/>
                    </a:cubicBezTo>
                    <a:cubicBezTo>
                      <a:pt x="23" y="155"/>
                      <a:pt x="25" y="152"/>
                      <a:pt x="26" y="151"/>
                    </a:cubicBezTo>
                    <a:cubicBezTo>
                      <a:pt x="26" y="150"/>
                      <a:pt x="26" y="150"/>
                      <a:pt x="26" y="150"/>
                    </a:cubicBezTo>
                    <a:cubicBezTo>
                      <a:pt x="27" y="149"/>
                      <a:pt x="27" y="149"/>
                      <a:pt x="28" y="148"/>
                    </a:cubicBezTo>
                    <a:cubicBezTo>
                      <a:pt x="29" y="148"/>
                      <a:pt x="29" y="147"/>
                      <a:pt x="30" y="147"/>
                    </a:cubicBezTo>
                    <a:cubicBezTo>
                      <a:pt x="30" y="146"/>
                      <a:pt x="31" y="146"/>
                      <a:pt x="31" y="146"/>
                    </a:cubicBezTo>
                    <a:cubicBezTo>
                      <a:pt x="34" y="144"/>
                      <a:pt x="37" y="142"/>
                      <a:pt x="38" y="139"/>
                    </a:cubicBezTo>
                    <a:cubicBezTo>
                      <a:pt x="41" y="138"/>
                      <a:pt x="46" y="136"/>
                      <a:pt x="47" y="132"/>
                    </a:cubicBezTo>
                    <a:cubicBezTo>
                      <a:pt x="47" y="129"/>
                      <a:pt x="46" y="128"/>
                      <a:pt x="45" y="126"/>
                    </a:cubicBezTo>
                    <a:cubicBezTo>
                      <a:pt x="45" y="126"/>
                      <a:pt x="45" y="125"/>
                      <a:pt x="45" y="125"/>
                    </a:cubicBezTo>
                    <a:cubicBezTo>
                      <a:pt x="45" y="125"/>
                      <a:pt x="45" y="125"/>
                      <a:pt x="46" y="125"/>
                    </a:cubicBezTo>
                    <a:cubicBezTo>
                      <a:pt x="47" y="126"/>
                      <a:pt x="48" y="126"/>
                      <a:pt x="49" y="126"/>
                    </a:cubicBezTo>
                    <a:cubicBezTo>
                      <a:pt x="51" y="126"/>
                      <a:pt x="52" y="126"/>
                      <a:pt x="53" y="125"/>
                    </a:cubicBezTo>
                    <a:cubicBezTo>
                      <a:pt x="55" y="123"/>
                      <a:pt x="56" y="120"/>
                      <a:pt x="55" y="117"/>
                    </a:cubicBezTo>
                    <a:cubicBezTo>
                      <a:pt x="56" y="117"/>
                      <a:pt x="57" y="118"/>
                      <a:pt x="58" y="118"/>
                    </a:cubicBezTo>
                    <a:cubicBezTo>
                      <a:pt x="59" y="119"/>
                      <a:pt x="61" y="120"/>
                      <a:pt x="63" y="120"/>
                    </a:cubicBezTo>
                    <a:cubicBezTo>
                      <a:pt x="68" y="120"/>
                      <a:pt x="74" y="116"/>
                      <a:pt x="75" y="114"/>
                    </a:cubicBezTo>
                    <a:cubicBezTo>
                      <a:pt x="77" y="111"/>
                      <a:pt x="79" y="108"/>
                      <a:pt x="79" y="104"/>
                    </a:cubicBezTo>
                    <a:cubicBezTo>
                      <a:pt x="80" y="104"/>
                      <a:pt x="81" y="103"/>
                      <a:pt x="82" y="103"/>
                    </a:cubicBezTo>
                    <a:cubicBezTo>
                      <a:pt x="86" y="100"/>
                      <a:pt x="86" y="96"/>
                      <a:pt x="86" y="93"/>
                    </a:cubicBezTo>
                    <a:cubicBezTo>
                      <a:pt x="86" y="92"/>
                      <a:pt x="86" y="91"/>
                      <a:pt x="86" y="90"/>
                    </a:cubicBezTo>
                    <a:cubicBezTo>
                      <a:pt x="87" y="88"/>
                      <a:pt x="87" y="86"/>
                      <a:pt x="86" y="84"/>
                    </a:cubicBezTo>
                    <a:cubicBezTo>
                      <a:pt x="86" y="81"/>
                      <a:pt x="85" y="79"/>
                      <a:pt x="84" y="79"/>
                    </a:cubicBezTo>
                    <a:cubicBezTo>
                      <a:pt x="85" y="78"/>
                      <a:pt x="87" y="76"/>
                      <a:pt x="87" y="74"/>
                    </a:cubicBezTo>
                    <a:cubicBezTo>
                      <a:pt x="88" y="71"/>
                      <a:pt x="88" y="68"/>
                      <a:pt x="88" y="65"/>
                    </a:cubicBezTo>
                    <a:cubicBezTo>
                      <a:pt x="88" y="64"/>
                      <a:pt x="88" y="64"/>
                      <a:pt x="88" y="64"/>
                    </a:cubicBezTo>
                    <a:cubicBezTo>
                      <a:pt x="89" y="64"/>
                      <a:pt x="90" y="65"/>
                      <a:pt x="90" y="65"/>
                    </a:cubicBezTo>
                    <a:cubicBezTo>
                      <a:pt x="92" y="66"/>
                      <a:pt x="94" y="67"/>
                      <a:pt x="97" y="67"/>
                    </a:cubicBezTo>
                    <a:cubicBezTo>
                      <a:pt x="97" y="67"/>
                      <a:pt x="98" y="67"/>
                      <a:pt x="98" y="67"/>
                    </a:cubicBezTo>
                    <a:cubicBezTo>
                      <a:pt x="102" y="67"/>
                      <a:pt x="107" y="64"/>
                      <a:pt x="108" y="60"/>
                    </a:cubicBezTo>
                    <a:cubicBezTo>
                      <a:pt x="111" y="56"/>
                      <a:pt x="112" y="50"/>
                      <a:pt x="109" y="48"/>
                    </a:cubicBezTo>
                    <a:cubicBezTo>
                      <a:pt x="108" y="48"/>
                      <a:pt x="107" y="48"/>
                      <a:pt x="107" y="48"/>
                    </a:cubicBezTo>
                    <a:cubicBezTo>
                      <a:pt x="104" y="48"/>
                      <a:pt x="102" y="51"/>
                      <a:pt x="100" y="53"/>
                    </a:cubicBezTo>
                    <a:cubicBezTo>
                      <a:pt x="100" y="53"/>
                      <a:pt x="100" y="54"/>
                      <a:pt x="99" y="54"/>
                    </a:cubicBezTo>
                    <a:cubicBezTo>
                      <a:pt x="98" y="55"/>
                      <a:pt x="96" y="56"/>
                      <a:pt x="94" y="56"/>
                    </a:cubicBezTo>
                    <a:cubicBezTo>
                      <a:pt x="94" y="56"/>
                      <a:pt x="94" y="56"/>
                      <a:pt x="93" y="56"/>
                    </a:cubicBezTo>
                    <a:cubicBezTo>
                      <a:pt x="92" y="56"/>
                      <a:pt x="92" y="55"/>
                      <a:pt x="92" y="55"/>
                    </a:cubicBezTo>
                    <a:cubicBezTo>
                      <a:pt x="92" y="53"/>
                      <a:pt x="94" y="49"/>
                      <a:pt x="97" y="47"/>
                    </a:cubicBezTo>
                    <a:cubicBezTo>
                      <a:pt x="97" y="47"/>
                      <a:pt x="98" y="47"/>
                      <a:pt x="99" y="46"/>
                    </a:cubicBezTo>
                    <a:cubicBezTo>
                      <a:pt x="101" y="45"/>
                      <a:pt x="103" y="44"/>
                      <a:pt x="105" y="41"/>
                    </a:cubicBezTo>
                    <a:cubicBezTo>
                      <a:pt x="107" y="38"/>
                      <a:pt x="107" y="34"/>
                      <a:pt x="107" y="31"/>
                    </a:cubicBezTo>
                    <a:cubicBezTo>
                      <a:pt x="107" y="30"/>
                      <a:pt x="107" y="30"/>
                      <a:pt x="107" y="30"/>
                    </a:cubicBezTo>
                    <a:cubicBezTo>
                      <a:pt x="107" y="27"/>
                      <a:pt x="107" y="25"/>
                      <a:pt x="107" y="22"/>
                    </a:cubicBezTo>
                    <a:cubicBezTo>
                      <a:pt x="107" y="21"/>
                      <a:pt x="107" y="21"/>
                      <a:pt x="108" y="20"/>
                    </a:cubicBezTo>
                    <a:cubicBezTo>
                      <a:pt x="108" y="18"/>
                      <a:pt x="109" y="16"/>
                      <a:pt x="109" y="13"/>
                    </a:cubicBezTo>
                    <a:cubicBezTo>
                      <a:pt x="108" y="8"/>
                      <a:pt x="104" y="0"/>
                      <a:pt x="98" y="0"/>
                    </a:cubicBezTo>
                    <a:cubicBezTo>
                      <a:pt x="96" y="0"/>
                      <a:pt x="94" y="0"/>
                      <a:pt x="93" y="1"/>
                    </a:cubicBezTo>
                    <a:cubicBezTo>
                      <a:pt x="90" y="3"/>
                      <a:pt x="89" y="5"/>
                      <a:pt x="87" y="7"/>
                    </a:cubicBezTo>
                    <a:cubicBezTo>
                      <a:pt x="86" y="7"/>
                      <a:pt x="85" y="8"/>
                      <a:pt x="84" y="9"/>
                    </a:cubicBezTo>
                    <a:cubicBezTo>
                      <a:pt x="81" y="12"/>
                      <a:pt x="76" y="17"/>
                      <a:pt x="72" y="18"/>
                    </a:cubicBezTo>
                    <a:cubicBezTo>
                      <a:pt x="71" y="19"/>
                      <a:pt x="71" y="19"/>
                      <a:pt x="71" y="19"/>
                    </a:cubicBezTo>
                    <a:cubicBezTo>
                      <a:pt x="70" y="19"/>
                      <a:pt x="69" y="19"/>
                      <a:pt x="68" y="21"/>
                    </a:cubicBezTo>
                    <a:cubicBezTo>
                      <a:pt x="66" y="23"/>
                      <a:pt x="66" y="24"/>
                      <a:pt x="65" y="25"/>
                    </a:cubicBezTo>
                    <a:cubicBezTo>
                      <a:pt x="64" y="27"/>
                      <a:pt x="64" y="28"/>
                      <a:pt x="62" y="29"/>
                    </a:cubicBezTo>
                    <a:cubicBezTo>
                      <a:pt x="60" y="29"/>
                      <a:pt x="58" y="29"/>
                      <a:pt x="56" y="30"/>
                    </a:cubicBezTo>
                    <a:cubicBezTo>
                      <a:pt x="51" y="30"/>
                      <a:pt x="46" y="30"/>
                      <a:pt x="42" y="34"/>
                    </a:cubicBezTo>
                    <a:cubicBezTo>
                      <a:pt x="37" y="41"/>
                      <a:pt x="38" y="48"/>
                      <a:pt x="40" y="52"/>
                    </a:cubicBezTo>
                    <a:cubicBezTo>
                      <a:pt x="40" y="52"/>
                      <a:pt x="40" y="52"/>
                      <a:pt x="39" y="51"/>
                    </a:cubicBezTo>
                    <a:cubicBezTo>
                      <a:pt x="39" y="51"/>
                      <a:pt x="39" y="51"/>
                      <a:pt x="39" y="51"/>
                    </a:cubicBezTo>
                    <a:cubicBezTo>
                      <a:pt x="39" y="50"/>
                      <a:pt x="39" y="50"/>
                      <a:pt x="38" y="49"/>
                    </a:cubicBezTo>
                    <a:cubicBezTo>
                      <a:pt x="38" y="48"/>
                      <a:pt x="35" y="46"/>
                      <a:pt x="33" y="46"/>
                    </a:cubicBezTo>
                    <a:cubicBezTo>
                      <a:pt x="32" y="46"/>
                      <a:pt x="31" y="46"/>
                      <a:pt x="31" y="47"/>
                    </a:cubicBezTo>
                    <a:cubicBezTo>
                      <a:pt x="28" y="49"/>
                      <a:pt x="30" y="54"/>
                      <a:pt x="30" y="54"/>
                    </a:cubicBezTo>
                    <a:cubicBezTo>
                      <a:pt x="31" y="55"/>
                      <a:pt x="32" y="57"/>
                      <a:pt x="33" y="58"/>
                    </a:cubicBezTo>
                    <a:cubicBezTo>
                      <a:pt x="33" y="58"/>
                      <a:pt x="33" y="58"/>
                      <a:pt x="34" y="58"/>
                    </a:cubicBezTo>
                    <a:cubicBezTo>
                      <a:pt x="33" y="60"/>
                      <a:pt x="32" y="62"/>
                      <a:pt x="32" y="63"/>
                    </a:cubicBezTo>
                    <a:cubicBezTo>
                      <a:pt x="32" y="63"/>
                      <a:pt x="32" y="63"/>
                      <a:pt x="32" y="63"/>
                    </a:cubicBezTo>
                    <a:cubicBezTo>
                      <a:pt x="32" y="63"/>
                      <a:pt x="31" y="61"/>
                      <a:pt x="31" y="61"/>
                    </a:cubicBezTo>
                    <a:cubicBezTo>
                      <a:pt x="31" y="61"/>
                      <a:pt x="30" y="60"/>
                      <a:pt x="30" y="60"/>
                    </a:cubicBezTo>
                    <a:cubicBezTo>
                      <a:pt x="30" y="60"/>
                      <a:pt x="30" y="60"/>
                      <a:pt x="30" y="60"/>
                    </a:cubicBezTo>
                    <a:cubicBezTo>
                      <a:pt x="30" y="59"/>
                      <a:pt x="30" y="56"/>
                      <a:pt x="28" y="54"/>
                    </a:cubicBezTo>
                    <a:cubicBezTo>
                      <a:pt x="27" y="53"/>
                      <a:pt x="26" y="53"/>
                      <a:pt x="25" y="53"/>
                    </a:cubicBezTo>
                    <a:cubicBezTo>
                      <a:pt x="24" y="53"/>
                      <a:pt x="23" y="53"/>
                      <a:pt x="23" y="53"/>
                    </a:cubicBezTo>
                    <a:cubicBezTo>
                      <a:pt x="22" y="53"/>
                      <a:pt x="22" y="53"/>
                      <a:pt x="22" y="53"/>
                    </a:cubicBezTo>
                    <a:cubicBezTo>
                      <a:pt x="22" y="53"/>
                      <a:pt x="22" y="52"/>
                      <a:pt x="21" y="52"/>
                    </a:cubicBezTo>
                    <a:cubicBezTo>
                      <a:pt x="20" y="51"/>
                      <a:pt x="19" y="50"/>
                      <a:pt x="17" y="50"/>
                    </a:cubicBezTo>
                    <a:cubicBezTo>
                      <a:pt x="16" y="50"/>
                      <a:pt x="14" y="50"/>
                      <a:pt x="13" y="52"/>
                    </a:cubicBezTo>
                    <a:cubicBezTo>
                      <a:pt x="10" y="55"/>
                      <a:pt x="12" y="58"/>
                      <a:pt x="13" y="60"/>
                    </a:cubicBezTo>
                    <a:cubicBezTo>
                      <a:pt x="13" y="60"/>
                      <a:pt x="13" y="61"/>
                      <a:pt x="13" y="61"/>
                    </a:cubicBezTo>
                    <a:cubicBezTo>
                      <a:pt x="13" y="61"/>
                      <a:pt x="12" y="61"/>
                      <a:pt x="12" y="61"/>
                    </a:cubicBezTo>
                    <a:cubicBezTo>
                      <a:pt x="11" y="61"/>
                      <a:pt x="10" y="61"/>
                      <a:pt x="9" y="61"/>
                    </a:cubicBezTo>
                    <a:cubicBezTo>
                      <a:pt x="8" y="62"/>
                      <a:pt x="8" y="62"/>
                      <a:pt x="8" y="62"/>
                    </a:cubicBezTo>
                    <a:cubicBezTo>
                      <a:pt x="7" y="63"/>
                      <a:pt x="7" y="63"/>
                      <a:pt x="7" y="63"/>
                    </a:cubicBezTo>
                    <a:cubicBezTo>
                      <a:pt x="6" y="64"/>
                      <a:pt x="6" y="66"/>
                      <a:pt x="7" y="67"/>
                    </a:cubicBezTo>
                    <a:cubicBezTo>
                      <a:pt x="7" y="67"/>
                      <a:pt x="7" y="67"/>
                      <a:pt x="6" y="67"/>
                    </a:cubicBezTo>
                    <a:cubicBezTo>
                      <a:pt x="6" y="68"/>
                      <a:pt x="6" y="68"/>
                      <a:pt x="6" y="69"/>
                    </a:cubicBezTo>
                    <a:cubicBezTo>
                      <a:pt x="3" y="72"/>
                      <a:pt x="4" y="75"/>
                      <a:pt x="5" y="77"/>
                    </a:cubicBezTo>
                    <a:cubicBezTo>
                      <a:pt x="5" y="77"/>
                      <a:pt x="5" y="78"/>
                      <a:pt x="5" y="78"/>
                    </a:cubicBezTo>
                    <a:cubicBezTo>
                      <a:pt x="6" y="82"/>
                      <a:pt x="8" y="89"/>
                      <a:pt x="14" y="92"/>
                    </a:cubicBezTo>
                    <a:cubicBezTo>
                      <a:pt x="14" y="92"/>
                      <a:pt x="15" y="92"/>
                      <a:pt x="15" y="92"/>
                    </a:cubicBezTo>
                    <a:cubicBezTo>
                      <a:pt x="14" y="93"/>
                      <a:pt x="12" y="93"/>
                      <a:pt x="11" y="94"/>
                    </a:cubicBezTo>
                    <a:cubicBezTo>
                      <a:pt x="11" y="94"/>
                      <a:pt x="11" y="93"/>
                      <a:pt x="11" y="93"/>
                    </a:cubicBezTo>
                    <a:cubicBezTo>
                      <a:pt x="10" y="91"/>
                      <a:pt x="8" y="89"/>
                      <a:pt x="5" y="89"/>
                    </a:cubicBezTo>
                    <a:cubicBezTo>
                      <a:pt x="3" y="89"/>
                      <a:pt x="1" y="90"/>
                      <a:pt x="0" y="92"/>
                    </a:cubicBezTo>
                    <a:cubicBezTo>
                      <a:pt x="0" y="94"/>
                      <a:pt x="0" y="96"/>
                      <a:pt x="2" y="97"/>
                    </a:cubicBezTo>
                    <a:cubicBezTo>
                      <a:pt x="3" y="98"/>
                      <a:pt x="4" y="99"/>
                      <a:pt x="6" y="99"/>
                    </a:cubicBezTo>
                    <a:close/>
                    <a:moveTo>
                      <a:pt x="42" y="56"/>
                    </a:moveTo>
                    <a:cubicBezTo>
                      <a:pt x="43" y="56"/>
                      <a:pt x="43" y="57"/>
                      <a:pt x="43" y="57"/>
                    </a:cubicBezTo>
                    <a:cubicBezTo>
                      <a:pt x="43" y="57"/>
                      <a:pt x="43" y="57"/>
                      <a:pt x="43" y="57"/>
                    </a:cubicBezTo>
                    <a:cubicBezTo>
                      <a:pt x="43" y="57"/>
                      <a:pt x="42" y="57"/>
                      <a:pt x="42" y="57"/>
                    </a:cubicBezTo>
                    <a:cubicBezTo>
                      <a:pt x="42" y="57"/>
                      <a:pt x="42" y="56"/>
                      <a:pt x="42" y="56"/>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30" name="Freeform 30"/>
              <p:cNvSpPr>
                <a:spLocks noEditPoints="1"/>
              </p:cNvSpPr>
              <p:nvPr/>
            </p:nvSpPr>
            <p:spPr bwMode="auto">
              <a:xfrm>
                <a:off x="-616435" y="1310037"/>
                <a:ext cx="1025899" cy="1425728"/>
              </a:xfrm>
              <a:custGeom>
                <a:avLst/>
                <a:gdLst>
                  <a:gd name="T0" fmla="*/ 469 w 539"/>
                  <a:gd name="T1" fmla="*/ 193 h 798"/>
                  <a:gd name="T2" fmla="*/ 405 w 539"/>
                  <a:gd name="T3" fmla="*/ 193 h 798"/>
                  <a:gd name="T4" fmla="*/ 343 w 539"/>
                  <a:gd name="T5" fmla="*/ 200 h 798"/>
                  <a:gd name="T6" fmla="*/ 278 w 539"/>
                  <a:gd name="T7" fmla="*/ 234 h 798"/>
                  <a:gd name="T8" fmla="*/ 309 w 539"/>
                  <a:gd name="T9" fmla="*/ 187 h 798"/>
                  <a:gd name="T10" fmla="*/ 285 w 539"/>
                  <a:gd name="T11" fmla="*/ 165 h 798"/>
                  <a:gd name="T12" fmla="*/ 366 w 539"/>
                  <a:gd name="T13" fmla="*/ 84 h 798"/>
                  <a:gd name="T14" fmla="*/ 375 w 539"/>
                  <a:gd name="T15" fmla="*/ 1 h 798"/>
                  <a:gd name="T16" fmla="*/ 342 w 539"/>
                  <a:gd name="T17" fmla="*/ 10 h 798"/>
                  <a:gd name="T18" fmla="*/ 276 w 539"/>
                  <a:gd name="T19" fmla="*/ 24 h 798"/>
                  <a:gd name="T20" fmla="*/ 229 w 539"/>
                  <a:gd name="T21" fmla="*/ 23 h 798"/>
                  <a:gd name="T22" fmla="*/ 176 w 539"/>
                  <a:gd name="T23" fmla="*/ 59 h 798"/>
                  <a:gd name="T24" fmla="*/ 161 w 539"/>
                  <a:gd name="T25" fmla="*/ 106 h 798"/>
                  <a:gd name="T26" fmla="*/ 170 w 539"/>
                  <a:gd name="T27" fmla="*/ 150 h 798"/>
                  <a:gd name="T28" fmla="*/ 124 w 539"/>
                  <a:gd name="T29" fmla="*/ 152 h 798"/>
                  <a:gd name="T30" fmla="*/ 116 w 539"/>
                  <a:gd name="T31" fmla="*/ 219 h 798"/>
                  <a:gd name="T32" fmla="*/ 98 w 539"/>
                  <a:gd name="T33" fmla="*/ 234 h 798"/>
                  <a:gd name="T34" fmla="*/ 115 w 539"/>
                  <a:gd name="T35" fmla="*/ 264 h 798"/>
                  <a:gd name="T36" fmla="*/ 88 w 539"/>
                  <a:gd name="T37" fmla="*/ 236 h 798"/>
                  <a:gd name="T38" fmla="*/ 73 w 539"/>
                  <a:gd name="T39" fmla="*/ 221 h 798"/>
                  <a:gd name="T40" fmla="*/ 21 w 539"/>
                  <a:gd name="T41" fmla="*/ 207 h 798"/>
                  <a:gd name="T42" fmla="*/ 4 w 539"/>
                  <a:gd name="T43" fmla="*/ 247 h 798"/>
                  <a:gd name="T44" fmla="*/ 44 w 539"/>
                  <a:gd name="T45" fmla="*/ 292 h 798"/>
                  <a:gd name="T46" fmla="*/ 77 w 539"/>
                  <a:gd name="T47" fmla="*/ 307 h 798"/>
                  <a:gd name="T48" fmla="*/ 116 w 539"/>
                  <a:gd name="T49" fmla="*/ 300 h 798"/>
                  <a:gd name="T50" fmla="*/ 105 w 539"/>
                  <a:gd name="T51" fmla="*/ 355 h 798"/>
                  <a:gd name="T52" fmla="*/ 72 w 539"/>
                  <a:gd name="T53" fmla="*/ 374 h 798"/>
                  <a:gd name="T54" fmla="*/ 74 w 539"/>
                  <a:gd name="T55" fmla="*/ 399 h 798"/>
                  <a:gd name="T56" fmla="*/ 51 w 539"/>
                  <a:gd name="T57" fmla="*/ 425 h 798"/>
                  <a:gd name="T58" fmla="*/ 67 w 539"/>
                  <a:gd name="T59" fmla="*/ 437 h 798"/>
                  <a:gd name="T60" fmla="*/ 77 w 539"/>
                  <a:gd name="T61" fmla="*/ 470 h 798"/>
                  <a:gd name="T62" fmla="*/ 114 w 539"/>
                  <a:gd name="T63" fmla="*/ 429 h 798"/>
                  <a:gd name="T64" fmla="*/ 143 w 539"/>
                  <a:gd name="T65" fmla="*/ 415 h 798"/>
                  <a:gd name="T66" fmla="*/ 136 w 539"/>
                  <a:gd name="T67" fmla="*/ 443 h 798"/>
                  <a:gd name="T68" fmla="*/ 115 w 539"/>
                  <a:gd name="T69" fmla="*/ 483 h 798"/>
                  <a:gd name="T70" fmla="*/ 124 w 539"/>
                  <a:gd name="T71" fmla="*/ 524 h 798"/>
                  <a:gd name="T72" fmla="*/ 114 w 539"/>
                  <a:gd name="T73" fmla="*/ 589 h 798"/>
                  <a:gd name="T74" fmla="*/ 130 w 539"/>
                  <a:gd name="T75" fmla="*/ 638 h 798"/>
                  <a:gd name="T76" fmla="*/ 148 w 539"/>
                  <a:gd name="T77" fmla="*/ 529 h 798"/>
                  <a:gd name="T78" fmla="*/ 168 w 539"/>
                  <a:gd name="T79" fmla="*/ 561 h 798"/>
                  <a:gd name="T80" fmla="*/ 207 w 539"/>
                  <a:gd name="T81" fmla="*/ 597 h 798"/>
                  <a:gd name="T82" fmla="*/ 206 w 539"/>
                  <a:gd name="T83" fmla="*/ 659 h 798"/>
                  <a:gd name="T84" fmla="*/ 165 w 539"/>
                  <a:gd name="T85" fmla="*/ 736 h 798"/>
                  <a:gd name="T86" fmla="*/ 219 w 539"/>
                  <a:gd name="T87" fmla="*/ 763 h 798"/>
                  <a:gd name="T88" fmla="*/ 256 w 539"/>
                  <a:gd name="T89" fmla="*/ 749 h 798"/>
                  <a:gd name="T90" fmla="*/ 311 w 539"/>
                  <a:gd name="T91" fmla="*/ 771 h 798"/>
                  <a:gd name="T92" fmla="*/ 373 w 539"/>
                  <a:gd name="T93" fmla="*/ 730 h 798"/>
                  <a:gd name="T94" fmla="*/ 439 w 539"/>
                  <a:gd name="T95" fmla="*/ 693 h 798"/>
                  <a:gd name="T96" fmla="*/ 501 w 539"/>
                  <a:gd name="T97" fmla="*/ 582 h 798"/>
                  <a:gd name="T98" fmla="*/ 471 w 539"/>
                  <a:gd name="T99" fmla="*/ 525 h 798"/>
                  <a:gd name="T100" fmla="*/ 381 w 539"/>
                  <a:gd name="T101" fmla="*/ 528 h 798"/>
                  <a:gd name="T102" fmla="*/ 456 w 539"/>
                  <a:gd name="T103" fmla="*/ 468 h 798"/>
                  <a:gd name="T104" fmla="*/ 490 w 539"/>
                  <a:gd name="T105" fmla="*/ 357 h 798"/>
                  <a:gd name="T106" fmla="*/ 283 w 539"/>
                  <a:gd name="T107" fmla="*/ 197 h 798"/>
                  <a:gd name="T108" fmla="*/ 64 w 539"/>
                  <a:gd name="T109" fmla="*/ 428 h 798"/>
                  <a:gd name="T110" fmla="*/ 89 w 539"/>
                  <a:gd name="T111" fmla="*/ 422 h 798"/>
                  <a:gd name="T112" fmla="*/ 116 w 539"/>
                  <a:gd name="T113" fmla="*/ 326 h 798"/>
                  <a:gd name="T114" fmla="*/ 127 w 539"/>
                  <a:gd name="T115" fmla="*/ 166 h 798"/>
                  <a:gd name="T116" fmla="*/ 184 w 539"/>
                  <a:gd name="T117" fmla="*/ 487 h 798"/>
                  <a:gd name="T118" fmla="*/ 196 w 539"/>
                  <a:gd name="T119" fmla="*/ 568 h 798"/>
                  <a:gd name="T120" fmla="*/ 203 w 539"/>
                  <a:gd name="T121" fmla="*/ 502 h 798"/>
                  <a:gd name="T122" fmla="*/ 337 w 539"/>
                  <a:gd name="T123" fmla="*/ 522 h 798"/>
                  <a:gd name="T124" fmla="*/ 406 w 539"/>
                  <a:gd name="T125" fmla="*/ 441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9" h="798">
                    <a:moveTo>
                      <a:pt x="536" y="228"/>
                    </a:moveTo>
                    <a:cubicBezTo>
                      <a:pt x="535" y="227"/>
                      <a:pt x="534" y="225"/>
                      <a:pt x="534" y="223"/>
                    </a:cubicBezTo>
                    <a:cubicBezTo>
                      <a:pt x="533" y="219"/>
                      <a:pt x="533" y="219"/>
                      <a:pt x="533" y="219"/>
                    </a:cubicBezTo>
                    <a:cubicBezTo>
                      <a:pt x="532" y="209"/>
                      <a:pt x="531" y="201"/>
                      <a:pt x="518" y="194"/>
                    </a:cubicBezTo>
                    <a:cubicBezTo>
                      <a:pt x="518" y="194"/>
                      <a:pt x="517" y="194"/>
                      <a:pt x="517" y="194"/>
                    </a:cubicBezTo>
                    <a:cubicBezTo>
                      <a:pt x="516" y="193"/>
                      <a:pt x="516" y="193"/>
                      <a:pt x="516" y="193"/>
                    </a:cubicBezTo>
                    <a:cubicBezTo>
                      <a:pt x="516" y="193"/>
                      <a:pt x="515" y="192"/>
                      <a:pt x="515" y="192"/>
                    </a:cubicBezTo>
                    <a:cubicBezTo>
                      <a:pt x="514" y="191"/>
                      <a:pt x="514" y="190"/>
                      <a:pt x="512" y="189"/>
                    </a:cubicBezTo>
                    <a:cubicBezTo>
                      <a:pt x="510" y="188"/>
                      <a:pt x="508" y="187"/>
                      <a:pt x="505" y="187"/>
                    </a:cubicBezTo>
                    <a:cubicBezTo>
                      <a:pt x="505" y="187"/>
                      <a:pt x="504" y="187"/>
                      <a:pt x="503" y="187"/>
                    </a:cubicBezTo>
                    <a:cubicBezTo>
                      <a:pt x="502" y="187"/>
                      <a:pt x="501" y="186"/>
                      <a:pt x="499" y="186"/>
                    </a:cubicBezTo>
                    <a:cubicBezTo>
                      <a:pt x="497" y="186"/>
                      <a:pt x="495" y="187"/>
                      <a:pt x="494" y="188"/>
                    </a:cubicBezTo>
                    <a:cubicBezTo>
                      <a:pt x="491" y="190"/>
                      <a:pt x="489" y="191"/>
                      <a:pt x="487" y="191"/>
                    </a:cubicBezTo>
                    <a:cubicBezTo>
                      <a:pt x="487" y="191"/>
                      <a:pt x="487" y="191"/>
                      <a:pt x="487" y="191"/>
                    </a:cubicBezTo>
                    <a:cubicBezTo>
                      <a:pt x="486" y="191"/>
                      <a:pt x="485" y="191"/>
                      <a:pt x="484" y="191"/>
                    </a:cubicBezTo>
                    <a:cubicBezTo>
                      <a:pt x="483" y="191"/>
                      <a:pt x="482" y="190"/>
                      <a:pt x="481" y="190"/>
                    </a:cubicBezTo>
                    <a:cubicBezTo>
                      <a:pt x="480" y="190"/>
                      <a:pt x="479" y="190"/>
                      <a:pt x="478" y="190"/>
                    </a:cubicBezTo>
                    <a:cubicBezTo>
                      <a:pt x="475" y="190"/>
                      <a:pt x="473" y="191"/>
                      <a:pt x="471" y="192"/>
                    </a:cubicBezTo>
                    <a:cubicBezTo>
                      <a:pt x="470" y="193"/>
                      <a:pt x="469" y="193"/>
                      <a:pt x="469" y="193"/>
                    </a:cubicBezTo>
                    <a:cubicBezTo>
                      <a:pt x="468" y="193"/>
                      <a:pt x="467" y="193"/>
                      <a:pt x="467" y="193"/>
                    </a:cubicBezTo>
                    <a:cubicBezTo>
                      <a:pt x="466" y="193"/>
                      <a:pt x="466" y="193"/>
                      <a:pt x="465" y="193"/>
                    </a:cubicBezTo>
                    <a:cubicBezTo>
                      <a:pt x="465" y="193"/>
                      <a:pt x="464" y="193"/>
                      <a:pt x="464" y="193"/>
                    </a:cubicBezTo>
                    <a:cubicBezTo>
                      <a:pt x="464" y="193"/>
                      <a:pt x="462" y="193"/>
                      <a:pt x="462" y="193"/>
                    </a:cubicBezTo>
                    <a:cubicBezTo>
                      <a:pt x="462" y="193"/>
                      <a:pt x="462" y="193"/>
                      <a:pt x="462" y="193"/>
                    </a:cubicBezTo>
                    <a:cubicBezTo>
                      <a:pt x="462" y="193"/>
                      <a:pt x="461" y="192"/>
                      <a:pt x="461" y="192"/>
                    </a:cubicBezTo>
                    <a:cubicBezTo>
                      <a:pt x="460" y="191"/>
                      <a:pt x="459" y="190"/>
                      <a:pt x="457" y="190"/>
                    </a:cubicBezTo>
                    <a:cubicBezTo>
                      <a:pt x="454" y="190"/>
                      <a:pt x="453" y="192"/>
                      <a:pt x="453" y="192"/>
                    </a:cubicBezTo>
                    <a:cubicBezTo>
                      <a:pt x="452" y="193"/>
                      <a:pt x="452" y="193"/>
                      <a:pt x="452" y="193"/>
                    </a:cubicBezTo>
                    <a:cubicBezTo>
                      <a:pt x="452" y="193"/>
                      <a:pt x="450" y="193"/>
                      <a:pt x="450" y="193"/>
                    </a:cubicBezTo>
                    <a:cubicBezTo>
                      <a:pt x="449" y="194"/>
                      <a:pt x="448" y="194"/>
                      <a:pt x="448" y="194"/>
                    </a:cubicBezTo>
                    <a:cubicBezTo>
                      <a:pt x="447" y="194"/>
                      <a:pt x="446" y="194"/>
                      <a:pt x="445" y="194"/>
                    </a:cubicBezTo>
                    <a:cubicBezTo>
                      <a:pt x="444" y="194"/>
                      <a:pt x="441" y="194"/>
                      <a:pt x="439" y="193"/>
                    </a:cubicBezTo>
                    <a:cubicBezTo>
                      <a:pt x="438" y="193"/>
                      <a:pt x="436" y="193"/>
                      <a:pt x="435" y="192"/>
                    </a:cubicBezTo>
                    <a:cubicBezTo>
                      <a:pt x="434" y="192"/>
                      <a:pt x="432" y="192"/>
                      <a:pt x="430" y="192"/>
                    </a:cubicBezTo>
                    <a:cubicBezTo>
                      <a:pt x="427" y="192"/>
                      <a:pt x="424" y="192"/>
                      <a:pt x="422" y="191"/>
                    </a:cubicBezTo>
                    <a:cubicBezTo>
                      <a:pt x="420" y="189"/>
                      <a:pt x="417" y="187"/>
                      <a:pt x="414" y="187"/>
                    </a:cubicBezTo>
                    <a:cubicBezTo>
                      <a:pt x="413" y="187"/>
                      <a:pt x="411" y="187"/>
                      <a:pt x="410" y="188"/>
                    </a:cubicBezTo>
                    <a:cubicBezTo>
                      <a:pt x="408" y="189"/>
                      <a:pt x="406" y="191"/>
                      <a:pt x="405" y="193"/>
                    </a:cubicBezTo>
                    <a:cubicBezTo>
                      <a:pt x="404" y="194"/>
                      <a:pt x="404" y="195"/>
                      <a:pt x="403" y="195"/>
                    </a:cubicBezTo>
                    <a:cubicBezTo>
                      <a:pt x="402" y="196"/>
                      <a:pt x="402" y="196"/>
                      <a:pt x="401" y="196"/>
                    </a:cubicBezTo>
                    <a:cubicBezTo>
                      <a:pt x="401" y="196"/>
                      <a:pt x="400" y="196"/>
                      <a:pt x="399" y="196"/>
                    </a:cubicBezTo>
                    <a:cubicBezTo>
                      <a:pt x="399" y="196"/>
                      <a:pt x="399" y="196"/>
                      <a:pt x="399" y="196"/>
                    </a:cubicBezTo>
                    <a:cubicBezTo>
                      <a:pt x="398" y="196"/>
                      <a:pt x="397" y="196"/>
                      <a:pt x="397" y="196"/>
                    </a:cubicBezTo>
                    <a:cubicBezTo>
                      <a:pt x="395" y="196"/>
                      <a:pt x="394" y="195"/>
                      <a:pt x="392" y="195"/>
                    </a:cubicBezTo>
                    <a:cubicBezTo>
                      <a:pt x="390" y="193"/>
                      <a:pt x="388" y="193"/>
                      <a:pt x="386" y="193"/>
                    </a:cubicBezTo>
                    <a:cubicBezTo>
                      <a:pt x="386" y="193"/>
                      <a:pt x="385" y="193"/>
                      <a:pt x="384" y="193"/>
                    </a:cubicBezTo>
                    <a:cubicBezTo>
                      <a:pt x="383" y="193"/>
                      <a:pt x="382" y="193"/>
                      <a:pt x="382" y="192"/>
                    </a:cubicBezTo>
                    <a:cubicBezTo>
                      <a:pt x="381" y="192"/>
                      <a:pt x="380" y="192"/>
                      <a:pt x="378" y="191"/>
                    </a:cubicBezTo>
                    <a:cubicBezTo>
                      <a:pt x="376" y="185"/>
                      <a:pt x="367" y="185"/>
                      <a:pt x="364" y="185"/>
                    </a:cubicBezTo>
                    <a:cubicBezTo>
                      <a:pt x="363" y="185"/>
                      <a:pt x="362" y="185"/>
                      <a:pt x="362" y="185"/>
                    </a:cubicBezTo>
                    <a:cubicBezTo>
                      <a:pt x="360" y="185"/>
                      <a:pt x="360" y="185"/>
                      <a:pt x="360" y="185"/>
                    </a:cubicBezTo>
                    <a:cubicBezTo>
                      <a:pt x="360" y="185"/>
                      <a:pt x="359" y="185"/>
                      <a:pt x="358" y="185"/>
                    </a:cubicBezTo>
                    <a:cubicBezTo>
                      <a:pt x="357" y="185"/>
                      <a:pt x="356" y="184"/>
                      <a:pt x="355" y="184"/>
                    </a:cubicBezTo>
                    <a:cubicBezTo>
                      <a:pt x="353" y="184"/>
                      <a:pt x="351" y="185"/>
                      <a:pt x="350" y="186"/>
                    </a:cubicBezTo>
                    <a:cubicBezTo>
                      <a:pt x="347" y="189"/>
                      <a:pt x="347" y="192"/>
                      <a:pt x="347" y="194"/>
                    </a:cubicBezTo>
                    <a:cubicBezTo>
                      <a:pt x="347" y="195"/>
                      <a:pt x="347" y="196"/>
                      <a:pt x="347" y="197"/>
                    </a:cubicBezTo>
                    <a:cubicBezTo>
                      <a:pt x="347" y="199"/>
                      <a:pt x="345" y="200"/>
                      <a:pt x="343" y="200"/>
                    </a:cubicBezTo>
                    <a:cubicBezTo>
                      <a:pt x="341" y="200"/>
                      <a:pt x="340" y="200"/>
                      <a:pt x="338" y="200"/>
                    </a:cubicBezTo>
                    <a:cubicBezTo>
                      <a:pt x="337" y="201"/>
                      <a:pt x="335" y="201"/>
                      <a:pt x="334" y="201"/>
                    </a:cubicBezTo>
                    <a:cubicBezTo>
                      <a:pt x="329" y="201"/>
                      <a:pt x="326" y="202"/>
                      <a:pt x="322" y="205"/>
                    </a:cubicBezTo>
                    <a:cubicBezTo>
                      <a:pt x="321" y="206"/>
                      <a:pt x="321" y="206"/>
                      <a:pt x="321" y="206"/>
                    </a:cubicBezTo>
                    <a:cubicBezTo>
                      <a:pt x="319" y="208"/>
                      <a:pt x="317" y="210"/>
                      <a:pt x="315" y="211"/>
                    </a:cubicBezTo>
                    <a:cubicBezTo>
                      <a:pt x="314" y="211"/>
                      <a:pt x="314" y="212"/>
                      <a:pt x="313" y="212"/>
                    </a:cubicBezTo>
                    <a:cubicBezTo>
                      <a:pt x="312" y="213"/>
                      <a:pt x="312" y="213"/>
                      <a:pt x="311" y="213"/>
                    </a:cubicBezTo>
                    <a:cubicBezTo>
                      <a:pt x="310" y="214"/>
                      <a:pt x="310" y="214"/>
                      <a:pt x="309" y="214"/>
                    </a:cubicBezTo>
                    <a:cubicBezTo>
                      <a:pt x="308" y="214"/>
                      <a:pt x="307" y="214"/>
                      <a:pt x="306" y="214"/>
                    </a:cubicBezTo>
                    <a:cubicBezTo>
                      <a:pt x="304" y="214"/>
                      <a:pt x="303" y="215"/>
                      <a:pt x="301" y="215"/>
                    </a:cubicBezTo>
                    <a:cubicBezTo>
                      <a:pt x="301" y="215"/>
                      <a:pt x="300" y="215"/>
                      <a:pt x="300" y="215"/>
                    </a:cubicBezTo>
                    <a:cubicBezTo>
                      <a:pt x="299" y="214"/>
                      <a:pt x="298" y="214"/>
                      <a:pt x="297" y="214"/>
                    </a:cubicBezTo>
                    <a:cubicBezTo>
                      <a:pt x="292" y="214"/>
                      <a:pt x="291" y="219"/>
                      <a:pt x="291" y="221"/>
                    </a:cubicBezTo>
                    <a:cubicBezTo>
                      <a:pt x="291" y="222"/>
                      <a:pt x="290" y="222"/>
                      <a:pt x="290" y="223"/>
                    </a:cubicBezTo>
                    <a:cubicBezTo>
                      <a:pt x="290" y="225"/>
                      <a:pt x="287" y="227"/>
                      <a:pt x="286" y="228"/>
                    </a:cubicBezTo>
                    <a:cubicBezTo>
                      <a:pt x="285" y="228"/>
                      <a:pt x="285" y="229"/>
                      <a:pt x="284" y="229"/>
                    </a:cubicBezTo>
                    <a:cubicBezTo>
                      <a:pt x="283" y="229"/>
                      <a:pt x="282" y="230"/>
                      <a:pt x="281" y="231"/>
                    </a:cubicBezTo>
                    <a:cubicBezTo>
                      <a:pt x="281" y="231"/>
                      <a:pt x="280" y="232"/>
                      <a:pt x="280" y="232"/>
                    </a:cubicBezTo>
                    <a:cubicBezTo>
                      <a:pt x="279" y="233"/>
                      <a:pt x="279" y="233"/>
                      <a:pt x="278" y="234"/>
                    </a:cubicBezTo>
                    <a:cubicBezTo>
                      <a:pt x="278" y="234"/>
                      <a:pt x="278" y="234"/>
                      <a:pt x="277" y="234"/>
                    </a:cubicBezTo>
                    <a:cubicBezTo>
                      <a:pt x="276" y="234"/>
                      <a:pt x="276" y="234"/>
                      <a:pt x="275" y="234"/>
                    </a:cubicBezTo>
                    <a:cubicBezTo>
                      <a:pt x="274" y="234"/>
                      <a:pt x="273" y="234"/>
                      <a:pt x="272" y="234"/>
                    </a:cubicBezTo>
                    <a:cubicBezTo>
                      <a:pt x="271" y="234"/>
                      <a:pt x="271" y="234"/>
                      <a:pt x="270" y="234"/>
                    </a:cubicBezTo>
                    <a:cubicBezTo>
                      <a:pt x="270" y="234"/>
                      <a:pt x="269" y="234"/>
                      <a:pt x="268" y="234"/>
                    </a:cubicBezTo>
                    <a:cubicBezTo>
                      <a:pt x="268" y="234"/>
                      <a:pt x="268" y="234"/>
                      <a:pt x="267" y="234"/>
                    </a:cubicBezTo>
                    <a:cubicBezTo>
                      <a:pt x="269" y="234"/>
                      <a:pt x="270" y="232"/>
                      <a:pt x="271" y="231"/>
                    </a:cubicBezTo>
                    <a:cubicBezTo>
                      <a:pt x="272" y="230"/>
                      <a:pt x="272" y="230"/>
                      <a:pt x="272" y="230"/>
                    </a:cubicBezTo>
                    <a:cubicBezTo>
                      <a:pt x="273" y="229"/>
                      <a:pt x="275" y="228"/>
                      <a:pt x="276" y="227"/>
                    </a:cubicBezTo>
                    <a:cubicBezTo>
                      <a:pt x="278" y="226"/>
                      <a:pt x="279" y="225"/>
                      <a:pt x="280" y="223"/>
                    </a:cubicBezTo>
                    <a:cubicBezTo>
                      <a:pt x="281" y="223"/>
                      <a:pt x="282" y="222"/>
                      <a:pt x="283" y="221"/>
                    </a:cubicBezTo>
                    <a:cubicBezTo>
                      <a:pt x="284" y="220"/>
                      <a:pt x="286" y="219"/>
                      <a:pt x="288" y="217"/>
                    </a:cubicBezTo>
                    <a:cubicBezTo>
                      <a:pt x="289" y="216"/>
                      <a:pt x="289" y="214"/>
                      <a:pt x="290" y="213"/>
                    </a:cubicBezTo>
                    <a:cubicBezTo>
                      <a:pt x="291" y="212"/>
                      <a:pt x="292" y="210"/>
                      <a:pt x="294" y="209"/>
                    </a:cubicBezTo>
                    <a:cubicBezTo>
                      <a:pt x="294" y="208"/>
                      <a:pt x="294" y="208"/>
                      <a:pt x="295" y="207"/>
                    </a:cubicBezTo>
                    <a:cubicBezTo>
                      <a:pt x="297" y="205"/>
                      <a:pt x="300" y="203"/>
                      <a:pt x="300" y="200"/>
                    </a:cubicBezTo>
                    <a:cubicBezTo>
                      <a:pt x="300" y="199"/>
                      <a:pt x="300" y="198"/>
                      <a:pt x="300" y="197"/>
                    </a:cubicBezTo>
                    <a:cubicBezTo>
                      <a:pt x="303" y="196"/>
                      <a:pt x="305" y="193"/>
                      <a:pt x="308" y="189"/>
                    </a:cubicBezTo>
                    <a:cubicBezTo>
                      <a:pt x="308" y="188"/>
                      <a:pt x="309" y="187"/>
                      <a:pt x="309" y="187"/>
                    </a:cubicBezTo>
                    <a:cubicBezTo>
                      <a:pt x="312" y="184"/>
                      <a:pt x="314" y="181"/>
                      <a:pt x="316" y="178"/>
                    </a:cubicBezTo>
                    <a:cubicBezTo>
                      <a:pt x="316" y="177"/>
                      <a:pt x="317" y="176"/>
                      <a:pt x="318" y="175"/>
                    </a:cubicBezTo>
                    <a:cubicBezTo>
                      <a:pt x="319" y="174"/>
                      <a:pt x="319" y="173"/>
                      <a:pt x="319" y="173"/>
                    </a:cubicBezTo>
                    <a:cubicBezTo>
                      <a:pt x="321" y="171"/>
                      <a:pt x="323" y="169"/>
                      <a:pt x="323" y="166"/>
                    </a:cubicBezTo>
                    <a:cubicBezTo>
                      <a:pt x="325" y="161"/>
                      <a:pt x="322" y="160"/>
                      <a:pt x="321" y="159"/>
                    </a:cubicBezTo>
                    <a:cubicBezTo>
                      <a:pt x="320" y="159"/>
                      <a:pt x="320" y="159"/>
                      <a:pt x="319" y="159"/>
                    </a:cubicBezTo>
                    <a:cubicBezTo>
                      <a:pt x="317" y="159"/>
                      <a:pt x="315" y="161"/>
                      <a:pt x="314" y="163"/>
                    </a:cubicBezTo>
                    <a:cubicBezTo>
                      <a:pt x="314" y="163"/>
                      <a:pt x="314" y="164"/>
                      <a:pt x="313" y="164"/>
                    </a:cubicBezTo>
                    <a:cubicBezTo>
                      <a:pt x="311" y="166"/>
                      <a:pt x="310" y="167"/>
                      <a:pt x="308" y="169"/>
                    </a:cubicBezTo>
                    <a:cubicBezTo>
                      <a:pt x="308" y="169"/>
                      <a:pt x="308" y="169"/>
                      <a:pt x="308" y="169"/>
                    </a:cubicBezTo>
                    <a:cubicBezTo>
                      <a:pt x="308" y="169"/>
                      <a:pt x="307" y="168"/>
                      <a:pt x="307" y="168"/>
                    </a:cubicBezTo>
                    <a:cubicBezTo>
                      <a:pt x="306" y="167"/>
                      <a:pt x="305" y="165"/>
                      <a:pt x="302" y="164"/>
                    </a:cubicBezTo>
                    <a:cubicBezTo>
                      <a:pt x="302" y="164"/>
                      <a:pt x="301" y="164"/>
                      <a:pt x="301" y="164"/>
                    </a:cubicBezTo>
                    <a:cubicBezTo>
                      <a:pt x="298" y="164"/>
                      <a:pt x="296" y="165"/>
                      <a:pt x="295" y="167"/>
                    </a:cubicBezTo>
                    <a:cubicBezTo>
                      <a:pt x="293" y="167"/>
                      <a:pt x="292" y="168"/>
                      <a:pt x="291" y="168"/>
                    </a:cubicBezTo>
                    <a:cubicBezTo>
                      <a:pt x="291" y="168"/>
                      <a:pt x="291" y="168"/>
                      <a:pt x="291" y="168"/>
                    </a:cubicBezTo>
                    <a:cubicBezTo>
                      <a:pt x="288" y="168"/>
                      <a:pt x="286" y="167"/>
                      <a:pt x="284" y="166"/>
                    </a:cubicBezTo>
                    <a:cubicBezTo>
                      <a:pt x="283" y="165"/>
                      <a:pt x="283" y="165"/>
                      <a:pt x="282" y="165"/>
                    </a:cubicBezTo>
                    <a:cubicBezTo>
                      <a:pt x="283" y="165"/>
                      <a:pt x="284" y="165"/>
                      <a:pt x="285" y="165"/>
                    </a:cubicBezTo>
                    <a:cubicBezTo>
                      <a:pt x="287" y="165"/>
                      <a:pt x="289" y="165"/>
                      <a:pt x="291" y="164"/>
                    </a:cubicBezTo>
                    <a:cubicBezTo>
                      <a:pt x="298" y="163"/>
                      <a:pt x="302" y="159"/>
                      <a:pt x="301" y="153"/>
                    </a:cubicBezTo>
                    <a:cubicBezTo>
                      <a:pt x="300" y="150"/>
                      <a:pt x="298" y="149"/>
                      <a:pt x="296" y="147"/>
                    </a:cubicBezTo>
                    <a:cubicBezTo>
                      <a:pt x="295" y="146"/>
                      <a:pt x="294" y="146"/>
                      <a:pt x="294" y="145"/>
                    </a:cubicBezTo>
                    <a:cubicBezTo>
                      <a:pt x="294" y="145"/>
                      <a:pt x="294" y="145"/>
                      <a:pt x="294" y="145"/>
                    </a:cubicBezTo>
                    <a:cubicBezTo>
                      <a:pt x="295" y="144"/>
                      <a:pt x="296" y="144"/>
                      <a:pt x="298" y="143"/>
                    </a:cubicBezTo>
                    <a:cubicBezTo>
                      <a:pt x="298" y="143"/>
                      <a:pt x="299" y="143"/>
                      <a:pt x="299" y="143"/>
                    </a:cubicBezTo>
                    <a:cubicBezTo>
                      <a:pt x="300" y="142"/>
                      <a:pt x="302" y="142"/>
                      <a:pt x="303" y="141"/>
                    </a:cubicBezTo>
                    <a:cubicBezTo>
                      <a:pt x="306" y="140"/>
                      <a:pt x="308" y="140"/>
                      <a:pt x="311" y="138"/>
                    </a:cubicBezTo>
                    <a:cubicBezTo>
                      <a:pt x="314" y="136"/>
                      <a:pt x="315" y="134"/>
                      <a:pt x="316" y="132"/>
                    </a:cubicBezTo>
                    <a:cubicBezTo>
                      <a:pt x="317" y="130"/>
                      <a:pt x="318" y="129"/>
                      <a:pt x="319" y="128"/>
                    </a:cubicBezTo>
                    <a:cubicBezTo>
                      <a:pt x="321" y="125"/>
                      <a:pt x="324" y="123"/>
                      <a:pt x="328" y="121"/>
                    </a:cubicBezTo>
                    <a:cubicBezTo>
                      <a:pt x="332" y="119"/>
                      <a:pt x="335" y="116"/>
                      <a:pt x="338" y="113"/>
                    </a:cubicBezTo>
                    <a:cubicBezTo>
                      <a:pt x="341" y="110"/>
                      <a:pt x="344" y="108"/>
                      <a:pt x="347" y="106"/>
                    </a:cubicBezTo>
                    <a:cubicBezTo>
                      <a:pt x="347" y="106"/>
                      <a:pt x="348" y="105"/>
                      <a:pt x="349" y="105"/>
                    </a:cubicBezTo>
                    <a:cubicBezTo>
                      <a:pt x="352" y="103"/>
                      <a:pt x="355" y="101"/>
                      <a:pt x="357" y="97"/>
                    </a:cubicBezTo>
                    <a:cubicBezTo>
                      <a:pt x="359" y="96"/>
                      <a:pt x="359" y="94"/>
                      <a:pt x="360" y="92"/>
                    </a:cubicBezTo>
                    <a:cubicBezTo>
                      <a:pt x="361" y="90"/>
                      <a:pt x="362" y="88"/>
                      <a:pt x="363" y="86"/>
                    </a:cubicBezTo>
                    <a:cubicBezTo>
                      <a:pt x="364" y="85"/>
                      <a:pt x="365" y="84"/>
                      <a:pt x="366" y="84"/>
                    </a:cubicBezTo>
                    <a:cubicBezTo>
                      <a:pt x="367" y="83"/>
                      <a:pt x="368" y="82"/>
                      <a:pt x="369" y="82"/>
                    </a:cubicBezTo>
                    <a:cubicBezTo>
                      <a:pt x="370" y="80"/>
                      <a:pt x="371" y="80"/>
                      <a:pt x="373" y="80"/>
                    </a:cubicBezTo>
                    <a:cubicBezTo>
                      <a:pt x="374" y="79"/>
                      <a:pt x="374" y="79"/>
                      <a:pt x="374" y="79"/>
                    </a:cubicBezTo>
                    <a:cubicBezTo>
                      <a:pt x="378" y="78"/>
                      <a:pt x="381" y="74"/>
                      <a:pt x="383" y="71"/>
                    </a:cubicBezTo>
                    <a:cubicBezTo>
                      <a:pt x="384" y="69"/>
                      <a:pt x="384" y="69"/>
                      <a:pt x="384" y="69"/>
                    </a:cubicBezTo>
                    <a:cubicBezTo>
                      <a:pt x="385" y="68"/>
                      <a:pt x="386" y="67"/>
                      <a:pt x="387" y="66"/>
                    </a:cubicBezTo>
                    <a:cubicBezTo>
                      <a:pt x="388" y="64"/>
                      <a:pt x="389" y="63"/>
                      <a:pt x="390" y="61"/>
                    </a:cubicBezTo>
                    <a:cubicBezTo>
                      <a:pt x="394" y="57"/>
                      <a:pt x="401" y="46"/>
                      <a:pt x="394" y="38"/>
                    </a:cubicBezTo>
                    <a:cubicBezTo>
                      <a:pt x="393" y="37"/>
                      <a:pt x="392" y="36"/>
                      <a:pt x="391" y="36"/>
                    </a:cubicBezTo>
                    <a:cubicBezTo>
                      <a:pt x="389" y="34"/>
                      <a:pt x="388" y="33"/>
                      <a:pt x="389" y="31"/>
                    </a:cubicBezTo>
                    <a:cubicBezTo>
                      <a:pt x="389" y="30"/>
                      <a:pt x="390" y="28"/>
                      <a:pt x="392" y="26"/>
                    </a:cubicBezTo>
                    <a:cubicBezTo>
                      <a:pt x="393" y="24"/>
                      <a:pt x="395" y="22"/>
                      <a:pt x="396" y="20"/>
                    </a:cubicBezTo>
                    <a:cubicBezTo>
                      <a:pt x="397" y="16"/>
                      <a:pt x="399" y="8"/>
                      <a:pt x="396" y="3"/>
                    </a:cubicBezTo>
                    <a:cubicBezTo>
                      <a:pt x="395" y="1"/>
                      <a:pt x="392" y="0"/>
                      <a:pt x="389" y="0"/>
                    </a:cubicBezTo>
                    <a:cubicBezTo>
                      <a:pt x="387" y="0"/>
                      <a:pt x="385" y="0"/>
                      <a:pt x="383" y="1"/>
                    </a:cubicBezTo>
                    <a:cubicBezTo>
                      <a:pt x="382" y="1"/>
                      <a:pt x="382" y="1"/>
                      <a:pt x="381" y="1"/>
                    </a:cubicBezTo>
                    <a:cubicBezTo>
                      <a:pt x="381" y="1"/>
                      <a:pt x="380" y="1"/>
                      <a:pt x="380" y="1"/>
                    </a:cubicBezTo>
                    <a:cubicBezTo>
                      <a:pt x="379" y="1"/>
                      <a:pt x="379" y="1"/>
                      <a:pt x="378" y="1"/>
                    </a:cubicBezTo>
                    <a:cubicBezTo>
                      <a:pt x="377" y="1"/>
                      <a:pt x="376" y="1"/>
                      <a:pt x="375" y="1"/>
                    </a:cubicBezTo>
                    <a:cubicBezTo>
                      <a:pt x="374" y="1"/>
                      <a:pt x="373" y="1"/>
                      <a:pt x="372" y="1"/>
                    </a:cubicBezTo>
                    <a:cubicBezTo>
                      <a:pt x="371" y="2"/>
                      <a:pt x="370" y="2"/>
                      <a:pt x="369" y="2"/>
                    </a:cubicBezTo>
                    <a:cubicBezTo>
                      <a:pt x="369" y="2"/>
                      <a:pt x="369" y="2"/>
                      <a:pt x="369" y="2"/>
                    </a:cubicBezTo>
                    <a:cubicBezTo>
                      <a:pt x="368" y="2"/>
                      <a:pt x="368" y="1"/>
                      <a:pt x="367" y="1"/>
                    </a:cubicBezTo>
                    <a:cubicBezTo>
                      <a:pt x="366" y="1"/>
                      <a:pt x="364" y="1"/>
                      <a:pt x="363" y="1"/>
                    </a:cubicBezTo>
                    <a:cubicBezTo>
                      <a:pt x="363" y="1"/>
                      <a:pt x="362" y="1"/>
                      <a:pt x="362" y="0"/>
                    </a:cubicBezTo>
                    <a:cubicBezTo>
                      <a:pt x="361" y="0"/>
                      <a:pt x="360" y="0"/>
                      <a:pt x="359" y="0"/>
                    </a:cubicBezTo>
                    <a:cubicBezTo>
                      <a:pt x="357" y="0"/>
                      <a:pt x="355" y="1"/>
                      <a:pt x="354" y="2"/>
                    </a:cubicBezTo>
                    <a:cubicBezTo>
                      <a:pt x="353" y="3"/>
                      <a:pt x="352" y="5"/>
                      <a:pt x="353" y="6"/>
                    </a:cubicBezTo>
                    <a:cubicBezTo>
                      <a:pt x="353" y="8"/>
                      <a:pt x="355" y="9"/>
                      <a:pt x="357" y="11"/>
                    </a:cubicBezTo>
                    <a:cubicBezTo>
                      <a:pt x="357" y="11"/>
                      <a:pt x="358" y="12"/>
                      <a:pt x="359" y="12"/>
                    </a:cubicBezTo>
                    <a:cubicBezTo>
                      <a:pt x="359" y="12"/>
                      <a:pt x="358" y="12"/>
                      <a:pt x="358" y="12"/>
                    </a:cubicBezTo>
                    <a:cubicBezTo>
                      <a:pt x="356" y="12"/>
                      <a:pt x="354" y="12"/>
                      <a:pt x="352" y="11"/>
                    </a:cubicBezTo>
                    <a:cubicBezTo>
                      <a:pt x="351" y="11"/>
                      <a:pt x="351" y="11"/>
                      <a:pt x="350" y="11"/>
                    </a:cubicBezTo>
                    <a:cubicBezTo>
                      <a:pt x="350" y="11"/>
                      <a:pt x="349" y="11"/>
                      <a:pt x="349" y="11"/>
                    </a:cubicBezTo>
                    <a:cubicBezTo>
                      <a:pt x="348" y="11"/>
                      <a:pt x="347" y="11"/>
                      <a:pt x="346" y="11"/>
                    </a:cubicBezTo>
                    <a:cubicBezTo>
                      <a:pt x="346" y="11"/>
                      <a:pt x="345" y="11"/>
                      <a:pt x="345" y="11"/>
                    </a:cubicBezTo>
                    <a:cubicBezTo>
                      <a:pt x="345" y="11"/>
                      <a:pt x="345" y="11"/>
                      <a:pt x="345" y="11"/>
                    </a:cubicBezTo>
                    <a:cubicBezTo>
                      <a:pt x="344" y="11"/>
                      <a:pt x="343" y="11"/>
                      <a:pt x="342" y="10"/>
                    </a:cubicBezTo>
                    <a:cubicBezTo>
                      <a:pt x="340" y="10"/>
                      <a:pt x="339" y="9"/>
                      <a:pt x="337" y="9"/>
                    </a:cubicBezTo>
                    <a:cubicBezTo>
                      <a:pt x="337" y="9"/>
                      <a:pt x="336" y="10"/>
                      <a:pt x="336" y="10"/>
                    </a:cubicBezTo>
                    <a:cubicBezTo>
                      <a:pt x="332" y="10"/>
                      <a:pt x="327" y="11"/>
                      <a:pt x="323" y="14"/>
                    </a:cubicBezTo>
                    <a:cubicBezTo>
                      <a:pt x="323" y="15"/>
                      <a:pt x="322" y="16"/>
                      <a:pt x="321" y="17"/>
                    </a:cubicBezTo>
                    <a:cubicBezTo>
                      <a:pt x="321" y="17"/>
                      <a:pt x="320" y="18"/>
                      <a:pt x="319" y="18"/>
                    </a:cubicBezTo>
                    <a:cubicBezTo>
                      <a:pt x="319" y="19"/>
                      <a:pt x="318" y="19"/>
                      <a:pt x="317" y="19"/>
                    </a:cubicBezTo>
                    <a:cubicBezTo>
                      <a:pt x="316" y="19"/>
                      <a:pt x="316" y="19"/>
                      <a:pt x="315" y="19"/>
                    </a:cubicBezTo>
                    <a:cubicBezTo>
                      <a:pt x="313" y="19"/>
                      <a:pt x="313" y="19"/>
                      <a:pt x="313" y="19"/>
                    </a:cubicBezTo>
                    <a:cubicBezTo>
                      <a:pt x="311" y="20"/>
                      <a:pt x="309" y="20"/>
                      <a:pt x="307" y="20"/>
                    </a:cubicBezTo>
                    <a:cubicBezTo>
                      <a:pt x="306" y="20"/>
                      <a:pt x="305" y="20"/>
                      <a:pt x="304" y="20"/>
                    </a:cubicBezTo>
                    <a:cubicBezTo>
                      <a:pt x="301" y="19"/>
                      <a:pt x="297" y="19"/>
                      <a:pt x="294" y="19"/>
                    </a:cubicBezTo>
                    <a:cubicBezTo>
                      <a:pt x="292" y="19"/>
                      <a:pt x="291" y="19"/>
                      <a:pt x="289" y="19"/>
                    </a:cubicBezTo>
                    <a:cubicBezTo>
                      <a:pt x="287" y="19"/>
                      <a:pt x="287" y="19"/>
                      <a:pt x="287" y="19"/>
                    </a:cubicBezTo>
                    <a:cubicBezTo>
                      <a:pt x="287" y="21"/>
                      <a:pt x="287" y="21"/>
                      <a:pt x="287" y="21"/>
                    </a:cubicBezTo>
                    <a:cubicBezTo>
                      <a:pt x="287" y="21"/>
                      <a:pt x="287" y="21"/>
                      <a:pt x="286" y="21"/>
                    </a:cubicBezTo>
                    <a:cubicBezTo>
                      <a:pt x="285" y="21"/>
                      <a:pt x="285" y="21"/>
                      <a:pt x="284" y="21"/>
                    </a:cubicBezTo>
                    <a:cubicBezTo>
                      <a:pt x="283" y="21"/>
                      <a:pt x="283" y="21"/>
                      <a:pt x="282" y="21"/>
                    </a:cubicBezTo>
                    <a:cubicBezTo>
                      <a:pt x="281" y="21"/>
                      <a:pt x="280" y="21"/>
                      <a:pt x="279" y="22"/>
                    </a:cubicBezTo>
                    <a:cubicBezTo>
                      <a:pt x="277" y="22"/>
                      <a:pt x="276" y="23"/>
                      <a:pt x="276" y="24"/>
                    </a:cubicBezTo>
                    <a:cubicBezTo>
                      <a:pt x="275" y="24"/>
                      <a:pt x="274" y="25"/>
                      <a:pt x="274" y="25"/>
                    </a:cubicBezTo>
                    <a:cubicBezTo>
                      <a:pt x="274" y="25"/>
                      <a:pt x="274" y="25"/>
                      <a:pt x="273" y="25"/>
                    </a:cubicBezTo>
                    <a:cubicBezTo>
                      <a:pt x="273" y="25"/>
                      <a:pt x="273" y="25"/>
                      <a:pt x="273" y="25"/>
                    </a:cubicBezTo>
                    <a:cubicBezTo>
                      <a:pt x="272" y="25"/>
                      <a:pt x="270" y="25"/>
                      <a:pt x="269" y="26"/>
                    </a:cubicBezTo>
                    <a:cubicBezTo>
                      <a:pt x="269" y="27"/>
                      <a:pt x="268" y="27"/>
                      <a:pt x="268" y="27"/>
                    </a:cubicBezTo>
                    <a:cubicBezTo>
                      <a:pt x="268" y="27"/>
                      <a:pt x="268" y="27"/>
                      <a:pt x="268" y="27"/>
                    </a:cubicBezTo>
                    <a:cubicBezTo>
                      <a:pt x="267" y="27"/>
                      <a:pt x="265" y="26"/>
                      <a:pt x="264" y="26"/>
                    </a:cubicBezTo>
                    <a:cubicBezTo>
                      <a:pt x="264" y="26"/>
                      <a:pt x="264" y="26"/>
                      <a:pt x="264" y="26"/>
                    </a:cubicBezTo>
                    <a:cubicBezTo>
                      <a:pt x="261" y="26"/>
                      <a:pt x="258" y="28"/>
                      <a:pt x="256" y="30"/>
                    </a:cubicBezTo>
                    <a:cubicBezTo>
                      <a:pt x="255" y="31"/>
                      <a:pt x="254" y="32"/>
                      <a:pt x="253" y="33"/>
                    </a:cubicBezTo>
                    <a:cubicBezTo>
                      <a:pt x="254" y="29"/>
                      <a:pt x="252" y="26"/>
                      <a:pt x="249" y="24"/>
                    </a:cubicBezTo>
                    <a:cubicBezTo>
                      <a:pt x="247" y="22"/>
                      <a:pt x="243" y="21"/>
                      <a:pt x="240" y="21"/>
                    </a:cubicBezTo>
                    <a:cubicBezTo>
                      <a:pt x="238" y="21"/>
                      <a:pt x="237" y="21"/>
                      <a:pt x="236" y="22"/>
                    </a:cubicBezTo>
                    <a:cubicBezTo>
                      <a:pt x="234" y="23"/>
                      <a:pt x="234" y="25"/>
                      <a:pt x="233" y="27"/>
                    </a:cubicBezTo>
                    <a:cubicBezTo>
                      <a:pt x="233" y="27"/>
                      <a:pt x="233" y="27"/>
                      <a:pt x="233" y="28"/>
                    </a:cubicBezTo>
                    <a:cubicBezTo>
                      <a:pt x="232" y="30"/>
                      <a:pt x="230" y="32"/>
                      <a:pt x="229" y="34"/>
                    </a:cubicBezTo>
                    <a:cubicBezTo>
                      <a:pt x="228" y="35"/>
                      <a:pt x="227" y="36"/>
                      <a:pt x="227" y="36"/>
                    </a:cubicBezTo>
                    <a:cubicBezTo>
                      <a:pt x="228" y="35"/>
                      <a:pt x="229" y="34"/>
                      <a:pt x="229" y="32"/>
                    </a:cubicBezTo>
                    <a:cubicBezTo>
                      <a:pt x="231" y="30"/>
                      <a:pt x="231" y="26"/>
                      <a:pt x="229" y="23"/>
                    </a:cubicBezTo>
                    <a:cubicBezTo>
                      <a:pt x="227" y="20"/>
                      <a:pt x="223" y="16"/>
                      <a:pt x="219" y="16"/>
                    </a:cubicBezTo>
                    <a:cubicBezTo>
                      <a:pt x="218" y="16"/>
                      <a:pt x="216" y="17"/>
                      <a:pt x="215" y="18"/>
                    </a:cubicBezTo>
                    <a:cubicBezTo>
                      <a:pt x="214" y="18"/>
                      <a:pt x="214" y="19"/>
                      <a:pt x="213" y="20"/>
                    </a:cubicBezTo>
                    <a:cubicBezTo>
                      <a:pt x="212" y="19"/>
                      <a:pt x="211" y="18"/>
                      <a:pt x="210" y="17"/>
                    </a:cubicBezTo>
                    <a:cubicBezTo>
                      <a:pt x="209" y="16"/>
                      <a:pt x="208" y="16"/>
                      <a:pt x="208" y="15"/>
                    </a:cubicBezTo>
                    <a:cubicBezTo>
                      <a:pt x="205" y="13"/>
                      <a:pt x="201" y="10"/>
                      <a:pt x="197" y="10"/>
                    </a:cubicBezTo>
                    <a:cubicBezTo>
                      <a:pt x="196" y="10"/>
                      <a:pt x="194" y="11"/>
                      <a:pt x="193" y="11"/>
                    </a:cubicBezTo>
                    <a:cubicBezTo>
                      <a:pt x="189" y="14"/>
                      <a:pt x="189" y="18"/>
                      <a:pt x="189" y="21"/>
                    </a:cubicBezTo>
                    <a:cubicBezTo>
                      <a:pt x="189" y="23"/>
                      <a:pt x="189" y="24"/>
                      <a:pt x="189" y="25"/>
                    </a:cubicBezTo>
                    <a:cubicBezTo>
                      <a:pt x="188" y="26"/>
                      <a:pt x="187" y="27"/>
                      <a:pt x="186" y="28"/>
                    </a:cubicBezTo>
                    <a:cubicBezTo>
                      <a:pt x="184" y="30"/>
                      <a:pt x="182" y="32"/>
                      <a:pt x="181" y="36"/>
                    </a:cubicBezTo>
                    <a:cubicBezTo>
                      <a:pt x="181" y="37"/>
                      <a:pt x="181" y="37"/>
                      <a:pt x="181" y="37"/>
                    </a:cubicBezTo>
                    <a:cubicBezTo>
                      <a:pt x="181" y="40"/>
                      <a:pt x="180" y="46"/>
                      <a:pt x="186" y="48"/>
                    </a:cubicBezTo>
                    <a:cubicBezTo>
                      <a:pt x="184" y="49"/>
                      <a:pt x="183" y="50"/>
                      <a:pt x="183" y="52"/>
                    </a:cubicBezTo>
                    <a:cubicBezTo>
                      <a:pt x="182" y="52"/>
                      <a:pt x="183" y="53"/>
                      <a:pt x="183" y="54"/>
                    </a:cubicBezTo>
                    <a:cubicBezTo>
                      <a:pt x="183" y="53"/>
                      <a:pt x="182" y="53"/>
                      <a:pt x="182" y="53"/>
                    </a:cubicBezTo>
                    <a:cubicBezTo>
                      <a:pt x="181" y="53"/>
                      <a:pt x="180" y="53"/>
                      <a:pt x="180" y="53"/>
                    </a:cubicBezTo>
                    <a:cubicBezTo>
                      <a:pt x="178" y="53"/>
                      <a:pt x="177" y="54"/>
                      <a:pt x="177" y="54"/>
                    </a:cubicBezTo>
                    <a:cubicBezTo>
                      <a:pt x="176" y="56"/>
                      <a:pt x="176" y="57"/>
                      <a:pt x="176" y="59"/>
                    </a:cubicBezTo>
                    <a:cubicBezTo>
                      <a:pt x="175" y="59"/>
                      <a:pt x="174" y="60"/>
                      <a:pt x="174" y="61"/>
                    </a:cubicBezTo>
                    <a:cubicBezTo>
                      <a:pt x="172" y="67"/>
                      <a:pt x="175" y="75"/>
                      <a:pt x="175" y="75"/>
                    </a:cubicBezTo>
                    <a:cubicBezTo>
                      <a:pt x="176" y="76"/>
                      <a:pt x="177" y="78"/>
                      <a:pt x="178" y="81"/>
                    </a:cubicBezTo>
                    <a:cubicBezTo>
                      <a:pt x="177" y="81"/>
                      <a:pt x="175" y="81"/>
                      <a:pt x="173" y="81"/>
                    </a:cubicBezTo>
                    <a:cubicBezTo>
                      <a:pt x="172" y="82"/>
                      <a:pt x="170" y="83"/>
                      <a:pt x="169" y="83"/>
                    </a:cubicBezTo>
                    <a:cubicBezTo>
                      <a:pt x="168" y="84"/>
                      <a:pt x="167" y="85"/>
                      <a:pt x="166" y="85"/>
                    </a:cubicBezTo>
                    <a:cubicBezTo>
                      <a:pt x="165" y="85"/>
                      <a:pt x="163" y="86"/>
                      <a:pt x="162" y="86"/>
                    </a:cubicBezTo>
                    <a:cubicBezTo>
                      <a:pt x="160" y="86"/>
                      <a:pt x="160" y="85"/>
                      <a:pt x="160" y="85"/>
                    </a:cubicBezTo>
                    <a:cubicBezTo>
                      <a:pt x="159" y="85"/>
                      <a:pt x="159" y="85"/>
                      <a:pt x="159" y="85"/>
                    </a:cubicBezTo>
                    <a:cubicBezTo>
                      <a:pt x="157" y="83"/>
                      <a:pt x="155" y="81"/>
                      <a:pt x="152" y="81"/>
                    </a:cubicBezTo>
                    <a:cubicBezTo>
                      <a:pt x="151" y="81"/>
                      <a:pt x="149" y="82"/>
                      <a:pt x="148" y="85"/>
                    </a:cubicBezTo>
                    <a:cubicBezTo>
                      <a:pt x="148" y="88"/>
                      <a:pt x="150" y="90"/>
                      <a:pt x="152" y="91"/>
                    </a:cubicBezTo>
                    <a:cubicBezTo>
                      <a:pt x="152" y="91"/>
                      <a:pt x="152" y="91"/>
                      <a:pt x="152" y="92"/>
                    </a:cubicBezTo>
                    <a:cubicBezTo>
                      <a:pt x="152" y="93"/>
                      <a:pt x="153" y="95"/>
                      <a:pt x="153" y="96"/>
                    </a:cubicBezTo>
                    <a:cubicBezTo>
                      <a:pt x="153" y="96"/>
                      <a:pt x="153" y="97"/>
                      <a:pt x="153" y="97"/>
                    </a:cubicBezTo>
                    <a:cubicBezTo>
                      <a:pt x="154" y="98"/>
                      <a:pt x="154" y="99"/>
                      <a:pt x="155" y="100"/>
                    </a:cubicBezTo>
                    <a:cubicBezTo>
                      <a:pt x="156" y="101"/>
                      <a:pt x="157" y="102"/>
                      <a:pt x="158" y="102"/>
                    </a:cubicBezTo>
                    <a:cubicBezTo>
                      <a:pt x="158" y="102"/>
                      <a:pt x="159" y="103"/>
                      <a:pt x="159" y="103"/>
                    </a:cubicBezTo>
                    <a:cubicBezTo>
                      <a:pt x="160" y="104"/>
                      <a:pt x="160" y="105"/>
                      <a:pt x="161" y="106"/>
                    </a:cubicBezTo>
                    <a:cubicBezTo>
                      <a:pt x="162" y="106"/>
                      <a:pt x="162" y="106"/>
                      <a:pt x="162" y="106"/>
                    </a:cubicBezTo>
                    <a:cubicBezTo>
                      <a:pt x="163" y="107"/>
                      <a:pt x="165" y="109"/>
                      <a:pt x="165" y="109"/>
                    </a:cubicBezTo>
                    <a:cubicBezTo>
                      <a:pt x="165" y="109"/>
                      <a:pt x="165" y="110"/>
                      <a:pt x="164" y="110"/>
                    </a:cubicBezTo>
                    <a:cubicBezTo>
                      <a:pt x="161" y="112"/>
                      <a:pt x="160" y="114"/>
                      <a:pt x="160" y="116"/>
                    </a:cubicBezTo>
                    <a:cubicBezTo>
                      <a:pt x="159" y="117"/>
                      <a:pt x="159" y="118"/>
                      <a:pt x="158" y="118"/>
                    </a:cubicBezTo>
                    <a:cubicBezTo>
                      <a:pt x="157" y="120"/>
                      <a:pt x="157" y="120"/>
                      <a:pt x="157" y="120"/>
                    </a:cubicBezTo>
                    <a:cubicBezTo>
                      <a:pt x="156" y="120"/>
                      <a:pt x="155" y="118"/>
                      <a:pt x="155" y="117"/>
                    </a:cubicBezTo>
                    <a:cubicBezTo>
                      <a:pt x="153" y="115"/>
                      <a:pt x="151" y="113"/>
                      <a:pt x="148" y="113"/>
                    </a:cubicBezTo>
                    <a:cubicBezTo>
                      <a:pt x="147" y="113"/>
                      <a:pt x="146" y="114"/>
                      <a:pt x="145" y="114"/>
                    </a:cubicBezTo>
                    <a:cubicBezTo>
                      <a:pt x="143" y="115"/>
                      <a:pt x="143" y="117"/>
                      <a:pt x="142" y="118"/>
                    </a:cubicBezTo>
                    <a:cubicBezTo>
                      <a:pt x="142" y="122"/>
                      <a:pt x="146" y="128"/>
                      <a:pt x="151" y="132"/>
                    </a:cubicBezTo>
                    <a:cubicBezTo>
                      <a:pt x="151" y="133"/>
                      <a:pt x="151" y="133"/>
                      <a:pt x="151" y="133"/>
                    </a:cubicBezTo>
                    <a:cubicBezTo>
                      <a:pt x="152" y="134"/>
                      <a:pt x="152" y="134"/>
                      <a:pt x="153" y="135"/>
                    </a:cubicBezTo>
                    <a:cubicBezTo>
                      <a:pt x="154" y="137"/>
                      <a:pt x="156" y="139"/>
                      <a:pt x="158" y="140"/>
                    </a:cubicBezTo>
                    <a:cubicBezTo>
                      <a:pt x="160" y="141"/>
                      <a:pt x="161" y="142"/>
                      <a:pt x="163" y="143"/>
                    </a:cubicBezTo>
                    <a:cubicBezTo>
                      <a:pt x="164" y="143"/>
                      <a:pt x="165" y="144"/>
                      <a:pt x="166" y="144"/>
                    </a:cubicBezTo>
                    <a:cubicBezTo>
                      <a:pt x="169" y="146"/>
                      <a:pt x="170" y="148"/>
                      <a:pt x="171" y="151"/>
                    </a:cubicBezTo>
                    <a:cubicBezTo>
                      <a:pt x="171" y="151"/>
                      <a:pt x="170" y="151"/>
                      <a:pt x="170" y="151"/>
                    </a:cubicBezTo>
                    <a:cubicBezTo>
                      <a:pt x="170" y="151"/>
                      <a:pt x="170" y="151"/>
                      <a:pt x="170" y="150"/>
                    </a:cubicBezTo>
                    <a:cubicBezTo>
                      <a:pt x="169" y="150"/>
                      <a:pt x="169" y="149"/>
                      <a:pt x="168" y="149"/>
                    </a:cubicBezTo>
                    <a:cubicBezTo>
                      <a:pt x="166" y="147"/>
                      <a:pt x="164" y="147"/>
                      <a:pt x="163" y="147"/>
                    </a:cubicBezTo>
                    <a:cubicBezTo>
                      <a:pt x="163" y="147"/>
                      <a:pt x="162" y="147"/>
                      <a:pt x="162" y="147"/>
                    </a:cubicBezTo>
                    <a:cubicBezTo>
                      <a:pt x="161" y="147"/>
                      <a:pt x="161" y="147"/>
                      <a:pt x="160" y="147"/>
                    </a:cubicBezTo>
                    <a:cubicBezTo>
                      <a:pt x="160" y="147"/>
                      <a:pt x="159" y="147"/>
                      <a:pt x="159" y="146"/>
                    </a:cubicBezTo>
                    <a:cubicBezTo>
                      <a:pt x="157" y="146"/>
                      <a:pt x="156" y="145"/>
                      <a:pt x="154" y="145"/>
                    </a:cubicBezTo>
                    <a:cubicBezTo>
                      <a:pt x="154" y="145"/>
                      <a:pt x="153" y="145"/>
                      <a:pt x="153" y="145"/>
                    </a:cubicBezTo>
                    <a:cubicBezTo>
                      <a:pt x="150" y="146"/>
                      <a:pt x="150" y="149"/>
                      <a:pt x="150" y="150"/>
                    </a:cubicBezTo>
                    <a:cubicBezTo>
                      <a:pt x="148" y="150"/>
                      <a:pt x="148" y="150"/>
                      <a:pt x="148" y="150"/>
                    </a:cubicBezTo>
                    <a:cubicBezTo>
                      <a:pt x="147" y="151"/>
                      <a:pt x="147" y="151"/>
                      <a:pt x="147" y="151"/>
                    </a:cubicBezTo>
                    <a:cubicBezTo>
                      <a:pt x="147" y="152"/>
                      <a:pt x="147" y="152"/>
                      <a:pt x="146" y="152"/>
                    </a:cubicBezTo>
                    <a:cubicBezTo>
                      <a:pt x="145" y="153"/>
                      <a:pt x="143" y="153"/>
                      <a:pt x="142" y="155"/>
                    </a:cubicBezTo>
                    <a:cubicBezTo>
                      <a:pt x="142" y="157"/>
                      <a:pt x="142" y="158"/>
                      <a:pt x="142" y="159"/>
                    </a:cubicBezTo>
                    <a:cubicBezTo>
                      <a:pt x="142" y="160"/>
                      <a:pt x="142" y="160"/>
                      <a:pt x="142" y="160"/>
                    </a:cubicBezTo>
                    <a:cubicBezTo>
                      <a:pt x="142" y="160"/>
                      <a:pt x="141" y="159"/>
                      <a:pt x="141" y="159"/>
                    </a:cubicBezTo>
                    <a:cubicBezTo>
                      <a:pt x="140" y="158"/>
                      <a:pt x="139" y="158"/>
                      <a:pt x="138" y="157"/>
                    </a:cubicBezTo>
                    <a:cubicBezTo>
                      <a:pt x="137" y="154"/>
                      <a:pt x="136" y="148"/>
                      <a:pt x="130" y="148"/>
                    </a:cubicBezTo>
                    <a:cubicBezTo>
                      <a:pt x="130" y="148"/>
                      <a:pt x="130" y="148"/>
                      <a:pt x="129" y="148"/>
                    </a:cubicBezTo>
                    <a:cubicBezTo>
                      <a:pt x="127" y="149"/>
                      <a:pt x="125" y="150"/>
                      <a:pt x="124" y="152"/>
                    </a:cubicBezTo>
                    <a:cubicBezTo>
                      <a:pt x="123" y="153"/>
                      <a:pt x="122" y="154"/>
                      <a:pt x="122" y="156"/>
                    </a:cubicBezTo>
                    <a:cubicBezTo>
                      <a:pt x="122" y="156"/>
                      <a:pt x="122" y="156"/>
                      <a:pt x="121" y="156"/>
                    </a:cubicBezTo>
                    <a:cubicBezTo>
                      <a:pt x="121" y="155"/>
                      <a:pt x="120" y="155"/>
                      <a:pt x="119" y="155"/>
                    </a:cubicBezTo>
                    <a:cubicBezTo>
                      <a:pt x="114" y="155"/>
                      <a:pt x="108" y="160"/>
                      <a:pt x="108" y="160"/>
                    </a:cubicBezTo>
                    <a:cubicBezTo>
                      <a:pt x="104" y="164"/>
                      <a:pt x="104" y="169"/>
                      <a:pt x="104" y="173"/>
                    </a:cubicBezTo>
                    <a:cubicBezTo>
                      <a:pt x="104" y="173"/>
                      <a:pt x="104" y="173"/>
                      <a:pt x="104" y="173"/>
                    </a:cubicBezTo>
                    <a:cubicBezTo>
                      <a:pt x="104" y="178"/>
                      <a:pt x="105" y="184"/>
                      <a:pt x="109" y="188"/>
                    </a:cubicBezTo>
                    <a:cubicBezTo>
                      <a:pt x="110" y="189"/>
                      <a:pt x="112" y="190"/>
                      <a:pt x="114" y="191"/>
                    </a:cubicBezTo>
                    <a:cubicBezTo>
                      <a:pt x="115" y="191"/>
                      <a:pt x="117" y="191"/>
                      <a:pt x="117" y="192"/>
                    </a:cubicBezTo>
                    <a:cubicBezTo>
                      <a:pt x="117" y="192"/>
                      <a:pt x="117" y="192"/>
                      <a:pt x="117" y="192"/>
                    </a:cubicBezTo>
                    <a:cubicBezTo>
                      <a:pt x="117" y="192"/>
                      <a:pt x="116" y="192"/>
                      <a:pt x="115" y="192"/>
                    </a:cubicBezTo>
                    <a:cubicBezTo>
                      <a:pt x="113" y="192"/>
                      <a:pt x="113" y="192"/>
                      <a:pt x="113" y="192"/>
                    </a:cubicBezTo>
                    <a:cubicBezTo>
                      <a:pt x="112" y="192"/>
                      <a:pt x="111" y="192"/>
                      <a:pt x="110" y="193"/>
                    </a:cubicBezTo>
                    <a:cubicBezTo>
                      <a:pt x="106" y="194"/>
                      <a:pt x="104" y="201"/>
                      <a:pt x="104" y="202"/>
                    </a:cubicBezTo>
                    <a:cubicBezTo>
                      <a:pt x="103" y="206"/>
                      <a:pt x="106" y="211"/>
                      <a:pt x="110" y="212"/>
                    </a:cubicBezTo>
                    <a:cubicBezTo>
                      <a:pt x="111" y="213"/>
                      <a:pt x="112" y="213"/>
                      <a:pt x="112" y="213"/>
                    </a:cubicBezTo>
                    <a:cubicBezTo>
                      <a:pt x="112" y="213"/>
                      <a:pt x="112" y="213"/>
                      <a:pt x="112" y="213"/>
                    </a:cubicBezTo>
                    <a:cubicBezTo>
                      <a:pt x="112" y="214"/>
                      <a:pt x="112" y="216"/>
                      <a:pt x="113" y="218"/>
                    </a:cubicBezTo>
                    <a:cubicBezTo>
                      <a:pt x="114" y="219"/>
                      <a:pt x="115" y="219"/>
                      <a:pt x="116" y="219"/>
                    </a:cubicBezTo>
                    <a:cubicBezTo>
                      <a:pt x="116" y="220"/>
                      <a:pt x="117" y="220"/>
                      <a:pt x="117" y="220"/>
                    </a:cubicBezTo>
                    <a:cubicBezTo>
                      <a:pt x="117" y="220"/>
                      <a:pt x="117" y="220"/>
                      <a:pt x="117" y="220"/>
                    </a:cubicBezTo>
                    <a:cubicBezTo>
                      <a:pt x="117" y="220"/>
                      <a:pt x="116" y="220"/>
                      <a:pt x="116" y="220"/>
                    </a:cubicBezTo>
                    <a:cubicBezTo>
                      <a:pt x="116" y="220"/>
                      <a:pt x="116" y="220"/>
                      <a:pt x="115" y="220"/>
                    </a:cubicBezTo>
                    <a:cubicBezTo>
                      <a:pt x="115" y="219"/>
                      <a:pt x="115" y="219"/>
                      <a:pt x="114" y="219"/>
                    </a:cubicBezTo>
                    <a:cubicBezTo>
                      <a:pt x="114" y="219"/>
                      <a:pt x="113" y="219"/>
                      <a:pt x="113" y="219"/>
                    </a:cubicBezTo>
                    <a:cubicBezTo>
                      <a:pt x="112" y="218"/>
                      <a:pt x="111" y="218"/>
                      <a:pt x="110" y="218"/>
                    </a:cubicBezTo>
                    <a:cubicBezTo>
                      <a:pt x="110" y="217"/>
                      <a:pt x="110" y="217"/>
                      <a:pt x="110" y="217"/>
                    </a:cubicBezTo>
                    <a:cubicBezTo>
                      <a:pt x="109" y="216"/>
                      <a:pt x="107" y="215"/>
                      <a:pt x="105" y="215"/>
                    </a:cubicBezTo>
                    <a:cubicBezTo>
                      <a:pt x="104" y="215"/>
                      <a:pt x="104" y="215"/>
                      <a:pt x="104" y="215"/>
                    </a:cubicBezTo>
                    <a:cubicBezTo>
                      <a:pt x="101" y="215"/>
                      <a:pt x="101" y="215"/>
                      <a:pt x="101" y="215"/>
                    </a:cubicBezTo>
                    <a:cubicBezTo>
                      <a:pt x="101" y="217"/>
                      <a:pt x="101" y="217"/>
                      <a:pt x="101" y="217"/>
                    </a:cubicBezTo>
                    <a:cubicBezTo>
                      <a:pt x="101" y="217"/>
                      <a:pt x="101" y="218"/>
                      <a:pt x="101" y="218"/>
                    </a:cubicBezTo>
                    <a:cubicBezTo>
                      <a:pt x="100" y="218"/>
                      <a:pt x="100" y="219"/>
                      <a:pt x="99" y="220"/>
                    </a:cubicBezTo>
                    <a:cubicBezTo>
                      <a:pt x="99" y="222"/>
                      <a:pt x="99" y="223"/>
                      <a:pt x="99" y="224"/>
                    </a:cubicBezTo>
                    <a:cubicBezTo>
                      <a:pt x="99" y="224"/>
                      <a:pt x="99" y="225"/>
                      <a:pt x="99" y="225"/>
                    </a:cubicBezTo>
                    <a:cubicBezTo>
                      <a:pt x="99" y="226"/>
                      <a:pt x="99" y="227"/>
                      <a:pt x="99" y="228"/>
                    </a:cubicBezTo>
                    <a:cubicBezTo>
                      <a:pt x="98" y="230"/>
                      <a:pt x="98" y="232"/>
                      <a:pt x="98" y="234"/>
                    </a:cubicBezTo>
                    <a:cubicBezTo>
                      <a:pt x="98" y="234"/>
                      <a:pt x="98" y="234"/>
                      <a:pt x="98" y="234"/>
                    </a:cubicBezTo>
                    <a:cubicBezTo>
                      <a:pt x="98" y="235"/>
                      <a:pt x="97" y="235"/>
                      <a:pt x="97" y="236"/>
                    </a:cubicBezTo>
                    <a:cubicBezTo>
                      <a:pt x="97" y="237"/>
                      <a:pt x="97" y="238"/>
                      <a:pt x="98" y="239"/>
                    </a:cubicBezTo>
                    <a:cubicBezTo>
                      <a:pt x="98" y="239"/>
                      <a:pt x="98" y="239"/>
                      <a:pt x="98" y="239"/>
                    </a:cubicBezTo>
                    <a:cubicBezTo>
                      <a:pt x="98" y="241"/>
                      <a:pt x="99" y="242"/>
                      <a:pt x="100" y="243"/>
                    </a:cubicBezTo>
                    <a:cubicBezTo>
                      <a:pt x="101" y="244"/>
                      <a:pt x="101" y="245"/>
                      <a:pt x="102" y="245"/>
                    </a:cubicBezTo>
                    <a:cubicBezTo>
                      <a:pt x="102" y="245"/>
                      <a:pt x="102" y="245"/>
                      <a:pt x="102" y="245"/>
                    </a:cubicBezTo>
                    <a:cubicBezTo>
                      <a:pt x="102" y="245"/>
                      <a:pt x="102" y="245"/>
                      <a:pt x="102" y="245"/>
                    </a:cubicBezTo>
                    <a:cubicBezTo>
                      <a:pt x="103" y="246"/>
                      <a:pt x="102" y="246"/>
                      <a:pt x="102" y="248"/>
                    </a:cubicBezTo>
                    <a:cubicBezTo>
                      <a:pt x="102" y="248"/>
                      <a:pt x="102" y="248"/>
                      <a:pt x="102" y="248"/>
                    </a:cubicBezTo>
                    <a:cubicBezTo>
                      <a:pt x="102" y="249"/>
                      <a:pt x="102" y="249"/>
                      <a:pt x="102" y="251"/>
                    </a:cubicBezTo>
                    <a:cubicBezTo>
                      <a:pt x="102" y="251"/>
                      <a:pt x="102" y="252"/>
                      <a:pt x="103" y="253"/>
                    </a:cubicBezTo>
                    <a:cubicBezTo>
                      <a:pt x="103" y="253"/>
                      <a:pt x="102" y="253"/>
                      <a:pt x="102" y="253"/>
                    </a:cubicBezTo>
                    <a:cubicBezTo>
                      <a:pt x="102" y="254"/>
                      <a:pt x="101" y="256"/>
                      <a:pt x="102" y="257"/>
                    </a:cubicBezTo>
                    <a:cubicBezTo>
                      <a:pt x="103" y="258"/>
                      <a:pt x="103" y="258"/>
                      <a:pt x="104" y="259"/>
                    </a:cubicBezTo>
                    <a:cubicBezTo>
                      <a:pt x="104" y="262"/>
                      <a:pt x="105" y="264"/>
                      <a:pt x="107" y="265"/>
                    </a:cubicBezTo>
                    <a:cubicBezTo>
                      <a:pt x="107" y="266"/>
                      <a:pt x="109" y="267"/>
                      <a:pt x="110" y="267"/>
                    </a:cubicBezTo>
                    <a:cubicBezTo>
                      <a:pt x="112" y="267"/>
                      <a:pt x="114" y="265"/>
                      <a:pt x="115" y="264"/>
                    </a:cubicBezTo>
                    <a:cubicBezTo>
                      <a:pt x="115" y="264"/>
                      <a:pt x="116" y="264"/>
                      <a:pt x="116" y="263"/>
                    </a:cubicBezTo>
                    <a:cubicBezTo>
                      <a:pt x="116" y="264"/>
                      <a:pt x="115" y="264"/>
                      <a:pt x="115" y="264"/>
                    </a:cubicBezTo>
                    <a:cubicBezTo>
                      <a:pt x="114" y="266"/>
                      <a:pt x="113" y="269"/>
                      <a:pt x="113" y="272"/>
                    </a:cubicBezTo>
                    <a:cubicBezTo>
                      <a:pt x="113" y="273"/>
                      <a:pt x="113" y="273"/>
                      <a:pt x="113" y="273"/>
                    </a:cubicBezTo>
                    <a:cubicBezTo>
                      <a:pt x="111" y="273"/>
                      <a:pt x="108" y="274"/>
                      <a:pt x="106" y="275"/>
                    </a:cubicBezTo>
                    <a:cubicBezTo>
                      <a:pt x="105" y="276"/>
                      <a:pt x="104" y="276"/>
                      <a:pt x="103" y="276"/>
                    </a:cubicBezTo>
                    <a:cubicBezTo>
                      <a:pt x="102" y="277"/>
                      <a:pt x="101" y="277"/>
                      <a:pt x="99" y="277"/>
                    </a:cubicBezTo>
                    <a:cubicBezTo>
                      <a:pt x="98" y="277"/>
                      <a:pt x="96" y="277"/>
                      <a:pt x="95" y="276"/>
                    </a:cubicBezTo>
                    <a:cubicBezTo>
                      <a:pt x="96" y="274"/>
                      <a:pt x="97" y="272"/>
                      <a:pt x="96" y="270"/>
                    </a:cubicBezTo>
                    <a:cubicBezTo>
                      <a:pt x="96" y="267"/>
                      <a:pt x="94" y="267"/>
                      <a:pt x="93" y="266"/>
                    </a:cubicBezTo>
                    <a:cubicBezTo>
                      <a:pt x="93" y="266"/>
                      <a:pt x="93" y="266"/>
                      <a:pt x="93" y="266"/>
                    </a:cubicBezTo>
                    <a:cubicBezTo>
                      <a:pt x="92" y="265"/>
                      <a:pt x="92" y="265"/>
                      <a:pt x="92" y="265"/>
                    </a:cubicBezTo>
                    <a:cubicBezTo>
                      <a:pt x="91" y="265"/>
                      <a:pt x="91" y="265"/>
                      <a:pt x="91" y="265"/>
                    </a:cubicBezTo>
                    <a:cubicBezTo>
                      <a:pt x="90" y="264"/>
                      <a:pt x="89" y="264"/>
                      <a:pt x="88" y="264"/>
                    </a:cubicBezTo>
                    <a:cubicBezTo>
                      <a:pt x="88" y="264"/>
                      <a:pt x="87" y="264"/>
                      <a:pt x="87" y="264"/>
                    </a:cubicBezTo>
                    <a:cubicBezTo>
                      <a:pt x="89" y="259"/>
                      <a:pt x="88" y="252"/>
                      <a:pt x="87" y="251"/>
                    </a:cubicBezTo>
                    <a:cubicBezTo>
                      <a:pt x="86" y="249"/>
                      <a:pt x="86" y="249"/>
                      <a:pt x="86" y="249"/>
                    </a:cubicBezTo>
                    <a:cubicBezTo>
                      <a:pt x="85" y="249"/>
                      <a:pt x="85" y="249"/>
                      <a:pt x="85" y="249"/>
                    </a:cubicBezTo>
                    <a:cubicBezTo>
                      <a:pt x="85" y="248"/>
                      <a:pt x="85" y="245"/>
                      <a:pt x="85" y="245"/>
                    </a:cubicBezTo>
                    <a:cubicBezTo>
                      <a:pt x="85" y="244"/>
                      <a:pt x="86" y="243"/>
                      <a:pt x="86" y="242"/>
                    </a:cubicBezTo>
                    <a:cubicBezTo>
                      <a:pt x="87" y="240"/>
                      <a:pt x="88" y="238"/>
                      <a:pt x="88" y="236"/>
                    </a:cubicBezTo>
                    <a:cubicBezTo>
                      <a:pt x="88" y="235"/>
                      <a:pt x="88" y="235"/>
                      <a:pt x="88" y="235"/>
                    </a:cubicBezTo>
                    <a:cubicBezTo>
                      <a:pt x="86" y="233"/>
                      <a:pt x="86" y="233"/>
                      <a:pt x="86" y="233"/>
                    </a:cubicBezTo>
                    <a:cubicBezTo>
                      <a:pt x="85" y="233"/>
                      <a:pt x="85" y="233"/>
                      <a:pt x="85" y="233"/>
                    </a:cubicBezTo>
                    <a:cubicBezTo>
                      <a:pt x="85" y="232"/>
                      <a:pt x="84" y="232"/>
                      <a:pt x="84" y="232"/>
                    </a:cubicBezTo>
                    <a:cubicBezTo>
                      <a:pt x="80" y="232"/>
                      <a:pt x="79" y="236"/>
                      <a:pt x="79" y="237"/>
                    </a:cubicBezTo>
                    <a:cubicBezTo>
                      <a:pt x="79" y="238"/>
                      <a:pt x="79" y="238"/>
                      <a:pt x="79" y="238"/>
                    </a:cubicBezTo>
                    <a:cubicBezTo>
                      <a:pt x="79" y="239"/>
                      <a:pt x="78" y="239"/>
                      <a:pt x="78" y="239"/>
                    </a:cubicBezTo>
                    <a:cubicBezTo>
                      <a:pt x="78" y="240"/>
                      <a:pt x="77" y="240"/>
                      <a:pt x="77" y="241"/>
                    </a:cubicBezTo>
                    <a:cubicBezTo>
                      <a:pt x="76" y="242"/>
                      <a:pt x="75" y="245"/>
                      <a:pt x="75" y="247"/>
                    </a:cubicBezTo>
                    <a:cubicBezTo>
                      <a:pt x="75" y="248"/>
                      <a:pt x="75" y="249"/>
                      <a:pt x="75" y="249"/>
                    </a:cubicBezTo>
                    <a:cubicBezTo>
                      <a:pt x="75" y="249"/>
                      <a:pt x="75" y="249"/>
                      <a:pt x="75" y="249"/>
                    </a:cubicBezTo>
                    <a:cubicBezTo>
                      <a:pt x="75" y="248"/>
                      <a:pt x="74" y="248"/>
                      <a:pt x="72" y="248"/>
                    </a:cubicBezTo>
                    <a:cubicBezTo>
                      <a:pt x="72" y="248"/>
                      <a:pt x="72" y="248"/>
                      <a:pt x="72" y="248"/>
                    </a:cubicBezTo>
                    <a:cubicBezTo>
                      <a:pt x="72" y="247"/>
                      <a:pt x="72" y="246"/>
                      <a:pt x="73" y="245"/>
                    </a:cubicBezTo>
                    <a:cubicBezTo>
                      <a:pt x="73" y="245"/>
                      <a:pt x="73" y="244"/>
                      <a:pt x="73" y="244"/>
                    </a:cubicBezTo>
                    <a:cubicBezTo>
                      <a:pt x="74" y="241"/>
                      <a:pt x="76" y="239"/>
                      <a:pt x="75" y="236"/>
                    </a:cubicBezTo>
                    <a:cubicBezTo>
                      <a:pt x="75" y="234"/>
                      <a:pt x="75" y="232"/>
                      <a:pt x="74" y="231"/>
                    </a:cubicBezTo>
                    <a:cubicBezTo>
                      <a:pt x="74" y="229"/>
                      <a:pt x="73" y="228"/>
                      <a:pt x="73" y="227"/>
                    </a:cubicBezTo>
                    <a:cubicBezTo>
                      <a:pt x="73" y="225"/>
                      <a:pt x="73" y="223"/>
                      <a:pt x="73" y="221"/>
                    </a:cubicBezTo>
                    <a:cubicBezTo>
                      <a:pt x="74" y="216"/>
                      <a:pt x="74" y="211"/>
                      <a:pt x="69" y="206"/>
                    </a:cubicBezTo>
                    <a:cubicBezTo>
                      <a:pt x="69" y="205"/>
                      <a:pt x="69" y="205"/>
                      <a:pt x="69" y="205"/>
                    </a:cubicBezTo>
                    <a:cubicBezTo>
                      <a:pt x="66" y="203"/>
                      <a:pt x="64" y="200"/>
                      <a:pt x="62" y="198"/>
                    </a:cubicBezTo>
                    <a:cubicBezTo>
                      <a:pt x="62" y="197"/>
                      <a:pt x="62" y="197"/>
                      <a:pt x="62" y="197"/>
                    </a:cubicBezTo>
                    <a:cubicBezTo>
                      <a:pt x="60" y="195"/>
                      <a:pt x="58" y="192"/>
                      <a:pt x="53" y="192"/>
                    </a:cubicBezTo>
                    <a:cubicBezTo>
                      <a:pt x="50" y="192"/>
                      <a:pt x="47" y="193"/>
                      <a:pt x="45" y="196"/>
                    </a:cubicBezTo>
                    <a:cubicBezTo>
                      <a:pt x="42" y="199"/>
                      <a:pt x="41" y="205"/>
                      <a:pt x="42" y="209"/>
                    </a:cubicBezTo>
                    <a:cubicBezTo>
                      <a:pt x="43" y="213"/>
                      <a:pt x="44" y="217"/>
                      <a:pt x="44" y="221"/>
                    </a:cubicBezTo>
                    <a:cubicBezTo>
                      <a:pt x="44" y="222"/>
                      <a:pt x="44" y="223"/>
                      <a:pt x="44" y="224"/>
                    </a:cubicBezTo>
                    <a:cubicBezTo>
                      <a:pt x="44" y="224"/>
                      <a:pt x="43" y="224"/>
                      <a:pt x="43" y="225"/>
                    </a:cubicBezTo>
                    <a:cubicBezTo>
                      <a:pt x="41" y="225"/>
                      <a:pt x="41" y="226"/>
                      <a:pt x="40" y="227"/>
                    </a:cubicBezTo>
                    <a:cubicBezTo>
                      <a:pt x="40" y="227"/>
                      <a:pt x="40" y="226"/>
                      <a:pt x="39" y="226"/>
                    </a:cubicBezTo>
                    <a:cubicBezTo>
                      <a:pt x="38" y="223"/>
                      <a:pt x="35" y="221"/>
                      <a:pt x="31" y="219"/>
                    </a:cubicBezTo>
                    <a:cubicBezTo>
                      <a:pt x="30" y="219"/>
                      <a:pt x="30" y="219"/>
                      <a:pt x="30" y="219"/>
                    </a:cubicBezTo>
                    <a:cubicBezTo>
                      <a:pt x="30" y="219"/>
                      <a:pt x="30" y="219"/>
                      <a:pt x="30" y="219"/>
                    </a:cubicBezTo>
                    <a:cubicBezTo>
                      <a:pt x="30" y="219"/>
                      <a:pt x="30" y="218"/>
                      <a:pt x="30" y="218"/>
                    </a:cubicBezTo>
                    <a:cubicBezTo>
                      <a:pt x="30" y="216"/>
                      <a:pt x="30" y="214"/>
                      <a:pt x="28" y="211"/>
                    </a:cubicBezTo>
                    <a:cubicBezTo>
                      <a:pt x="27" y="211"/>
                      <a:pt x="27" y="211"/>
                      <a:pt x="27" y="211"/>
                    </a:cubicBezTo>
                    <a:cubicBezTo>
                      <a:pt x="24" y="208"/>
                      <a:pt x="22" y="207"/>
                      <a:pt x="21" y="207"/>
                    </a:cubicBezTo>
                    <a:cubicBezTo>
                      <a:pt x="20" y="207"/>
                      <a:pt x="20" y="207"/>
                      <a:pt x="20" y="207"/>
                    </a:cubicBezTo>
                    <a:cubicBezTo>
                      <a:pt x="20" y="208"/>
                      <a:pt x="20" y="208"/>
                      <a:pt x="20" y="208"/>
                    </a:cubicBezTo>
                    <a:cubicBezTo>
                      <a:pt x="17" y="208"/>
                      <a:pt x="17" y="212"/>
                      <a:pt x="16" y="215"/>
                    </a:cubicBezTo>
                    <a:cubicBezTo>
                      <a:pt x="16" y="216"/>
                      <a:pt x="16" y="216"/>
                      <a:pt x="16" y="217"/>
                    </a:cubicBezTo>
                    <a:cubicBezTo>
                      <a:pt x="15" y="220"/>
                      <a:pt x="16" y="222"/>
                      <a:pt x="18" y="224"/>
                    </a:cubicBezTo>
                    <a:cubicBezTo>
                      <a:pt x="18" y="224"/>
                      <a:pt x="18" y="224"/>
                      <a:pt x="19" y="225"/>
                    </a:cubicBezTo>
                    <a:cubicBezTo>
                      <a:pt x="19" y="226"/>
                      <a:pt x="20" y="227"/>
                      <a:pt x="20" y="228"/>
                    </a:cubicBezTo>
                    <a:cubicBezTo>
                      <a:pt x="20" y="228"/>
                      <a:pt x="19" y="229"/>
                      <a:pt x="19" y="229"/>
                    </a:cubicBezTo>
                    <a:cubicBezTo>
                      <a:pt x="18" y="231"/>
                      <a:pt x="18" y="233"/>
                      <a:pt x="18" y="234"/>
                    </a:cubicBezTo>
                    <a:cubicBezTo>
                      <a:pt x="18" y="233"/>
                      <a:pt x="17" y="232"/>
                      <a:pt x="17" y="231"/>
                    </a:cubicBezTo>
                    <a:cubicBezTo>
                      <a:pt x="17" y="230"/>
                      <a:pt x="17" y="230"/>
                      <a:pt x="16" y="229"/>
                    </a:cubicBezTo>
                    <a:cubicBezTo>
                      <a:pt x="15" y="227"/>
                      <a:pt x="13" y="225"/>
                      <a:pt x="10" y="225"/>
                    </a:cubicBezTo>
                    <a:cubicBezTo>
                      <a:pt x="9" y="225"/>
                      <a:pt x="9" y="226"/>
                      <a:pt x="8" y="226"/>
                    </a:cubicBezTo>
                    <a:cubicBezTo>
                      <a:pt x="3" y="228"/>
                      <a:pt x="5" y="234"/>
                      <a:pt x="6" y="236"/>
                    </a:cubicBezTo>
                    <a:cubicBezTo>
                      <a:pt x="6" y="236"/>
                      <a:pt x="6" y="236"/>
                      <a:pt x="6" y="237"/>
                    </a:cubicBezTo>
                    <a:cubicBezTo>
                      <a:pt x="6" y="237"/>
                      <a:pt x="6" y="237"/>
                      <a:pt x="6" y="237"/>
                    </a:cubicBezTo>
                    <a:cubicBezTo>
                      <a:pt x="6" y="237"/>
                      <a:pt x="6" y="237"/>
                      <a:pt x="6" y="237"/>
                    </a:cubicBezTo>
                    <a:cubicBezTo>
                      <a:pt x="4" y="238"/>
                      <a:pt x="1" y="238"/>
                      <a:pt x="1" y="241"/>
                    </a:cubicBezTo>
                    <a:cubicBezTo>
                      <a:pt x="0" y="244"/>
                      <a:pt x="3" y="246"/>
                      <a:pt x="4" y="247"/>
                    </a:cubicBezTo>
                    <a:cubicBezTo>
                      <a:pt x="4" y="247"/>
                      <a:pt x="5" y="247"/>
                      <a:pt x="5" y="247"/>
                    </a:cubicBezTo>
                    <a:cubicBezTo>
                      <a:pt x="6" y="248"/>
                      <a:pt x="6" y="249"/>
                      <a:pt x="6" y="250"/>
                    </a:cubicBezTo>
                    <a:cubicBezTo>
                      <a:pt x="6" y="251"/>
                      <a:pt x="6" y="251"/>
                      <a:pt x="6" y="251"/>
                    </a:cubicBezTo>
                    <a:cubicBezTo>
                      <a:pt x="7" y="256"/>
                      <a:pt x="11" y="259"/>
                      <a:pt x="15" y="261"/>
                    </a:cubicBezTo>
                    <a:cubicBezTo>
                      <a:pt x="17" y="263"/>
                      <a:pt x="21" y="265"/>
                      <a:pt x="24" y="265"/>
                    </a:cubicBezTo>
                    <a:cubicBezTo>
                      <a:pt x="26" y="265"/>
                      <a:pt x="27" y="264"/>
                      <a:pt x="28" y="263"/>
                    </a:cubicBezTo>
                    <a:cubicBezTo>
                      <a:pt x="30" y="260"/>
                      <a:pt x="29" y="257"/>
                      <a:pt x="29" y="255"/>
                    </a:cubicBezTo>
                    <a:cubicBezTo>
                      <a:pt x="28" y="253"/>
                      <a:pt x="28" y="252"/>
                      <a:pt x="29" y="252"/>
                    </a:cubicBezTo>
                    <a:cubicBezTo>
                      <a:pt x="29" y="252"/>
                      <a:pt x="29" y="252"/>
                      <a:pt x="29" y="252"/>
                    </a:cubicBezTo>
                    <a:cubicBezTo>
                      <a:pt x="30" y="252"/>
                      <a:pt x="31" y="252"/>
                      <a:pt x="32" y="253"/>
                    </a:cubicBezTo>
                    <a:cubicBezTo>
                      <a:pt x="32" y="253"/>
                      <a:pt x="33" y="254"/>
                      <a:pt x="33" y="255"/>
                    </a:cubicBezTo>
                    <a:cubicBezTo>
                      <a:pt x="33" y="256"/>
                      <a:pt x="34" y="257"/>
                      <a:pt x="34" y="258"/>
                    </a:cubicBezTo>
                    <a:cubicBezTo>
                      <a:pt x="35" y="260"/>
                      <a:pt x="36" y="261"/>
                      <a:pt x="37" y="261"/>
                    </a:cubicBezTo>
                    <a:cubicBezTo>
                      <a:pt x="33" y="263"/>
                      <a:pt x="31" y="268"/>
                      <a:pt x="32" y="273"/>
                    </a:cubicBezTo>
                    <a:cubicBezTo>
                      <a:pt x="33" y="275"/>
                      <a:pt x="35" y="279"/>
                      <a:pt x="37" y="281"/>
                    </a:cubicBezTo>
                    <a:cubicBezTo>
                      <a:pt x="39" y="282"/>
                      <a:pt x="40" y="283"/>
                      <a:pt x="42" y="283"/>
                    </a:cubicBezTo>
                    <a:cubicBezTo>
                      <a:pt x="43" y="283"/>
                      <a:pt x="44" y="284"/>
                      <a:pt x="44" y="284"/>
                    </a:cubicBezTo>
                    <a:cubicBezTo>
                      <a:pt x="44" y="284"/>
                      <a:pt x="44" y="285"/>
                      <a:pt x="44" y="286"/>
                    </a:cubicBezTo>
                    <a:cubicBezTo>
                      <a:pt x="44" y="288"/>
                      <a:pt x="43" y="290"/>
                      <a:pt x="44" y="292"/>
                    </a:cubicBezTo>
                    <a:cubicBezTo>
                      <a:pt x="45" y="293"/>
                      <a:pt x="45" y="293"/>
                      <a:pt x="45" y="293"/>
                    </a:cubicBezTo>
                    <a:cubicBezTo>
                      <a:pt x="46" y="294"/>
                      <a:pt x="46" y="294"/>
                      <a:pt x="46" y="294"/>
                    </a:cubicBezTo>
                    <a:cubicBezTo>
                      <a:pt x="48" y="294"/>
                      <a:pt x="50" y="294"/>
                      <a:pt x="51" y="294"/>
                    </a:cubicBezTo>
                    <a:cubicBezTo>
                      <a:pt x="51" y="294"/>
                      <a:pt x="53" y="294"/>
                      <a:pt x="53" y="294"/>
                    </a:cubicBezTo>
                    <a:cubicBezTo>
                      <a:pt x="53" y="294"/>
                      <a:pt x="53" y="295"/>
                      <a:pt x="53" y="295"/>
                    </a:cubicBezTo>
                    <a:cubicBezTo>
                      <a:pt x="54" y="297"/>
                      <a:pt x="55" y="299"/>
                      <a:pt x="58" y="299"/>
                    </a:cubicBezTo>
                    <a:cubicBezTo>
                      <a:pt x="58" y="299"/>
                      <a:pt x="59" y="299"/>
                      <a:pt x="60" y="299"/>
                    </a:cubicBezTo>
                    <a:cubicBezTo>
                      <a:pt x="60" y="299"/>
                      <a:pt x="60" y="299"/>
                      <a:pt x="60" y="299"/>
                    </a:cubicBezTo>
                    <a:cubicBezTo>
                      <a:pt x="61" y="300"/>
                      <a:pt x="61" y="300"/>
                      <a:pt x="61" y="300"/>
                    </a:cubicBezTo>
                    <a:cubicBezTo>
                      <a:pt x="63" y="301"/>
                      <a:pt x="63" y="301"/>
                      <a:pt x="63" y="301"/>
                    </a:cubicBezTo>
                    <a:cubicBezTo>
                      <a:pt x="63" y="301"/>
                      <a:pt x="63" y="301"/>
                      <a:pt x="63" y="301"/>
                    </a:cubicBezTo>
                    <a:cubicBezTo>
                      <a:pt x="63" y="301"/>
                      <a:pt x="63" y="301"/>
                      <a:pt x="63" y="301"/>
                    </a:cubicBezTo>
                    <a:cubicBezTo>
                      <a:pt x="65" y="301"/>
                      <a:pt x="67" y="299"/>
                      <a:pt x="68" y="297"/>
                    </a:cubicBezTo>
                    <a:cubicBezTo>
                      <a:pt x="69" y="297"/>
                      <a:pt x="69" y="296"/>
                      <a:pt x="70" y="296"/>
                    </a:cubicBezTo>
                    <a:cubicBezTo>
                      <a:pt x="70" y="296"/>
                      <a:pt x="70" y="299"/>
                      <a:pt x="70" y="299"/>
                    </a:cubicBezTo>
                    <a:cubicBezTo>
                      <a:pt x="72" y="299"/>
                      <a:pt x="72" y="299"/>
                      <a:pt x="72" y="299"/>
                    </a:cubicBezTo>
                    <a:cubicBezTo>
                      <a:pt x="72" y="300"/>
                      <a:pt x="72" y="300"/>
                      <a:pt x="72" y="300"/>
                    </a:cubicBezTo>
                    <a:cubicBezTo>
                      <a:pt x="71" y="302"/>
                      <a:pt x="71" y="303"/>
                      <a:pt x="72" y="304"/>
                    </a:cubicBezTo>
                    <a:cubicBezTo>
                      <a:pt x="73" y="306"/>
                      <a:pt x="74" y="307"/>
                      <a:pt x="77" y="307"/>
                    </a:cubicBezTo>
                    <a:cubicBezTo>
                      <a:pt x="78" y="307"/>
                      <a:pt x="79" y="306"/>
                      <a:pt x="80" y="305"/>
                    </a:cubicBezTo>
                    <a:cubicBezTo>
                      <a:pt x="81" y="305"/>
                      <a:pt x="81" y="305"/>
                      <a:pt x="81" y="304"/>
                    </a:cubicBezTo>
                    <a:cubicBezTo>
                      <a:pt x="82" y="303"/>
                      <a:pt x="83" y="302"/>
                      <a:pt x="84" y="301"/>
                    </a:cubicBezTo>
                    <a:cubicBezTo>
                      <a:pt x="84" y="300"/>
                      <a:pt x="85" y="299"/>
                      <a:pt x="85" y="298"/>
                    </a:cubicBezTo>
                    <a:cubicBezTo>
                      <a:pt x="85" y="299"/>
                      <a:pt x="86" y="299"/>
                      <a:pt x="87" y="300"/>
                    </a:cubicBezTo>
                    <a:cubicBezTo>
                      <a:pt x="87" y="300"/>
                      <a:pt x="88" y="300"/>
                      <a:pt x="88" y="300"/>
                    </a:cubicBezTo>
                    <a:cubicBezTo>
                      <a:pt x="89" y="300"/>
                      <a:pt x="89" y="300"/>
                      <a:pt x="89" y="301"/>
                    </a:cubicBezTo>
                    <a:cubicBezTo>
                      <a:pt x="88" y="301"/>
                      <a:pt x="88" y="301"/>
                      <a:pt x="88" y="301"/>
                    </a:cubicBezTo>
                    <a:cubicBezTo>
                      <a:pt x="87" y="302"/>
                      <a:pt x="86" y="302"/>
                      <a:pt x="86" y="303"/>
                    </a:cubicBezTo>
                    <a:cubicBezTo>
                      <a:pt x="84" y="305"/>
                      <a:pt x="82" y="308"/>
                      <a:pt x="82" y="312"/>
                    </a:cubicBezTo>
                    <a:cubicBezTo>
                      <a:pt x="81" y="315"/>
                      <a:pt x="78" y="320"/>
                      <a:pt x="81" y="324"/>
                    </a:cubicBezTo>
                    <a:cubicBezTo>
                      <a:pt x="82" y="326"/>
                      <a:pt x="84" y="326"/>
                      <a:pt x="86" y="326"/>
                    </a:cubicBezTo>
                    <a:cubicBezTo>
                      <a:pt x="88" y="326"/>
                      <a:pt x="91" y="325"/>
                      <a:pt x="94" y="322"/>
                    </a:cubicBezTo>
                    <a:cubicBezTo>
                      <a:pt x="100" y="317"/>
                      <a:pt x="106" y="311"/>
                      <a:pt x="110" y="303"/>
                    </a:cubicBezTo>
                    <a:cubicBezTo>
                      <a:pt x="111" y="300"/>
                      <a:pt x="113" y="298"/>
                      <a:pt x="116" y="296"/>
                    </a:cubicBezTo>
                    <a:cubicBezTo>
                      <a:pt x="116" y="295"/>
                      <a:pt x="116" y="295"/>
                      <a:pt x="116" y="295"/>
                    </a:cubicBezTo>
                    <a:cubicBezTo>
                      <a:pt x="118" y="294"/>
                      <a:pt x="120" y="292"/>
                      <a:pt x="122" y="290"/>
                    </a:cubicBezTo>
                    <a:cubicBezTo>
                      <a:pt x="122" y="291"/>
                      <a:pt x="122" y="292"/>
                      <a:pt x="121" y="292"/>
                    </a:cubicBezTo>
                    <a:cubicBezTo>
                      <a:pt x="118" y="294"/>
                      <a:pt x="116" y="296"/>
                      <a:pt x="116" y="300"/>
                    </a:cubicBezTo>
                    <a:cubicBezTo>
                      <a:pt x="116" y="302"/>
                      <a:pt x="116" y="302"/>
                      <a:pt x="116" y="302"/>
                    </a:cubicBezTo>
                    <a:cubicBezTo>
                      <a:pt x="118" y="303"/>
                      <a:pt x="118" y="303"/>
                      <a:pt x="118" y="303"/>
                    </a:cubicBezTo>
                    <a:cubicBezTo>
                      <a:pt x="118" y="303"/>
                      <a:pt x="118" y="303"/>
                      <a:pt x="119" y="304"/>
                    </a:cubicBezTo>
                    <a:cubicBezTo>
                      <a:pt x="118" y="304"/>
                      <a:pt x="118" y="304"/>
                      <a:pt x="118" y="304"/>
                    </a:cubicBezTo>
                    <a:cubicBezTo>
                      <a:pt x="114" y="304"/>
                      <a:pt x="113" y="306"/>
                      <a:pt x="112" y="308"/>
                    </a:cubicBezTo>
                    <a:cubicBezTo>
                      <a:pt x="111" y="308"/>
                      <a:pt x="111" y="309"/>
                      <a:pt x="111" y="309"/>
                    </a:cubicBezTo>
                    <a:cubicBezTo>
                      <a:pt x="110" y="309"/>
                      <a:pt x="110" y="310"/>
                      <a:pt x="109" y="310"/>
                    </a:cubicBezTo>
                    <a:cubicBezTo>
                      <a:pt x="108" y="311"/>
                      <a:pt x="106" y="313"/>
                      <a:pt x="105" y="315"/>
                    </a:cubicBezTo>
                    <a:cubicBezTo>
                      <a:pt x="105" y="316"/>
                      <a:pt x="105" y="321"/>
                      <a:pt x="106" y="323"/>
                    </a:cubicBezTo>
                    <a:cubicBezTo>
                      <a:pt x="106" y="323"/>
                      <a:pt x="105" y="323"/>
                      <a:pt x="105" y="323"/>
                    </a:cubicBezTo>
                    <a:cubicBezTo>
                      <a:pt x="102" y="324"/>
                      <a:pt x="101" y="327"/>
                      <a:pt x="101" y="328"/>
                    </a:cubicBezTo>
                    <a:cubicBezTo>
                      <a:pt x="101" y="329"/>
                      <a:pt x="101" y="329"/>
                      <a:pt x="101" y="329"/>
                    </a:cubicBezTo>
                    <a:cubicBezTo>
                      <a:pt x="101" y="330"/>
                      <a:pt x="100" y="330"/>
                      <a:pt x="100" y="331"/>
                    </a:cubicBezTo>
                    <a:cubicBezTo>
                      <a:pt x="99" y="332"/>
                      <a:pt x="99" y="333"/>
                      <a:pt x="98" y="335"/>
                    </a:cubicBezTo>
                    <a:cubicBezTo>
                      <a:pt x="98" y="336"/>
                      <a:pt x="98" y="337"/>
                      <a:pt x="97" y="338"/>
                    </a:cubicBezTo>
                    <a:cubicBezTo>
                      <a:pt x="97" y="338"/>
                      <a:pt x="97" y="339"/>
                      <a:pt x="96" y="339"/>
                    </a:cubicBezTo>
                    <a:cubicBezTo>
                      <a:pt x="94" y="342"/>
                      <a:pt x="94" y="350"/>
                      <a:pt x="95" y="353"/>
                    </a:cubicBezTo>
                    <a:cubicBezTo>
                      <a:pt x="96" y="356"/>
                      <a:pt x="99" y="357"/>
                      <a:pt x="100" y="357"/>
                    </a:cubicBezTo>
                    <a:cubicBezTo>
                      <a:pt x="102" y="357"/>
                      <a:pt x="104" y="355"/>
                      <a:pt x="105" y="355"/>
                    </a:cubicBezTo>
                    <a:cubicBezTo>
                      <a:pt x="105" y="354"/>
                      <a:pt x="106" y="354"/>
                      <a:pt x="106" y="354"/>
                    </a:cubicBezTo>
                    <a:cubicBezTo>
                      <a:pt x="106" y="355"/>
                      <a:pt x="107" y="357"/>
                      <a:pt x="108" y="358"/>
                    </a:cubicBezTo>
                    <a:cubicBezTo>
                      <a:pt x="108" y="358"/>
                      <a:pt x="108" y="358"/>
                      <a:pt x="109" y="358"/>
                    </a:cubicBezTo>
                    <a:cubicBezTo>
                      <a:pt x="107" y="359"/>
                      <a:pt x="104" y="359"/>
                      <a:pt x="102" y="360"/>
                    </a:cubicBezTo>
                    <a:cubicBezTo>
                      <a:pt x="102" y="360"/>
                      <a:pt x="102" y="360"/>
                      <a:pt x="101" y="360"/>
                    </a:cubicBezTo>
                    <a:cubicBezTo>
                      <a:pt x="99" y="361"/>
                      <a:pt x="95" y="362"/>
                      <a:pt x="94" y="366"/>
                    </a:cubicBezTo>
                    <a:cubicBezTo>
                      <a:pt x="94" y="368"/>
                      <a:pt x="95" y="369"/>
                      <a:pt x="95" y="369"/>
                    </a:cubicBezTo>
                    <a:cubicBezTo>
                      <a:pt x="96" y="370"/>
                      <a:pt x="97" y="371"/>
                      <a:pt x="98" y="371"/>
                    </a:cubicBezTo>
                    <a:cubicBezTo>
                      <a:pt x="98" y="371"/>
                      <a:pt x="98" y="371"/>
                      <a:pt x="98" y="371"/>
                    </a:cubicBezTo>
                    <a:cubicBezTo>
                      <a:pt x="96" y="372"/>
                      <a:pt x="96" y="373"/>
                      <a:pt x="96" y="374"/>
                    </a:cubicBezTo>
                    <a:cubicBezTo>
                      <a:pt x="95" y="373"/>
                      <a:pt x="95" y="373"/>
                      <a:pt x="95" y="373"/>
                    </a:cubicBezTo>
                    <a:cubicBezTo>
                      <a:pt x="94" y="372"/>
                      <a:pt x="93" y="372"/>
                      <a:pt x="92" y="372"/>
                    </a:cubicBezTo>
                    <a:cubicBezTo>
                      <a:pt x="90" y="372"/>
                      <a:pt x="90" y="373"/>
                      <a:pt x="89" y="373"/>
                    </a:cubicBezTo>
                    <a:cubicBezTo>
                      <a:pt x="88" y="373"/>
                      <a:pt x="88" y="373"/>
                      <a:pt x="88" y="373"/>
                    </a:cubicBezTo>
                    <a:cubicBezTo>
                      <a:pt x="87" y="374"/>
                      <a:pt x="87" y="374"/>
                      <a:pt x="86" y="374"/>
                    </a:cubicBezTo>
                    <a:cubicBezTo>
                      <a:pt x="86" y="374"/>
                      <a:pt x="85" y="373"/>
                      <a:pt x="84" y="373"/>
                    </a:cubicBezTo>
                    <a:cubicBezTo>
                      <a:pt x="82" y="373"/>
                      <a:pt x="81" y="373"/>
                      <a:pt x="80" y="373"/>
                    </a:cubicBezTo>
                    <a:cubicBezTo>
                      <a:pt x="79" y="373"/>
                      <a:pt x="79" y="373"/>
                      <a:pt x="79" y="373"/>
                    </a:cubicBezTo>
                    <a:cubicBezTo>
                      <a:pt x="76" y="373"/>
                      <a:pt x="74" y="373"/>
                      <a:pt x="72" y="374"/>
                    </a:cubicBezTo>
                    <a:cubicBezTo>
                      <a:pt x="70" y="374"/>
                      <a:pt x="69" y="374"/>
                      <a:pt x="67" y="374"/>
                    </a:cubicBezTo>
                    <a:cubicBezTo>
                      <a:pt x="66" y="375"/>
                      <a:pt x="62" y="375"/>
                      <a:pt x="61" y="378"/>
                    </a:cubicBezTo>
                    <a:cubicBezTo>
                      <a:pt x="60" y="379"/>
                      <a:pt x="60" y="380"/>
                      <a:pt x="60" y="380"/>
                    </a:cubicBezTo>
                    <a:cubicBezTo>
                      <a:pt x="60" y="380"/>
                      <a:pt x="60" y="381"/>
                      <a:pt x="60" y="381"/>
                    </a:cubicBezTo>
                    <a:cubicBezTo>
                      <a:pt x="60" y="381"/>
                      <a:pt x="59" y="381"/>
                      <a:pt x="59" y="381"/>
                    </a:cubicBezTo>
                    <a:cubicBezTo>
                      <a:pt x="58" y="382"/>
                      <a:pt x="58" y="382"/>
                      <a:pt x="57" y="382"/>
                    </a:cubicBezTo>
                    <a:cubicBezTo>
                      <a:pt x="56" y="384"/>
                      <a:pt x="54" y="386"/>
                      <a:pt x="56" y="389"/>
                    </a:cubicBezTo>
                    <a:cubicBezTo>
                      <a:pt x="57" y="393"/>
                      <a:pt x="60" y="394"/>
                      <a:pt x="64" y="394"/>
                    </a:cubicBezTo>
                    <a:cubicBezTo>
                      <a:pt x="66" y="394"/>
                      <a:pt x="68" y="394"/>
                      <a:pt x="69" y="394"/>
                    </a:cubicBezTo>
                    <a:cubicBezTo>
                      <a:pt x="70" y="394"/>
                      <a:pt x="70" y="394"/>
                      <a:pt x="71" y="394"/>
                    </a:cubicBezTo>
                    <a:cubicBezTo>
                      <a:pt x="73" y="393"/>
                      <a:pt x="76" y="393"/>
                      <a:pt x="78" y="393"/>
                    </a:cubicBezTo>
                    <a:cubicBezTo>
                      <a:pt x="79" y="393"/>
                      <a:pt x="81" y="393"/>
                      <a:pt x="82" y="393"/>
                    </a:cubicBezTo>
                    <a:cubicBezTo>
                      <a:pt x="84" y="393"/>
                      <a:pt x="86" y="394"/>
                      <a:pt x="88" y="394"/>
                    </a:cubicBezTo>
                    <a:cubicBezTo>
                      <a:pt x="88" y="394"/>
                      <a:pt x="88" y="394"/>
                      <a:pt x="89" y="394"/>
                    </a:cubicBezTo>
                    <a:cubicBezTo>
                      <a:pt x="87" y="395"/>
                      <a:pt x="86" y="395"/>
                      <a:pt x="85" y="395"/>
                    </a:cubicBezTo>
                    <a:cubicBezTo>
                      <a:pt x="85" y="396"/>
                      <a:pt x="85" y="396"/>
                      <a:pt x="85" y="396"/>
                    </a:cubicBezTo>
                    <a:cubicBezTo>
                      <a:pt x="83" y="396"/>
                      <a:pt x="79" y="398"/>
                      <a:pt x="78" y="402"/>
                    </a:cubicBezTo>
                    <a:cubicBezTo>
                      <a:pt x="78" y="401"/>
                      <a:pt x="77" y="401"/>
                      <a:pt x="76" y="400"/>
                    </a:cubicBezTo>
                    <a:cubicBezTo>
                      <a:pt x="76" y="400"/>
                      <a:pt x="75" y="399"/>
                      <a:pt x="74" y="399"/>
                    </a:cubicBezTo>
                    <a:cubicBezTo>
                      <a:pt x="72" y="397"/>
                      <a:pt x="69" y="395"/>
                      <a:pt x="65" y="395"/>
                    </a:cubicBezTo>
                    <a:cubicBezTo>
                      <a:pt x="65" y="395"/>
                      <a:pt x="64" y="395"/>
                      <a:pt x="63" y="396"/>
                    </a:cubicBezTo>
                    <a:cubicBezTo>
                      <a:pt x="60" y="397"/>
                      <a:pt x="59" y="399"/>
                      <a:pt x="58" y="400"/>
                    </a:cubicBezTo>
                    <a:cubicBezTo>
                      <a:pt x="58" y="401"/>
                      <a:pt x="57" y="402"/>
                      <a:pt x="57" y="402"/>
                    </a:cubicBezTo>
                    <a:cubicBezTo>
                      <a:pt x="56" y="402"/>
                      <a:pt x="56" y="403"/>
                      <a:pt x="55" y="403"/>
                    </a:cubicBezTo>
                    <a:cubicBezTo>
                      <a:pt x="53" y="403"/>
                      <a:pt x="51" y="403"/>
                      <a:pt x="50" y="404"/>
                    </a:cubicBezTo>
                    <a:cubicBezTo>
                      <a:pt x="48" y="406"/>
                      <a:pt x="47" y="409"/>
                      <a:pt x="47" y="411"/>
                    </a:cubicBezTo>
                    <a:cubicBezTo>
                      <a:pt x="47" y="412"/>
                      <a:pt x="47" y="413"/>
                      <a:pt x="46" y="413"/>
                    </a:cubicBezTo>
                    <a:cubicBezTo>
                      <a:pt x="46" y="413"/>
                      <a:pt x="46" y="413"/>
                      <a:pt x="46" y="413"/>
                    </a:cubicBezTo>
                    <a:cubicBezTo>
                      <a:pt x="45" y="414"/>
                      <a:pt x="43" y="416"/>
                      <a:pt x="45" y="419"/>
                    </a:cubicBezTo>
                    <a:cubicBezTo>
                      <a:pt x="45" y="421"/>
                      <a:pt x="47" y="422"/>
                      <a:pt x="51" y="423"/>
                    </a:cubicBezTo>
                    <a:cubicBezTo>
                      <a:pt x="51" y="423"/>
                      <a:pt x="51" y="423"/>
                      <a:pt x="52" y="423"/>
                    </a:cubicBezTo>
                    <a:cubicBezTo>
                      <a:pt x="53" y="424"/>
                      <a:pt x="54" y="424"/>
                      <a:pt x="55" y="424"/>
                    </a:cubicBezTo>
                    <a:cubicBezTo>
                      <a:pt x="55" y="425"/>
                      <a:pt x="56" y="425"/>
                      <a:pt x="56" y="425"/>
                    </a:cubicBezTo>
                    <a:cubicBezTo>
                      <a:pt x="56" y="425"/>
                      <a:pt x="56" y="425"/>
                      <a:pt x="56" y="425"/>
                    </a:cubicBezTo>
                    <a:cubicBezTo>
                      <a:pt x="56" y="425"/>
                      <a:pt x="56" y="425"/>
                      <a:pt x="56" y="425"/>
                    </a:cubicBezTo>
                    <a:cubicBezTo>
                      <a:pt x="55" y="425"/>
                      <a:pt x="55" y="425"/>
                      <a:pt x="54" y="425"/>
                    </a:cubicBezTo>
                    <a:cubicBezTo>
                      <a:pt x="54" y="425"/>
                      <a:pt x="53" y="425"/>
                      <a:pt x="52" y="425"/>
                    </a:cubicBezTo>
                    <a:cubicBezTo>
                      <a:pt x="52" y="425"/>
                      <a:pt x="52" y="425"/>
                      <a:pt x="51" y="425"/>
                    </a:cubicBezTo>
                    <a:cubicBezTo>
                      <a:pt x="48" y="425"/>
                      <a:pt x="47" y="426"/>
                      <a:pt x="46" y="428"/>
                    </a:cubicBezTo>
                    <a:cubicBezTo>
                      <a:pt x="46" y="430"/>
                      <a:pt x="48" y="432"/>
                      <a:pt x="52" y="433"/>
                    </a:cubicBezTo>
                    <a:cubicBezTo>
                      <a:pt x="52" y="433"/>
                      <a:pt x="52" y="433"/>
                      <a:pt x="53" y="433"/>
                    </a:cubicBezTo>
                    <a:cubicBezTo>
                      <a:pt x="53" y="433"/>
                      <a:pt x="53" y="433"/>
                      <a:pt x="53" y="433"/>
                    </a:cubicBezTo>
                    <a:cubicBezTo>
                      <a:pt x="53" y="433"/>
                      <a:pt x="53" y="434"/>
                      <a:pt x="54" y="434"/>
                    </a:cubicBezTo>
                    <a:cubicBezTo>
                      <a:pt x="54" y="434"/>
                      <a:pt x="55" y="436"/>
                      <a:pt x="57" y="436"/>
                    </a:cubicBezTo>
                    <a:cubicBezTo>
                      <a:pt x="58" y="436"/>
                      <a:pt x="60" y="437"/>
                      <a:pt x="62" y="437"/>
                    </a:cubicBezTo>
                    <a:cubicBezTo>
                      <a:pt x="64" y="437"/>
                      <a:pt x="65" y="436"/>
                      <a:pt x="67" y="435"/>
                    </a:cubicBezTo>
                    <a:cubicBezTo>
                      <a:pt x="67" y="435"/>
                      <a:pt x="67" y="434"/>
                      <a:pt x="68" y="434"/>
                    </a:cubicBezTo>
                    <a:cubicBezTo>
                      <a:pt x="68" y="434"/>
                      <a:pt x="68" y="434"/>
                      <a:pt x="68" y="434"/>
                    </a:cubicBezTo>
                    <a:cubicBezTo>
                      <a:pt x="68" y="434"/>
                      <a:pt x="68" y="434"/>
                      <a:pt x="69" y="434"/>
                    </a:cubicBezTo>
                    <a:cubicBezTo>
                      <a:pt x="69" y="434"/>
                      <a:pt x="70" y="434"/>
                      <a:pt x="71" y="433"/>
                    </a:cubicBezTo>
                    <a:cubicBezTo>
                      <a:pt x="73" y="433"/>
                      <a:pt x="74" y="432"/>
                      <a:pt x="75" y="432"/>
                    </a:cubicBezTo>
                    <a:cubicBezTo>
                      <a:pt x="76" y="431"/>
                      <a:pt x="77" y="431"/>
                      <a:pt x="78" y="431"/>
                    </a:cubicBezTo>
                    <a:cubicBezTo>
                      <a:pt x="78" y="431"/>
                      <a:pt x="78" y="431"/>
                      <a:pt x="79" y="431"/>
                    </a:cubicBezTo>
                    <a:cubicBezTo>
                      <a:pt x="79" y="432"/>
                      <a:pt x="79" y="432"/>
                      <a:pt x="80" y="432"/>
                    </a:cubicBezTo>
                    <a:cubicBezTo>
                      <a:pt x="79" y="433"/>
                      <a:pt x="75" y="434"/>
                      <a:pt x="74" y="435"/>
                    </a:cubicBezTo>
                    <a:cubicBezTo>
                      <a:pt x="73" y="435"/>
                      <a:pt x="73" y="435"/>
                      <a:pt x="72" y="435"/>
                    </a:cubicBezTo>
                    <a:cubicBezTo>
                      <a:pt x="70" y="435"/>
                      <a:pt x="68" y="436"/>
                      <a:pt x="67" y="437"/>
                    </a:cubicBezTo>
                    <a:cubicBezTo>
                      <a:pt x="65" y="438"/>
                      <a:pt x="64" y="440"/>
                      <a:pt x="64" y="441"/>
                    </a:cubicBezTo>
                    <a:cubicBezTo>
                      <a:pt x="64" y="442"/>
                      <a:pt x="64" y="443"/>
                      <a:pt x="64" y="443"/>
                    </a:cubicBezTo>
                    <a:cubicBezTo>
                      <a:pt x="63" y="443"/>
                      <a:pt x="63" y="443"/>
                      <a:pt x="62" y="444"/>
                    </a:cubicBezTo>
                    <a:cubicBezTo>
                      <a:pt x="61" y="444"/>
                      <a:pt x="59" y="445"/>
                      <a:pt x="58" y="447"/>
                    </a:cubicBezTo>
                    <a:cubicBezTo>
                      <a:pt x="57" y="450"/>
                      <a:pt x="58" y="455"/>
                      <a:pt x="61" y="457"/>
                    </a:cubicBezTo>
                    <a:cubicBezTo>
                      <a:pt x="61" y="457"/>
                      <a:pt x="61" y="457"/>
                      <a:pt x="61" y="457"/>
                    </a:cubicBezTo>
                    <a:cubicBezTo>
                      <a:pt x="61" y="457"/>
                      <a:pt x="61" y="457"/>
                      <a:pt x="61" y="457"/>
                    </a:cubicBezTo>
                    <a:cubicBezTo>
                      <a:pt x="59" y="457"/>
                      <a:pt x="58" y="457"/>
                      <a:pt x="57" y="457"/>
                    </a:cubicBezTo>
                    <a:cubicBezTo>
                      <a:pt x="55" y="458"/>
                      <a:pt x="54" y="460"/>
                      <a:pt x="54" y="461"/>
                    </a:cubicBezTo>
                    <a:cubicBezTo>
                      <a:pt x="53" y="461"/>
                      <a:pt x="53" y="461"/>
                      <a:pt x="53" y="461"/>
                    </a:cubicBezTo>
                    <a:cubicBezTo>
                      <a:pt x="53" y="461"/>
                      <a:pt x="52" y="461"/>
                      <a:pt x="52" y="461"/>
                    </a:cubicBezTo>
                    <a:cubicBezTo>
                      <a:pt x="52" y="461"/>
                      <a:pt x="52" y="460"/>
                      <a:pt x="52" y="460"/>
                    </a:cubicBezTo>
                    <a:cubicBezTo>
                      <a:pt x="51" y="458"/>
                      <a:pt x="49" y="456"/>
                      <a:pt x="47" y="456"/>
                    </a:cubicBezTo>
                    <a:cubicBezTo>
                      <a:pt x="44" y="456"/>
                      <a:pt x="43" y="458"/>
                      <a:pt x="42" y="461"/>
                    </a:cubicBezTo>
                    <a:cubicBezTo>
                      <a:pt x="41" y="464"/>
                      <a:pt x="42" y="468"/>
                      <a:pt x="43" y="470"/>
                    </a:cubicBezTo>
                    <a:cubicBezTo>
                      <a:pt x="45" y="474"/>
                      <a:pt x="47" y="476"/>
                      <a:pt x="50" y="476"/>
                    </a:cubicBezTo>
                    <a:cubicBezTo>
                      <a:pt x="52" y="476"/>
                      <a:pt x="53" y="475"/>
                      <a:pt x="55" y="474"/>
                    </a:cubicBezTo>
                    <a:cubicBezTo>
                      <a:pt x="58" y="473"/>
                      <a:pt x="60" y="473"/>
                      <a:pt x="65" y="472"/>
                    </a:cubicBezTo>
                    <a:cubicBezTo>
                      <a:pt x="69" y="472"/>
                      <a:pt x="73" y="472"/>
                      <a:pt x="77" y="470"/>
                    </a:cubicBezTo>
                    <a:cubicBezTo>
                      <a:pt x="79" y="469"/>
                      <a:pt x="80" y="468"/>
                      <a:pt x="81" y="467"/>
                    </a:cubicBezTo>
                    <a:cubicBezTo>
                      <a:pt x="82" y="466"/>
                      <a:pt x="84" y="465"/>
                      <a:pt x="85" y="465"/>
                    </a:cubicBezTo>
                    <a:cubicBezTo>
                      <a:pt x="85" y="464"/>
                      <a:pt x="86" y="464"/>
                      <a:pt x="86" y="464"/>
                    </a:cubicBezTo>
                    <a:cubicBezTo>
                      <a:pt x="88" y="464"/>
                      <a:pt x="88" y="464"/>
                      <a:pt x="88" y="464"/>
                    </a:cubicBezTo>
                    <a:cubicBezTo>
                      <a:pt x="89" y="464"/>
                      <a:pt x="90" y="464"/>
                      <a:pt x="91" y="464"/>
                    </a:cubicBezTo>
                    <a:cubicBezTo>
                      <a:pt x="92" y="464"/>
                      <a:pt x="93" y="463"/>
                      <a:pt x="94" y="462"/>
                    </a:cubicBezTo>
                    <a:cubicBezTo>
                      <a:pt x="94" y="462"/>
                      <a:pt x="94" y="462"/>
                      <a:pt x="94" y="462"/>
                    </a:cubicBezTo>
                    <a:cubicBezTo>
                      <a:pt x="93" y="464"/>
                      <a:pt x="94" y="466"/>
                      <a:pt x="95" y="467"/>
                    </a:cubicBezTo>
                    <a:cubicBezTo>
                      <a:pt x="95" y="467"/>
                      <a:pt x="97" y="468"/>
                      <a:pt x="98" y="468"/>
                    </a:cubicBezTo>
                    <a:cubicBezTo>
                      <a:pt x="101" y="468"/>
                      <a:pt x="106" y="465"/>
                      <a:pt x="107" y="464"/>
                    </a:cubicBezTo>
                    <a:cubicBezTo>
                      <a:pt x="107" y="464"/>
                      <a:pt x="108" y="463"/>
                      <a:pt x="108" y="463"/>
                    </a:cubicBezTo>
                    <a:cubicBezTo>
                      <a:pt x="112" y="460"/>
                      <a:pt x="116" y="458"/>
                      <a:pt x="115" y="455"/>
                    </a:cubicBezTo>
                    <a:cubicBezTo>
                      <a:pt x="115" y="454"/>
                      <a:pt x="115" y="453"/>
                      <a:pt x="115" y="452"/>
                    </a:cubicBezTo>
                    <a:cubicBezTo>
                      <a:pt x="115" y="452"/>
                      <a:pt x="115" y="452"/>
                      <a:pt x="116" y="452"/>
                    </a:cubicBezTo>
                    <a:cubicBezTo>
                      <a:pt x="116" y="452"/>
                      <a:pt x="116" y="452"/>
                      <a:pt x="116" y="452"/>
                    </a:cubicBezTo>
                    <a:cubicBezTo>
                      <a:pt x="117" y="452"/>
                      <a:pt x="117" y="452"/>
                      <a:pt x="117" y="452"/>
                    </a:cubicBezTo>
                    <a:cubicBezTo>
                      <a:pt x="121" y="452"/>
                      <a:pt x="121" y="446"/>
                      <a:pt x="121" y="445"/>
                    </a:cubicBezTo>
                    <a:cubicBezTo>
                      <a:pt x="122" y="439"/>
                      <a:pt x="118" y="433"/>
                      <a:pt x="113" y="429"/>
                    </a:cubicBezTo>
                    <a:cubicBezTo>
                      <a:pt x="113" y="429"/>
                      <a:pt x="114" y="429"/>
                      <a:pt x="114" y="429"/>
                    </a:cubicBezTo>
                    <a:cubicBezTo>
                      <a:pt x="115" y="430"/>
                      <a:pt x="117" y="430"/>
                      <a:pt x="118" y="430"/>
                    </a:cubicBezTo>
                    <a:cubicBezTo>
                      <a:pt x="118" y="430"/>
                      <a:pt x="118" y="430"/>
                      <a:pt x="118" y="430"/>
                    </a:cubicBezTo>
                    <a:cubicBezTo>
                      <a:pt x="127" y="430"/>
                      <a:pt x="136" y="419"/>
                      <a:pt x="140" y="412"/>
                    </a:cubicBezTo>
                    <a:cubicBezTo>
                      <a:pt x="141" y="411"/>
                      <a:pt x="141" y="411"/>
                      <a:pt x="141" y="411"/>
                    </a:cubicBezTo>
                    <a:cubicBezTo>
                      <a:pt x="144" y="407"/>
                      <a:pt x="147" y="404"/>
                      <a:pt x="150" y="400"/>
                    </a:cubicBezTo>
                    <a:cubicBezTo>
                      <a:pt x="152" y="399"/>
                      <a:pt x="153" y="397"/>
                      <a:pt x="155" y="395"/>
                    </a:cubicBezTo>
                    <a:cubicBezTo>
                      <a:pt x="156" y="393"/>
                      <a:pt x="158" y="391"/>
                      <a:pt x="160" y="390"/>
                    </a:cubicBezTo>
                    <a:cubicBezTo>
                      <a:pt x="161" y="389"/>
                      <a:pt x="162" y="388"/>
                      <a:pt x="163" y="387"/>
                    </a:cubicBezTo>
                    <a:cubicBezTo>
                      <a:pt x="163" y="387"/>
                      <a:pt x="163" y="387"/>
                      <a:pt x="163" y="387"/>
                    </a:cubicBezTo>
                    <a:cubicBezTo>
                      <a:pt x="163" y="387"/>
                      <a:pt x="163" y="387"/>
                      <a:pt x="163" y="387"/>
                    </a:cubicBezTo>
                    <a:cubicBezTo>
                      <a:pt x="164" y="389"/>
                      <a:pt x="164" y="390"/>
                      <a:pt x="165" y="391"/>
                    </a:cubicBezTo>
                    <a:cubicBezTo>
                      <a:pt x="161" y="392"/>
                      <a:pt x="158" y="393"/>
                      <a:pt x="156" y="396"/>
                    </a:cubicBezTo>
                    <a:cubicBezTo>
                      <a:pt x="155" y="398"/>
                      <a:pt x="154" y="400"/>
                      <a:pt x="153" y="401"/>
                    </a:cubicBezTo>
                    <a:cubicBezTo>
                      <a:pt x="152" y="404"/>
                      <a:pt x="151" y="406"/>
                      <a:pt x="150" y="408"/>
                    </a:cubicBezTo>
                    <a:cubicBezTo>
                      <a:pt x="149" y="409"/>
                      <a:pt x="149" y="409"/>
                      <a:pt x="149" y="409"/>
                    </a:cubicBezTo>
                    <a:cubicBezTo>
                      <a:pt x="147" y="410"/>
                      <a:pt x="146" y="411"/>
                      <a:pt x="145" y="414"/>
                    </a:cubicBezTo>
                    <a:cubicBezTo>
                      <a:pt x="145" y="415"/>
                      <a:pt x="145" y="415"/>
                      <a:pt x="145" y="415"/>
                    </a:cubicBezTo>
                    <a:cubicBezTo>
                      <a:pt x="145" y="415"/>
                      <a:pt x="144" y="415"/>
                      <a:pt x="144" y="416"/>
                    </a:cubicBezTo>
                    <a:cubicBezTo>
                      <a:pt x="143" y="415"/>
                      <a:pt x="143" y="415"/>
                      <a:pt x="143" y="415"/>
                    </a:cubicBezTo>
                    <a:cubicBezTo>
                      <a:pt x="142" y="415"/>
                      <a:pt x="142" y="415"/>
                      <a:pt x="142" y="415"/>
                    </a:cubicBezTo>
                    <a:cubicBezTo>
                      <a:pt x="141" y="415"/>
                      <a:pt x="141" y="415"/>
                      <a:pt x="141" y="415"/>
                    </a:cubicBezTo>
                    <a:cubicBezTo>
                      <a:pt x="138" y="415"/>
                      <a:pt x="136" y="418"/>
                      <a:pt x="133" y="421"/>
                    </a:cubicBezTo>
                    <a:cubicBezTo>
                      <a:pt x="133" y="422"/>
                      <a:pt x="132" y="423"/>
                      <a:pt x="131" y="424"/>
                    </a:cubicBezTo>
                    <a:cubicBezTo>
                      <a:pt x="131" y="424"/>
                      <a:pt x="131" y="424"/>
                      <a:pt x="131" y="424"/>
                    </a:cubicBezTo>
                    <a:cubicBezTo>
                      <a:pt x="128" y="426"/>
                      <a:pt x="121" y="431"/>
                      <a:pt x="125" y="436"/>
                    </a:cubicBezTo>
                    <a:cubicBezTo>
                      <a:pt x="125" y="437"/>
                      <a:pt x="127" y="438"/>
                      <a:pt x="128" y="438"/>
                    </a:cubicBezTo>
                    <a:cubicBezTo>
                      <a:pt x="129" y="438"/>
                      <a:pt x="132" y="438"/>
                      <a:pt x="137" y="432"/>
                    </a:cubicBezTo>
                    <a:cubicBezTo>
                      <a:pt x="139" y="431"/>
                      <a:pt x="143" y="426"/>
                      <a:pt x="144" y="422"/>
                    </a:cubicBezTo>
                    <a:cubicBezTo>
                      <a:pt x="144" y="422"/>
                      <a:pt x="145" y="423"/>
                      <a:pt x="147" y="424"/>
                    </a:cubicBezTo>
                    <a:cubicBezTo>
                      <a:pt x="147" y="424"/>
                      <a:pt x="147" y="424"/>
                      <a:pt x="147" y="424"/>
                    </a:cubicBezTo>
                    <a:cubicBezTo>
                      <a:pt x="146" y="425"/>
                      <a:pt x="146" y="425"/>
                      <a:pt x="146" y="426"/>
                    </a:cubicBezTo>
                    <a:cubicBezTo>
                      <a:pt x="145" y="426"/>
                      <a:pt x="145" y="426"/>
                      <a:pt x="145" y="427"/>
                    </a:cubicBezTo>
                    <a:cubicBezTo>
                      <a:pt x="145" y="427"/>
                      <a:pt x="144" y="427"/>
                      <a:pt x="144" y="427"/>
                    </a:cubicBezTo>
                    <a:cubicBezTo>
                      <a:pt x="143" y="428"/>
                      <a:pt x="141" y="428"/>
                      <a:pt x="141" y="431"/>
                    </a:cubicBezTo>
                    <a:cubicBezTo>
                      <a:pt x="140" y="433"/>
                      <a:pt x="141" y="434"/>
                      <a:pt x="142" y="435"/>
                    </a:cubicBezTo>
                    <a:cubicBezTo>
                      <a:pt x="142" y="436"/>
                      <a:pt x="143" y="436"/>
                      <a:pt x="143" y="437"/>
                    </a:cubicBezTo>
                    <a:cubicBezTo>
                      <a:pt x="142" y="437"/>
                      <a:pt x="142" y="437"/>
                      <a:pt x="141" y="437"/>
                    </a:cubicBezTo>
                    <a:cubicBezTo>
                      <a:pt x="137" y="438"/>
                      <a:pt x="137" y="441"/>
                      <a:pt x="136" y="443"/>
                    </a:cubicBezTo>
                    <a:cubicBezTo>
                      <a:pt x="136" y="443"/>
                      <a:pt x="136" y="443"/>
                      <a:pt x="136" y="443"/>
                    </a:cubicBezTo>
                    <a:cubicBezTo>
                      <a:pt x="135" y="443"/>
                      <a:pt x="134" y="443"/>
                      <a:pt x="133" y="443"/>
                    </a:cubicBezTo>
                    <a:cubicBezTo>
                      <a:pt x="131" y="443"/>
                      <a:pt x="128" y="445"/>
                      <a:pt x="126" y="447"/>
                    </a:cubicBezTo>
                    <a:cubicBezTo>
                      <a:pt x="125" y="449"/>
                      <a:pt x="125" y="451"/>
                      <a:pt x="126" y="452"/>
                    </a:cubicBezTo>
                    <a:cubicBezTo>
                      <a:pt x="128" y="454"/>
                      <a:pt x="130" y="454"/>
                      <a:pt x="131" y="454"/>
                    </a:cubicBezTo>
                    <a:cubicBezTo>
                      <a:pt x="131" y="455"/>
                      <a:pt x="131" y="455"/>
                      <a:pt x="131" y="455"/>
                    </a:cubicBezTo>
                    <a:cubicBezTo>
                      <a:pt x="130" y="455"/>
                      <a:pt x="130" y="455"/>
                      <a:pt x="130" y="455"/>
                    </a:cubicBezTo>
                    <a:cubicBezTo>
                      <a:pt x="129" y="457"/>
                      <a:pt x="128" y="458"/>
                      <a:pt x="127" y="460"/>
                    </a:cubicBezTo>
                    <a:cubicBezTo>
                      <a:pt x="127" y="461"/>
                      <a:pt x="126" y="462"/>
                      <a:pt x="126" y="462"/>
                    </a:cubicBezTo>
                    <a:cubicBezTo>
                      <a:pt x="125" y="463"/>
                      <a:pt x="125" y="463"/>
                      <a:pt x="125" y="463"/>
                    </a:cubicBezTo>
                    <a:cubicBezTo>
                      <a:pt x="125" y="464"/>
                      <a:pt x="124" y="464"/>
                      <a:pt x="124" y="465"/>
                    </a:cubicBezTo>
                    <a:cubicBezTo>
                      <a:pt x="124" y="465"/>
                      <a:pt x="124" y="465"/>
                      <a:pt x="124" y="465"/>
                    </a:cubicBezTo>
                    <a:cubicBezTo>
                      <a:pt x="124" y="462"/>
                      <a:pt x="124" y="462"/>
                      <a:pt x="124" y="462"/>
                    </a:cubicBezTo>
                    <a:cubicBezTo>
                      <a:pt x="120" y="462"/>
                      <a:pt x="117" y="465"/>
                      <a:pt x="117" y="469"/>
                    </a:cubicBezTo>
                    <a:cubicBezTo>
                      <a:pt x="117" y="470"/>
                      <a:pt x="118" y="471"/>
                      <a:pt x="118" y="471"/>
                    </a:cubicBezTo>
                    <a:cubicBezTo>
                      <a:pt x="118" y="472"/>
                      <a:pt x="118" y="472"/>
                      <a:pt x="118" y="472"/>
                    </a:cubicBezTo>
                    <a:cubicBezTo>
                      <a:pt x="117" y="473"/>
                      <a:pt x="117" y="475"/>
                      <a:pt x="118" y="477"/>
                    </a:cubicBezTo>
                    <a:cubicBezTo>
                      <a:pt x="118" y="477"/>
                      <a:pt x="118" y="478"/>
                      <a:pt x="117" y="478"/>
                    </a:cubicBezTo>
                    <a:cubicBezTo>
                      <a:pt x="115" y="479"/>
                      <a:pt x="115" y="481"/>
                      <a:pt x="115" y="483"/>
                    </a:cubicBezTo>
                    <a:cubicBezTo>
                      <a:pt x="116" y="488"/>
                      <a:pt x="119" y="489"/>
                      <a:pt x="120" y="489"/>
                    </a:cubicBezTo>
                    <a:cubicBezTo>
                      <a:pt x="121" y="489"/>
                      <a:pt x="122" y="488"/>
                      <a:pt x="123" y="487"/>
                    </a:cubicBezTo>
                    <a:cubicBezTo>
                      <a:pt x="124" y="487"/>
                      <a:pt x="124" y="487"/>
                      <a:pt x="124" y="487"/>
                    </a:cubicBezTo>
                    <a:cubicBezTo>
                      <a:pt x="123" y="488"/>
                      <a:pt x="123" y="489"/>
                      <a:pt x="123" y="489"/>
                    </a:cubicBezTo>
                    <a:cubicBezTo>
                      <a:pt x="124" y="491"/>
                      <a:pt x="125" y="493"/>
                      <a:pt x="127" y="494"/>
                    </a:cubicBezTo>
                    <a:cubicBezTo>
                      <a:pt x="128" y="495"/>
                      <a:pt x="128" y="495"/>
                      <a:pt x="129" y="495"/>
                    </a:cubicBezTo>
                    <a:cubicBezTo>
                      <a:pt x="129" y="495"/>
                      <a:pt x="129" y="495"/>
                      <a:pt x="129" y="495"/>
                    </a:cubicBezTo>
                    <a:cubicBezTo>
                      <a:pt x="127" y="497"/>
                      <a:pt x="126" y="499"/>
                      <a:pt x="126" y="502"/>
                    </a:cubicBezTo>
                    <a:cubicBezTo>
                      <a:pt x="126" y="505"/>
                      <a:pt x="127" y="506"/>
                      <a:pt x="127" y="508"/>
                    </a:cubicBezTo>
                    <a:cubicBezTo>
                      <a:pt x="127" y="508"/>
                      <a:pt x="127" y="508"/>
                      <a:pt x="126" y="508"/>
                    </a:cubicBezTo>
                    <a:cubicBezTo>
                      <a:pt x="126" y="509"/>
                      <a:pt x="126" y="509"/>
                      <a:pt x="126" y="509"/>
                    </a:cubicBezTo>
                    <a:cubicBezTo>
                      <a:pt x="123" y="509"/>
                      <a:pt x="123" y="510"/>
                      <a:pt x="121" y="512"/>
                    </a:cubicBezTo>
                    <a:cubicBezTo>
                      <a:pt x="120" y="513"/>
                      <a:pt x="120" y="513"/>
                      <a:pt x="120" y="514"/>
                    </a:cubicBezTo>
                    <a:cubicBezTo>
                      <a:pt x="118" y="516"/>
                      <a:pt x="116" y="518"/>
                      <a:pt x="116" y="522"/>
                    </a:cubicBezTo>
                    <a:cubicBezTo>
                      <a:pt x="116" y="524"/>
                      <a:pt x="116" y="524"/>
                      <a:pt x="116" y="524"/>
                    </a:cubicBezTo>
                    <a:cubicBezTo>
                      <a:pt x="118" y="525"/>
                      <a:pt x="118" y="525"/>
                      <a:pt x="118" y="525"/>
                    </a:cubicBezTo>
                    <a:cubicBezTo>
                      <a:pt x="119" y="525"/>
                      <a:pt x="119" y="525"/>
                      <a:pt x="120" y="525"/>
                    </a:cubicBezTo>
                    <a:cubicBezTo>
                      <a:pt x="121" y="525"/>
                      <a:pt x="122" y="524"/>
                      <a:pt x="123" y="524"/>
                    </a:cubicBezTo>
                    <a:cubicBezTo>
                      <a:pt x="123" y="524"/>
                      <a:pt x="124" y="524"/>
                      <a:pt x="124" y="524"/>
                    </a:cubicBezTo>
                    <a:cubicBezTo>
                      <a:pt x="124" y="524"/>
                      <a:pt x="124" y="524"/>
                      <a:pt x="124" y="524"/>
                    </a:cubicBezTo>
                    <a:cubicBezTo>
                      <a:pt x="124" y="524"/>
                      <a:pt x="124" y="526"/>
                      <a:pt x="122" y="527"/>
                    </a:cubicBezTo>
                    <a:cubicBezTo>
                      <a:pt x="121" y="528"/>
                      <a:pt x="120" y="529"/>
                      <a:pt x="120" y="530"/>
                    </a:cubicBezTo>
                    <a:cubicBezTo>
                      <a:pt x="118" y="532"/>
                      <a:pt x="117" y="533"/>
                      <a:pt x="116" y="534"/>
                    </a:cubicBezTo>
                    <a:cubicBezTo>
                      <a:pt x="115" y="535"/>
                      <a:pt x="115" y="535"/>
                      <a:pt x="115" y="535"/>
                    </a:cubicBezTo>
                    <a:cubicBezTo>
                      <a:pt x="113" y="536"/>
                      <a:pt x="110" y="539"/>
                      <a:pt x="111" y="544"/>
                    </a:cubicBezTo>
                    <a:cubicBezTo>
                      <a:pt x="112" y="546"/>
                      <a:pt x="115" y="548"/>
                      <a:pt x="118" y="548"/>
                    </a:cubicBezTo>
                    <a:cubicBezTo>
                      <a:pt x="118" y="548"/>
                      <a:pt x="118" y="548"/>
                      <a:pt x="119" y="548"/>
                    </a:cubicBezTo>
                    <a:cubicBezTo>
                      <a:pt x="118" y="549"/>
                      <a:pt x="118" y="549"/>
                      <a:pt x="118" y="550"/>
                    </a:cubicBezTo>
                    <a:cubicBezTo>
                      <a:pt x="115" y="554"/>
                      <a:pt x="113" y="559"/>
                      <a:pt x="114" y="565"/>
                    </a:cubicBezTo>
                    <a:cubicBezTo>
                      <a:pt x="114" y="565"/>
                      <a:pt x="114" y="566"/>
                      <a:pt x="114" y="566"/>
                    </a:cubicBezTo>
                    <a:cubicBezTo>
                      <a:pt x="114" y="567"/>
                      <a:pt x="114" y="569"/>
                      <a:pt x="115" y="570"/>
                    </a:cubicBezTo>
                    <a:cubicBezTo>
                      <a:pt x="116" y="571"/>
                      <a:pt x="117" y="572"/>
                      <a:pt x="118" y="573"/>
                    </a:cubicBezTo>
                    <a:cubicBezTo>
                      <a:pt x="118" y="573"/>
                      <a:pt x="118" y="573"/>
                      <a:pt x="119" y="573"/>
                    </a:cubicBezTo>
                    <a:cubicBezTo>
                      <a:pt x="119" y="574"/>
                      <a:pt x="119" y="574"/>
                      <a:pt x="119" y="574"/>
                    </a:cubicBezTo>
                    <a:cubicBezTo>
                      <a:pt x="121" y="575"/>
                      <a:pt x="122" y="576"/>
                      <a:pt x="124" y="576"/>
                    </a:cubicBezTo>
                    <a:cubicBezTo>
                      <a:pt x="124" y="576"/>
                      <a:pt x="124" y="576"/>
                      <a:pt x="124" y="576"/>
                    </a:cubicBezTo>
                    <a:cubicBezTo>
                      <a:pt x="121" y="579"/>
                      <a:pt x="120" y="581"/>
                      <a:pt x="118" y="584"/>
                    </a:cubicBezTo>
                    <a:cubicBezTo>
                      <a:pt x="117" y="586"/>
                      <a:pt x="116" y="587"/>
                      <a:pt x="114" y="589"/>
                    </a:cubicBezTo>
                    <a:cubicBezTo>
                      <a:pt x="111" y="592"/>
                      <a:pt x="111" y="594"/>
                      <a:pt x="112" y="598"/>
                    </a:cubicBezTo>
                    <a:cubicBezTo>
                      <a:pt x="112" y="599"/>
                      <a:pt x="112" y="599"/>
                      <a:pt x="112" y="599"/>
                    </a:cubicBezTo>
                    <a:cubicBezTo>
                      <a:pt x="112" y="601"/>
                      <a:pt x="112" y="601"/>
                      <a:pt x="112" y="603"/>
                    </a:cubicBezTo>
                    <a:cubicBezTo>
                      <a:pt x="111" y="603"/>
                      <a:pt x="111" y="604"/>
                      <a:pt x="110" y="604"/>
                    </a:cubicBezTo>
                    <a:cubicBezTo>
                      <a:pt x="109" y="606"/>
                      <a:pt x="108" y="608"/>
                      <a:pt x="107" y="610"/>
                    </a:cubicBezTo>
                    <a:cubicBezTo>
                      <a:pt x="107" y="612"/>
                      <a:pt x="107" y="614"/>
                      <a:pt x="107" y="616"/>
                    </a:cubicBezTo>
                    <a:cubicBezTo>
                      <a:pt x="107" y="617"/>
                      <a:pt x="107" y="618"/>
                      <a:pt x="107" y="619"/>
                    </a:cubicBezTo>
                    <a:cubicBezTo>
                      <a:pt x="107" y="620"/>
                      <a:pt x="107" y="621"/>
                      <a:pt x="107" y="622"/>
                    </a:cubicBezTo>
                    <a:cubicBezTo>
                      <a:pt x="107" y="624"/>
                      <a:pt x="107" y="626"/>
                      <a:pt x="107" y="629"/>
                    </a:cubicBezTo>
                    <a:cubicBezTo>
                      <a:pt x="107" y="632"/>
                      <a:pt x="108" y="635"/>
                      <a:pt x="106" y="637"/>
                    </a:cubicBezTo>
                    <a:cubicBezTo>
                      <a:pt x="105" y="638"/>
                      <a:pt x="104" y="640"/>
                      <a:pt x="103" y="641"/>
                    </a:cubicBezTo>
                    <a:cubicBezTo>
                      <a:pt x="101" y="643"/>
                      <a:pt x="99" y="645"/>
                      <a:pt x="98" y="647"/>
                    </a:cubicBezTo>
                    <a:cubicBezTo>
                      <a:pt x="95" y="652"/>
                      <a:pt x="95" y="657"/>
                      <a:pt x="98" y="661"/>
                    </a:cubicBezTo>
                    <a:cubicBezTo>
                      <a:pt x="101" y="665"/>
                      <a:pt x="105" y="668"/>
                      <a:pt x="111" y="668"/>
                    </a:cubicBezTo>
                    <a:cubicBezTo>
                      <a:pt x="112" y="668"/>
                      <a:pt x="112" y="668"/>
                      <a:pt x="113" y="668"/>
                    </a:cubicBezTo>
                    <a:cubicBezTo>
                      <a:pt x="116" y="667"/>
                      <a:pt x="125" y="666"/>
                      <a:pt x="130" y="660"/>
                    </a:cubicBezTo>
                    <a:cubicBezTo>
                      <a:pt x="132" y="657"/>
                      <a:pt x="133" y="654"/>
                      <a:pt x="133" y="650"/>
                    </a:cubicBezTo>
                    <a:cubicBezTo>
                      <a:pt x="133" y="648"/>
                      <a:pt x="132" y="646"/>
                      <a:pt x="131" y="644"/>
                    </a:cubicBezTo>
                    <a:cubicBezTo>
                      <a:pt x="131" y="642"/>
                      <a:pt x="130" y="640"/>
                      <a:pt x="130" y="638"/>
                    </a:cubicBezTo>
                    <a:cubicBezTo>
                      <a:pt x="130" y="634"/>
                      <a:pt x="132" y="631"/>
                      <a:pt x="133" y="627"/>
                    </a:cubicBezTo>
                    <a:cubicBezTo>
                      <a:pt x="136" y="621"/>
                      <a:pt x="139" y="613"/>
                      <a:pt x="139" y="605"/>
                    </a:cubicBezTo>
                    <a:cubicBezTo>
                      <a:pt x="139" y="604"/>
                      <a:pt x="139" y="603"/>
                      <a:pt x="139" y="602"/>
                    </a:cubicBezTo>
                    <a:cubicBezTo>
                      <a:pt x="139" y="600"/>
                      <a:pt x="139" y="598"/>
                      <a:pt x="139" y="596"/>
                    </a:cubicBezTo>
                    <a:cubicBezTo>
                      <a:pt x="140" y="592"/>
                      <a:pt x="142" y="589"/>
                      <a:pt x="143" y="586"/>
                    </a:cubicBezTo>
                    <a:cubicBezTo>
                      <a:pt x="144" y="585"/>
                      <a:pt x="146" y="583"/>
                      <a:pt x="147" y="581"/>
                    </a:cubicBezTo>
                    <a:cubicBezTo>
                      <a:pt x="148" y="580"/>
                      <a:pt x="148" y="580"/>
                      <a:pt x="149" y="579"/>
                    </a:cubicBezTo>
                    <a:cubicBezTo>
                      <a:pt x="150" y="578"/>
                      <a:pt x="151" y="577"/>
                      <a:pt x="152" y="577"/>
                    </a:cubicBezTo>
                    <a:cubicBezTo>
                      <a:pt x="153" y="576"/>
                      <a:pt x="154" y="576"/>
                      <a:pt x="155" y="575"/>
                    </a:cubicBezTo>
                    <a:cubicBezTo>
                      <a:pt x="161" y="569"/>
                      <a:pt x="156" y="561"/>
                      <a:pt x="153" y="557"/>
                    </a:cubicBezTo>
                    <a:cubicBezTo>
                      <a:pt x="151" y="555"/>
                      <a:pt x="151" y="555"/>
                      <a:pt x="151" y="555"/>
                    </a:cubicBezTo>
                    <a:cubicBezTo>
                      <a:pt x="150" y="553"/>
                      <a:pt x="149" y="551"/>
                      <a:pt x="148" y="549"/>
                    </a:cubicBezTo>
                    <a:cubicBezTo>
                      <a:pt x="148" y="546"/>
                      <a:pt x="147" y="544"/>
                      <a:pt x="146" y="541"/>
                    </a:cubicBezTo>
                    <a:cubicBezTo>
                      <a:pt x="146" y="539"/>
                      <a:pt x="146" y="538"/>
                      <a:pt x="145" y="536"/>
                    </a:cubicBezTo>
                    <a:cubicBezTo>
                      <a:pt x="144" y="535"/>
                      <a:pt x="144" y="534"/>
                      <a:pt x="144" y="532"/>
                    </a:cubicBezTo>
                    <a:cubicBezTo>
                      <a:pt x="144" y="530"/>
                      <a:pt x="144" y="530"/>
                      <a:pt x="144" y="530"/>
                    </a:cubicBezTo>
                    <a:cubicBezTo>
                      <a:pt x="144" y="529"/>
                      <a:pt x="144" y="529"/>
                      <a:pt x="144" y="528"/>
                    </a:cubicBezTo>
                    <a:cubicBezTo>
                      <a:pt x="146" y="529"/>
                      <a:pt x="147" y="529"/>
                      <a:pt x="148" y="529"/>
                    </a:cubicBezTo>
                    <a:cubicBezTo>
                      <a:pt x="148" y="529"/>
                      <a:pt x="148" y="529"/>
                      <a:pt x="148" y="529"/>
                    </a:cubicBezTo>
                    <a:cubicBezTo>
                      <a:pt x="151" y="529"/>
                      <a:pt x="153" y="526"/>
                      <a:pt x="154" y="523"/>
                    </a:cubicBezTo>
                    <a:cubicBezTo>
                      <a:pt x="154" y="523"/>
                      <a:pt x="154" y="522"/>
                      <a:pt x="154" y="522"/>
                    </a:cubicBezTo>
                    <a:cubicBezTo>
                      <a:pt x="155" y="520"/>
                      <a:pt x="155" y="520"/>
                      <a:pt x="155" y="520"/>
                    </a:cubicBezTo>
                    <a:cubicBezTo>
                      <a:pt x="158" y="515"/>
                      <a:pt x="161" y="511"/>
                      <a:pt x="165" y="507"/>
                    </a:cubicBezTo>
                    <a:cubicBezTo>
                      <a:pt x="167" y="505"/>
                      <a:pt x="169" y="503"/>
                      <a:pt x="171" y="501"/>
                    </a:cubicBezTo>
                    <a:cubicBezTo>
                      <a:pt x="172" y="500"/>
                      <a:pt x="173" y="500"/>
                      <a:pt x="174" y="499"/>
                    </a:cubicBezTo>
                    <a:cubicBezTo>
                      <a:pt x="173" y="499"/>
                      <a:pt x="173" y="500"/>
                      <a:pt x="173" y="500"/>
                    </a:cubicBezTo>
                    <a:cubicBezTo>
                      <a:pt x="171" y="501"/>
                      <a:pt x="170" y="502"/>
                      <a:pt x="169" y="504"/>
                    </a:cubicBezTo>
                    <a:cubicBezTo>
                      <a:pt x="159" y="513"/>
                      <a:pt x="153" y="524"/>
                      <a:pt x="151" y="535"/>
                    </a:cubicBezTo>
                    <a:cubicBezTo>
                      <a:pt x="151" y="535"/>
                      <a:pt x="150" y="536"/>
                      <a:pt x="150" y="537"/>
                    </a:cubicBezTo>
                    <a:cubicBezTo>
                      <a:pt x="149" y="539"/>
                      <a:pt x="148" y="541"/>
                      <a:pt x="149" y="543"/>
                    </a:cubicBezTo>
                    <a:cubicBezTo>
                      <a:pt x="149" y="544"/>
                      <a:pt x="149" y="546"/>
                      <a:pt x="153" y="551"/>
                    </a:cubicBezTo>
                    <a:cubicBezTo>
                      <a:pt x="154" y="552"/>
                      <a:pt x="154" y="553"/>
                      <a:pt x="155" y="554"/>
                    </a:cubicBezTo>
                    <a:cubicBezTo>
                      <a:pt x="155" y="555"/>
                      <a:pt x="156" y="556"/>
                      <a:pt x="156" y="557"/>
                    </a:cubicBezTo>
                    <a:cubicBezTo>
                      <a:pt x="157" y="558"/>
                      <a:pt x="157" y="558"/>
                      <a:pt x="157" y="558"/>
                    </a:cubicBezTo>
                    <a:cubicBezTo>
                      <a:pt x="158" y="561"/>
                      <a:pt x="160" y="564"/>
                      <a:pt x="164" y="564"/>
                    </a:cubicBezTo>
                    <a:cubicBezTo>
                      <a:pt x="165" y="564"/>
                      <a:pt x="165" y="563"/>
                      <a:pt x="166" y="563"/>
                    </a:cubicBezTo>
                    <a:cubicBezTo>
                      <a:pt x="168" y="563"/>
                      <a:pt x="168" y="563"/>
                      <a:pt x="168" y="563"/>
                    </a:cubicBezTo>
                    <a:cubicBezTo>
                      <a:pt x="168" y="561"/>
                      <a:pt x="168" y="561"/>
                      <a:pt x="168" y="561"/>
                    </a:cubicBezTo>
                    <a:cubicBezTo>
                      <a:pt x="168" y="559"/>
                      <a:pt x="168" y="557"/>
                      <a:pt x="168" y="555"/>
                    </a:cubicBezTo>
                    <a:cubicBezTo>
                      <a:pt x="168" y="556"/>
                      <a:pt x="168" y="556"/>
                      <a:pt x="168" y="557"/>
                    </a:cubicBezTo>
                    <a:cubicBezTo>
                      <a:pt x="169" y="558"/>
                      <a:pt x="170" y="560"/>
                      <a:pt x="170" y="561"/>
                    </a:cubicBezTo>
                    <a:cubicBezTo>
                      <a:pt x="170" y="565"/>
                      <a:pt x="173" y="567"/>
                      <a:pt x="175" y="568"/>
                    </a:cubicBezTo>
                    <a:cubicBezTo>
                      <a:pt x="176" y="569"/>
                      <a:pt x="179" y="571"/>
                      <a:pt x="180" y="573"/>
                    </a:cubicBezTo>
                    <a:cubicBezTo>
                      <a:pt x="180" y="573"/>
                      <a:pt x="181" y="573"/>
                      <a:pt x="181" y="574"/>
                    </a:cubicBezTo>
                    <a:cubicBezTo>
                      <a:pt x="182" y="576"/>
                      <a:pt x="184" y="579"/>
                      <a:pt x="187" y="579"/>
                    </a:cubicBezTo>
                    <a:cubicBezTo>
                      <a:pt x="188" y="579"/>
                      <a:pt x="188" y="579"/>
                      <a:pt x="188" y="579"/>
                    </a:cubicBezTo>
                    <a:cubicBezTo>
                      <a:pt x="188" y="579"/>
                      <a:pt x="188" y="579"/>
                      <a:pt x="188" y="579"/>
                    </a:cubicBezTo>
                    <a:cubicBezTo>
                      <a:pt x="189" y="579"/>
                      <a:pt x="190" y="578"/>
                      <a:pt x="191" y="577"/>
                    </a:cubicBezTo>
                    <a:cubicBezTo>
                      <a:pt x="191" y="577"/>
                      <a:pt x="192" y="576"/>
                      <a:pt x="192" y="575"/>
                    </a:cubicBezTo>
                    <a:cubicBezTo>
                      <a:pt x="192" y="576"/>
                      <a:pt x="192" y="578"/>
                      <a:pt x="193" y="579"/>
                    </a:cubicBezTo>
                    <a:cubicBezTo>
                      <a:pt x="195" y="580"/>
                      <a:pt x="196" y="581"/>
                      <a:pt x="198" y="581"/>
                    </a:cubicBezTo>
                    <a:cubicBezTo>
                      <a:pt x="198" y="581"/>
                      <a:pt x="198" y="581"/>
                      <a:pt x="198" y="581"/>
                    </a:cubicBezTo>
                    <a:cubicBezTo>
                      <a:pt x="198" y="581"/>
                      <a:pt x="199" y="581"/>
                      <a:pt x="199" y="581"/>
                    </a:cubicBezTo>
                    <a:cubicBezTo>
                      <a:pt x="198" y="582"/>
                      <a:pt x="195" y="586"/>
                      <a:pt x="197" y="589"/>
                    </a:cubicBezTo>
                    <a:cubicBezTo>
                      <a:pt x="198" y="591"/>
                      <a:pt x="200" y="592"/>
                      <a:pt x="202" y="593"/>
                    </a:cubicBezTo>
                    <a:cubicBezTo>
                      <a:pt x="203" y="593"/>
                      <a:pt x="204" y="593"/>
                      <a:pt x="204" y="594"/>
                    </a:cubicBezTo>
                    <a:cubicBezTo>
                      <a:pt x="205" y="594"/>
                      <a:pt x="206" y="596"/>
                      <a:pt x="207" y="597"/>
                    </a:cubicBezTo>
                    <a:cubicBezTo>
                      <a:pt x="207" y="597"/>
                      <a:pt x="207" y="597"/>
                      <a:pt x="207" y="598"/>
                    </a:cubicBezTo>
                    <a:cubicBezTo>
                      <a:pt x="207" y="599"/>
                      <a:pt x="208" y="600"/>
                      <a:pt x="208" y="601"/>
                    </a:cubicBezTo>
                    <a:cubicBezTo>
                      <a:pt x="210" y="603"/>
                      <a:pt x="213" y="603"/>
                      <a:pt x="214" y="603"/>
                    </a:cubicBezTo>
                    <a:cubicBezTo>
                      <a:pt x="215" y="603"/>
                      <a:pt x="215" y="603"/>
                      <a:pt x="215" y="603"/>
                    </a:cubicBezTo>
                    <a:cubicBezTo>
                      <a:pt x="215" y="603"/>
                      <a:pt x="216" y="603"/>
                      <a:pt x="216" y="603"/>
                    </a:cubicBezTo>
                    <a:cubicBezTo>
                      <a:pt x="218" y="604"/>
                      <a:pt x="221" y="605"/>
                      <a:pt x="223" y="610"/>
                    </a:cubicBezTo>
                    <a:cubicBezTo>
                      <a:pt x="223" y="612"/>
                      <a:pt x="223" y="612"/>
                      <a:pt x="223" y="612"/>
                    </a:cubicBezTo>
                    <a:cubicBezTo>
                      <a:pt x="224" y="614"/>
                      <a:pt x="225" y="617"/>
                      <a:pt x="227" y="620"/>
                    </a:cubicBezTo>
                    <a:cubicBezTo>
                      <a:pt x="227" y="621"/>
                      <a:pt x="227" y="622"/>
                      <a:pt x="228" y="622"/>
                    </a:cubicBezTo>
                    <a:cubicBezTo>
                      <a:pt x="229" y="624"/>
                      <a:pt x="230" y="625"/>
                      <a:pt x="230" y="627"/>
                    </a:cubicBezTo>
                    <a:cubicBezTo>
                      <a:pt x="231" y="632"/>
                      <a:pt x="225" y="637"/>
                      <a:pt x="220" y="640"/>
                    </a:cubicBezTo>
                    <a:cubicBezTo>
                      <a:pt x="219" y="640"/>
                      <a:pt x="219" y="640"/>
                      <a:pt x="219" y="640"/>
                    </a:cubicBezTo>
                    <a:cubicBezTo>
                      <a:pt x="217" y="642"/>
                      <a:pt x="213" y="644"/>
                      <a:pt x="212" y="647"/>
                    </a:cubicBezTo>
                    <a:cubicBezTo>
                      <a:pt x="212" y="648"/>
                      <a:pt x="211" y="649"/>
                      <a:pt x="211" y="650"/>
                    </a:cubicBezTo>
                    <a:cubicBezTo>
                      <a:pt x="211" y="650"/>
                      <a:pt x="211" y="651"/>
                      <a:pt x="211" y="651"/>
                    </a:cubicBezTo>
                    <a:cubicBezTo>
                      <a:pt x="210" y="651"/>
                      <a:pt x="210" y="652"/>
                      <a:pt x="210" y="652"/>
                    </a:cubicBezTo>
                    <a:cubicBezTo>
                      <a:pt x="209" y="653"/>
                      <a:pt x="209" y="654"/>
                      <a:pt x="209" y="656"/>
                    </a:cubicBezTo>
                    <a:cubicBezTo>
                      <a:pt x="208" y="656"/>
                      <a:pt x="208" y="657"/>
                      <a:pt x="208" y="657"/>
                    </a:cubicBezTo>
                    <a:cubicBezTo>
                      <a:pt x="207" y="658"/>
                      <a:pt x="207" y="658"/>
                      <a:pt x="206" y="659"/>
                    </a:cubicBezTo>
                    <a:cubicBezTo>
                      <a:pt x="205" y="661"/>
                      <a:pt x="205" y="662"/>
                      <a:pt x="205" y="663"/>
                    </a:cubicBezTo>
                    <a:cubicBezTo>
                      <a:pt x="205" y="664"/>
                      <a:pt x="205" y="664"/>
                      <a:pt x="205" y="665"/>
                    </a:cubicBezTo>
                    <a:cubicBezTo>
                      <a:pt x="204" y="669"/>
                      <a:pt x="204" y="675"/>
                      <a:pt x="201" y="679"/>
                    </a:cubicBezTo>
                    <a:cubicBezTo>
                      <a:pt x="199" y="682"/>
                      <a:pt x="196" y="686"/>
                      <a:pt x="193" y="689"/>
                    </a:cubicBezTo>
                    <a:cubicBezTo>
                      <a:pt x="191" y="691"/>
                      <a:pt x="191" y="691"/>
                      <a:pt x="191" y="691"/>
                    </a:cubicBezTo>
                    <a:cubicBezTo>
                      <a:pt x="186" y="695"/>
                      <a:pt x="184" y="700"/>
                      <a:pt x="183" y="705"/>
                    </a:cubicBezTo>
                    <a:cubicBezTo>
                      <a:pt x="183" y="706"/>
                      <a:pt x="182" y="707"/>
                      <a:pt x="182" y="707"/>
                    </a:cubicBezTo>
                    <a:cubicBezTo>
                      <a:pt x="181" y="711"/>
                      <a:pt x="179" y="716"/>
                      <a:pt x="181" y="720"/>
                    </a:cubicBezTo>
                    <a:cubicBezTo>
                      <a:pt x="182" y="722"/>
                      <a:pt x="183" y="724"/>
                      <a:pt x="183" y="726"/>
                    </a:cubicBezTo>
                    <a:cubicBezTo>
                      <a:pt x="185" y="729"/>
                      <a:pt x="186" y="731"/>
                      <a:pt x="186" y="735"/>
                    </a:cubicBezTo>
                    <a:cubicBezTo>
                      <a:pt x="186" y="736"/>
                      <a:pt x="186" y="736"/>
                      <a:pt x="186" y="736"/>
                    </a:cubicBezTo>
                    <a:cubicBezTo>
                      <a:pt x="186" y="736"/>
                      <a:pt x="185" y="736"/>
                      <a:pt x="185" y="736"/>
                    </a:cubicBezTo>
                    <a:cubicBezTo>
                      <a:pt x="185" y="736"/>
                      <a:pt x="185" y="735"/>
                      <a:pt x="185" y="734"/>
                    </a:cubicBezTo>
                    <a:cubicBezTo>
                      <a:pt x="185" y="730"/>
                      <a:pt x="183" y="726"/>
                      <a:pt x="181" y="722"/>
                    </a:cubicBezTo>
                    <a:cubicBezTo>
                      <a:pt x="179" y="720"/>
                      <a:pt x="177" y="718"/>
                      <a:pt x="174" y="718"/>
                    </a:cubicBezTo>
                    <a:cubicBezTo>
                      <a:pt x="172" y="718"/>
                      <a:pt x="170" y="718"/>
                      <a:pt x="169" y="719"/>
                    </a:cubicBezTo>
                    <a:cubicBezTo>
                      <a:pt x="164" y="722"/>
                      <a:pt x="165" y="727"/>
                      <a:pt x="165" y="730"/>
                    </a:cubicBezTo>
                    <a:cubicBezTo>
                      <a:pt x="165" y="731"/>
                      <a:pt x="165" y="731"/>
                      <a:pt x="165" y="732"/>
                    </a:cubicBezTo>
                    <a:cubicBezTo>
                      <a:pt x="165" y="733"/>
                      <a:pt x="165" y="735"/>
                      <a:pt x="165" y="736"/>
                    </a:cubicBezTo>
                    <a:cubicBezTo>
                      <a:pt x="165" y="738"/>
                      <a:pt x="164" y="741"/>
                      <a:pt x="166" y="744"/>
                    </a:cubicBezTo>
                    <a:cubicBezTo>
                      <a:pt x="167" y="748"/>
                      <a:pt x="170" y="752"/>
                      <a:pt x="172" y="755"/>
                    </a:cubicBezTo>
                    <a:cubicBezTo>
                      <a:pt x="174" y="757"/>
                      <a:pt x="175" y="759"/>
                      <a:pt x="177" y="762"/>
                    </a:cubicBezTo>
                    <a:cubicBezTo>
                      <a:pt x="179" y="765"/>
                      <a:pt x="181" y="768"/>
                      <a:pt x="183" y="770"/>
                    </a:cubicBezTo>
                    <a:cubicBezTo>
                      <a:pt x="187" y="775"/>
                      <a:pt x="190" y="779"/>
                      <a:pt x="190" y="784"/>
                    </a:cubicBezTo>
                    <a:cubicBezTo>
                      <a:pt x="190" y="784"/>
                      <a:pt x="190" y="784"/>
                      <a:pt x="190" y="784"/>
                    </a:cubicBezTo>
                    <a:cubicBezTo>
                      <a:pt x="190" y="788"/>
                      <a:pt x="190" y="794"/>
                      <a:pt x="194" y="797"/>
                    </a:cubicBezTo>
                    <a:cubicBezTo>
                      <a:pt x="196" y="798"/>
                      <a:pt x="198" y="798"/>
                      <a:pt x="199" y="798"/>
                    </a:cubicBezTo>
                    <a:cubicBezTo>
                      <a:pt x="203" y="798"/>
                      <a:pt x="207" y="795"/>
                      <a:pt x="207" y="791"/>
                    </a:cubicBezTo>
                    <a:cubicBezTo>
                      <a:pt x="207" y="787"/>
                      <a:pt x="204" y="783"/>
                      <a:pt x="202" y="780"/>
                    </a:cubicBezTo>
                    <a:cubicBezTo>
                      <a:pt x="202" y="779"/>
                      <a:pt x="201" y="779"/>
                      <a:pt x="201" y="778"/>
                    </a:cubicBezTo>
                    <a:cubicBezTo>
                      <a:pt x="199" y="775"/>
                      <a:pt x="198" y="771"/>
                      <a:pt x="197" y="767"/>
                    </a:cubicBezTo>
                    <a:cubicBezTo>
                      <a:pt x="196" y="763"/>
                      <a:pt x="196" y="761"/>
                      <a:pt x="198" y="759"/>
                    </a:cubicBezTo>
                    <a:cubicBezTo>
                      <a:pt x="200" y="757"/>
                      <a:pt x="203" y="755"/>
                      <a:pt x="206" y="755"/>
                    </a:cubicBezTo>
                    <a:cubicBezTo>
                      <a:pt x="207" y="755"/>
                      <a:pt x="207" y="755"/>
                      <a:pt x="207" y="755"/>
                    </a:cubicBezTo>
                    <a:cubicBezTo>
                      <a:pt x="209" y="755"/>
                      <a:pt x="209" y="756"/>
                      <a:pt x="210" y="757"/>
                    </a:cubicBezTo>
                    <a:cubicBezTo>
                      <a:pt x="210" y="757"/>
                      <a:pt x="210" y="757"/>
                      <a:pt x="211" y="758"/>
                    </a:cubicBezTo>
                    <a:cubicBezTo>
                      <a:pt x="211" y="759"/>
                      <a:pt x="212" y="761"/>
                      <a:pt x="215" y="762"/>
                    </a:cubicBezTo>
                    <a:cubicBezTo>
                      <a:pt x="216" y="762"/>
                      <a:pt x="218" y="763"/>
                      <a:pt x="219" y="763"/>
                    </a:cubicBezTo>
                    <a:cubicBezTo>
                      <a:pt x="220" y="763"/>
                      <a:pt x="221" y="763"/>
                      <a:pt x="222" y="763"/>
                    </a:cubicBezTo>
                    <a:cubicBezTo>
                      <a:pt x="223" y="763"/>
                      <a:pt x="225" y="765"/>
                      <a:pt x="226" y="765"/>
                    </a:cubicBezTo>
                    <a:cubicBezTo>
                      <a:pt x="227" y="766"/>
                      <a:pt x="227" y="766"/>
                      <a:pt x="227" y="766"/>
                    </a:cubicBezTo>
                    <a:cubicBezTo>
                      <a:pt x="231" y="768"/>
                      <a:pt x="235" y="773"/>
                      <a:pt x="238" y="777"/>
                    </a:cubicBezTo>
                    <a:cubicBezTo>
                      <a:pt x="239" y="778"/>
                      <a:pt x="239" y="778"/>
                      <a:pt x="239" y="778"/>
                    </a:cubicBezTo>
                    <a:cubicBezTo>
                      <a:pt x="241" y="781"/>
                      <a:pt x="243" y="785"/>
                      <a:pt x="247" y="787"/>
                    </a:cubicBezTo>
                    <a:cubicBezTo>
                      <a:pt x="248" y="788"/>
                      <a:pt x="249" y="788"/>
                      <a:pt x="250" y="788"/>
                    </a:cubicBezTo>
                    <a:cubicBezTo>
                      <a:pt x="250" y="788"/>
                      <a:pt x="251" y="788"/>
                      <a:pt x="252" y="789"/>
                    </a:cubicBezTo>
                    <a:cubicBezTo>
                      <a:pt x="253" y="789"/>
                      <a:pt x="253" y="789"/>
                      <a:pt x="253" y="789"/>
                    </a:cubicBezTo>
                    <a:cubicBezTo>
                      <a:pt x="254" y="790"/>
                      <a:pt x="256" y="791"/>
                      <a:pt x="258" y="791"/>
                    </a:cubicBezTo>
                    <a:cubicBezTo>
                      <a:pt x="259" y="791"/>
                      <a:pt x="259" y="791"/>
                      <a:pt x="259" y="791"/>
                    </a:cubicBezTo>
                    <a:cubicBezTo>
                      <a:pt x="261" y="791"/>
                      <a:pt x="263" y="790"/>
                      <a:pt x="263" y="789"/>
                    </a:cubicBezTo>
                    <a:cubicBezTo>
                      <a:pt x="266" y="786"/>
                      <a:pt x="265" y="781"/>
                      <a:pt x="265" y="777"/>
                    </a:cubicBezTo>
                    <a:cubicBezTo>
                      <a:pt x="264" y="777"/>
                      <a:pt x="264" y="776"/>
                      <a:pt x="264" y="776"/>
                    </a:cubicBezTo>
                    <a:cubicBezTo>
                      <a:pt x="264" y="774"/>
                      <a:pt x="264" y="773"/>
                      <a:pt x="264" y="772"/>
                    </a:cubicBezTo>
                    <a:cubicBezTo>
                      <a:pt x="264" y="770"/>
                      <a:pt x="264" y="768"/>
                      <a:pt x="264" y="765"/>
                    </a:cubicBezTo>
                    <a:cubicBezTo>
                      <a:pt x="263" y="763"/>
                      <a:pt x="261" y="760"/>
                      <a:pt x="259" y="758"/>
                    </a:cubicBezTo>
                    <a:cubicBezTo>
                      <a:pt x="259" y="757"/>
                      <a:pt x="258" y="756"/>
                      <a:pt x="257" y="755"/>
                    </a:cubicBezTo>
                    <a:cubicBezTo>
                      <a:pt x="255" y="753"/>
                      <a:pt x="255" y="752"/>
                      <a:pt x="256" y="749"/>
                    </a:cubicBezTo>
                    <a:cubicBezTo>
                      <a:pt x="256" y="749"/>
                      <a:pt x="256" y="748"/>
                      <a:pt x="256" y="747"/>
                    </a:cubicBezTo>
                    <a:cubicBezTo>
                      <a:pt x="257" y="746"/>
                      <a:pt x="257" y="746"/>
                      <a:pt x="257" y="746"/>
                    </a:cubicBezTo>
                    <a:cubicBezTo>
                      <a:pt x="257" y="746"/>
                      <a:pt x="257" y="746"/>
                      <a:pt x="258" y="746"/>
                    </a:cubicBezTo>
                    <a:cubicBezTo>
                      <a:pt x="258" y="746"/>
                      <a:pt x="258" y="746"/>
                      <a:pt x="258" y="746"/>
                    </a:cubicBezTo>
                    <a:cubicBezTo>
                      <a:pt x="259" y="746"/>
                      <a:pt x="260" y="747"/>
                      <a:pt x="261" y="748"/>
                    </a:cubicBezTo>
                    <a:cubicBezTo>
                      <a:pt x="261" y="749"/>
                      <a:pt x="262" y="750"/>
                      <a:pt x="263" y="751"/>
                    </a:cubicBezTo>
                    <a:cubicBezTo>
                      <a:pt x="263" y="752"/>
                      <a:pt x="264" y="752"/>
                      <a:pt x="264" y="753"/>
                    </a:cubicBezTo>
                    <a:cubicBezTo>
                      <a:pt x="265" y="753"/>
                      <a:pt x="266" y="754"/>
                      <a:pt x="267" y="755"/>
                    </a:cubicBezTo>
                    <a:cubicBezTo>
                      <a:pt x="270" y="756"/>
                      <a:pt x="271" y="757"/>
                      <a:pt x="273" y="759"/>
                    </a:cubicBezTo>
                    <a:cubicBezTo>
                      <a:pt x="275" y="760"/>
                      <a:pt x="276" y="762"/>
                      <a:pt x="278" y="763"/>
                    </a:cubicBezTo>
                    <a:cubicBezTo>
                      <a:pt x="279" y="765"/>
                      <a:pt x="280" y="766"/>
                      <a:pt x="282" y="768"/>
                    </a:cubicBezTo>
                    <a:cubicBezTo>
                      <a:pt x="283" y="770"/>
                      <a:pt x="286" y="772"/>
                      <a:pt x="289" y="772"/>
                    </a:cubicBezTo>
                    <a:cubicBezTo>
                      <a:pt x="290" y="772"/>
                      <a:pt x="292" y="771"/>
                      <a:pt x="293" y="770"/>
                    </a:cubicBezTo>
                    <a:cubicBezTo>
                      <a:pt x="294" y="771"/>
                      <a:pt x="295" y="772"/>
                      <a:pt x="296" y="772"/>
                    </a:cubicBezTo>
                    <a:cubicBezTo>
                      <a:pt x="298" y="772"/>
                      <a:pt x="299" y="773"/>
                      <a:pt x="301" y="773"/>
                    </a:cubicBezTo>
                    <a:cubicBezTo>
                      <a:pt x="302" y="773"/>
                      <a:pt x="303" y="772"/>
                      <a:pt x="305" y="772"/>
                    </a:cubicBezTo>
                    <a:cubicBezTo>
                      <a:pt x="306" y="772"/>
                      <a:pt x="306" y="772"/>
                      <a:pt x="306" y="772"/>
                    </a:cubicBezTo>
                    <a:cubicBezTo>
                      <a:pt x="307" y="772"/>
                      <a:pt x="309" y="772"/>
                      <a:pt x="310" y="771"/>
                    </a:cubicBezTo>
                    <a:cubicBezTo>
                      <a:pt x="311" y="771"/>
                      <a:pt x="311" y="771"/>
                      <a:pt x="311" y="771"/>
                    </a:cubicBezTo>
                    <a:cubicBezTo>
                      <a:pt x="313" y="771"/>
                      <a:pt x="314" y="770"/>
                      <a:pt x="316" y="768"/>
                    </a:cubicBezTo>
                    <a:cubicBezTo>
                      <a:pt x="318" y="767"/>
                      <a:pt x="320" y="765"/>
                      <a:pt x="321" y="763"/>
                    </a:cubicBezTo>
                    <a:cubicBezTo>
                      <a:pt x="322" y="760"/>
                      <a:pt x="322" y="758"/>
                      <a:pt x="321" y="755"/>
                    </a:cubicBezTo>
                    <a:cubicBezTo>
                      <a:pt x="321" y="754"/>
                      <a:pt x="321" y="754"/>
                      <a:pt x="321" y="754"/>
                    </a:cubicBezTo>
                    <a:cubicBezTo>
                      <a:pt x="322" y="754"/>
                      <a:pt x="322" y="754"/>
                      <a:pt x="323" y="754"/>
                    </a:cubicBezTo>
                    <a:cubicBezTo>
                      <a:pt x="324" y="755"/>
                      <a:pt x="326" y="755"/>
                      <a:pt x="328" y="755"/>
                    </a:cubicBezTo>
                    <a:cubicBezTo>
                      <a:pt x="331" y="755"/>
                      <a:pt x="333" y="754"/>
                      <a:pt x="335" y="752"/>
                    </a:cubicBezTo>
                    <a:cubicBezTo>
                      <a:pt x="336" y="751"/>
                      <a:pt x="337" y="750"/>
                      <a:pt x="338" y="750"/>
                    </a:cubicBezTo>
                    <a:cubicBezTo>
                      <a:pt x="339" y="750"/>
                      <a:pt x="339" y="750"/>
                      <a:pt x="339" y="750"/>
                    </a:cubicBezTo>
                    <a:cubicBezTo>
                      <a:pt x="340" y="751"/>
                      <a:pt x="340" y="751"/>
                      <a:pt x="340" y="751"/>
                    </a:cubicBezTo>
                    <a:cubicBezTo>
                      <a:pt x="342" y="752"/>
                      <a:pt x="343" y="753"/>
                      <a:pt x="345" y="753"/>
                    </a:cubicBezTo>
                    <a:cubicBezTo>
                      <a:pt x="346" y="753"/>
                      <a:pt x="347" y="752"/>
                      <a:pt x="348" y="752"/>
                    </a:cubicBezTo>
                    <a:cubicBezTo>
                      <a:pt x="351" y="750"/>
                      <a:pt x="353" y="746"/>
                      <a:pt x="353" y="744"/>
                    </a:cubicBezTo>
                    <a:cubicBezTo>
                      <a:pt x="353" y="741"/>
                      <a:pt x="353" y="738"/>
                      <a:pt x="353" y="735"/>
                    </a:cubicBezTo>
                    <a:cubicBezTo>
                      <a:pt x="352" y="733"/>
                      <a:pt x="352" y="730"/>
                      <a:pt x="352" y="728"/>
                    </a:cubicBezTo>
                    <a:cubicBezTo>
                      <a:pt x="352" y="728"/>
                      <a:pt x="353" y="728"/>
                      <a:pt x="353" y="728"/>
                    </a:cubicBezTo>
                    <a:cubicBezTo>
                      <a:pt x="354" y="728"/>
                      <a:pt x="356" y="728"/>
                      <a:pt x="360" y="729"/>
                    </a:cubicBezTo>
                    <a:cubicBezTo>
                      <a:pt x="362" y="730"/>
                      <a:pt x="365" y="731"/>
                      <a:pt x="368" y="731"/>
                    </a:cubicBezTo>
                    <a:cubicBezTo>
                      <a:pt x="369" y="731"/>
                      <a:pt x="371" y="730"/>
                      <a:pt x="373" y="730"/>
                    </a:cubicBezTo>
                    <a:cubicBezTo>
                      <a:pt x="375" y="730"/>
                      <a:pt x="377" y="730"/>
                      <a:pt x="378" y="730"/>
                    </a:cubicBezTo>
                    <a:cubicBezTo>
                      <a:pt x="380" y="730"/>
                      <a:pt x="381" y="730"/>
                      <a:pt x="382" y="730"/>
                    </a:cubicBezTo>
                    <a:cubicBezTo>
                      <a:pt x="383" y="730"/>
                      <a:pt x="384" y="731"/>
                      <a:pt x="385" y="731"/>
                    </a:cubicBezTo>
                    <a:cubicBezTo>
                      <a:pt x="386" y="731"/>
                      <a:pt x="386" y="731"/>
                      <a:pt x="387" y="731"/>
                    </a:cubicBezTo>
                    <a:cubicBezTo>
                      <a:pt x="388" y="730"/>
                      <a:pt x="388" y="730"/>
                      <a:pt x="389" y="730"/>
                    </a:cubicBezTo>
                    <a:cubicBezTo>
                      <a:pt x="389" y="730"/>
                      <a:pt x="390" y="730"/>
                      <a:pt x="391" y="731"/>
                    </a:cubicBezTo>
                    <a:cubicBezTo>
                      <a:pt x="391" y="731"/>
                      <a:pt x="392" y="731"/>
                      <a:pt x="393" y="731"/>
                    </a:cubicBezTo>
                    <a:cubicBezTo>
                      <a:pt x="394" y="731"/>
                      <a:pt x="396" y="731"/>
                      <a:pt x="397" y="731"/>
                    </a:cubicBezTo>
                    <a:cubicBezTo>
                      <a:pt x="398" y="731"/>
                      <a:pt x="399" y="731"/>
                      <a:pt x="400" y="731"/>
                    </a:cubicBezTo>
                    <a:cubicBezTo>
                      <a:pt x="401" y="731"/>
                      <a:pt x="402" y="730"/>
                      <a:pt x="404" y="730"/>
                    </a:cubicBezTo>
                    <a:cubicBezTo>
                      <a:pt x="405" y="729"/>
                      <a:pt x="405" y="729"/>
                      <a:pt x="405" y="729"/>
                    </a:cubicBezTo>
                    <a:cubicBezTo>
                      <a:pt x="406" y="729"/>
                      <a:pt x="406" y="729"/>
                      <a:pt x="406" y="729"/>
                    </a:cubicBezTo>
                    <a:cubicBezTo>
                      <a:pt x="407" y="728"/>
                      <a:pt x="408" y="726"/>
                      <a:pt x="409" y="724"/>
                    </a:cubicBezTo>
                    <a:cubicBezTo>
                      <a:pt x="409" y="723"/>
                      <a:pt x="410" y="722"/>
                      <a:pt x="410" y="721"/>
                    </a:cubicBezTo>
                    <a:cubicBezTo>
                      <a:pt x="410" y="719"/>
                      <a:pt x="411" y="717"/>
                      <a:pt x="412" y="716"/>
                    </a:cubicBezTo>
                    <a:cubicBezTo>
                      <a:pt x="413" y="713"/>
                      <a:pt x="416" y="712"/>
                      <a:pt x="419" y="711"/>
                    </a:cubicBezTo>
                    <a:cubicBezTo>
                      <a:pt x="422" y="710"/>
                      <a:pt x="424" y="709"/>
                      <a:pt x="426" y="707"/>
                    </a:cubicBezTo>
                    <a:cubicBezTo>
                      <a:pt x="428" y="705"/>
                      <a:pt x="429" y="704"/>
                      <a:pt x="430" y="702"/>
                    </a:cubicBezTo>
                    <a:cubicBezTo>
                      <a:pt x="432" y="699"/>
                      <a:pt x="434" y="696"/>
                      <a:pt x="439" y="693"/>
                    </a:cubicBezTo>
                    <a:cubicBezTo>
                      <a:pt x="445" y="691"/>
                      <a:pt x="449" y="687"/>
                      <a:pt x="452" y="679"/>
                    </a:cubicBezTo>
                    <a:cubicBezTo>
                      <a:pt x="453" y="677"/>
                      <a:pt x="454" y="675"/>
                      <a:pt x="454" y="673"/>
                    </a:cubicBezTo>
                    <a:cubicBezTo>
                      <a:pt x="456" y="669"/>
                      <a:pt x="457" y="665"/>
                      <a:pt x="460" y="662"/>
                    </a:cubicBezTo>
                    <a:cubicBezTo>
                      <a:pt x="465" y="655"/>
                      <a:pt x="470" y="651"/>
                      <a:pt x="473" y="649"/>
                    </a:cubicBezTo>
                    <a:cubicBezTo>
                      <a:pt x="475" y="649"/>
                      <a:pt x="477" y="648"/>
                      <a:pt x="479" y="648"/>
                    </a:cubicBezTo>
                    <a:cubicBezTo>
                      <a:pt x="481" y="648"/>
                      <a:pt x="481" y="648"/>
                      <a:pt x="481" y="648"/>
                    </a:cubicBezTo>
                    <a:cubicBezTo>
                      <a:pt x="484" y="648"/>
                      <a:pt x="487" y="648"/>
                      <a:pt x="489" y="645"/>
                    </a:cubicBezTo>
                    <a:cubicBezTo>
                      <a:pt x="490" y="644"/>
                      <a:pt x="490" y="643"/>
                      <a:pt x="491" y="643"/>
                    </a:cubicBezTo>
                    <a:cubicBezTo>
                      <a:pt x="492" y="641"/>
                      <a:pt x="493" y="639"/>
                      <a:pt x="495" y="637"/>
                    </a:cubicBezTo>
                    <a:cubicBezTo>
                      <a:pt x="496" y="637"/>
                      <a:pt x="497" y="636"/>
                      <a:pt x="498" y="636"/>
                    </a:cubicBezTo>
                    <a:cubicBezTo>
                      <a:pt x="500" y="635"/>
                      <a:pt x="502" y="634"/>
                      <a:pt x="503" y="631"/>
                    </a:cubicBezTo>
                    <a:cubicBezTo>
                      <a:pt x="506" y="626"/>
                      <a:pt x="502" y="618"/>
                      <a:pt x="499" y="613"/>
                    </a:cubicBezTo>
                    <a:cubicBezTo>
                      <a:pt x="498" y="612"/>
                      <a:pt x="498" y="611"/>
                      <a:pt x="497" y="610"/>
                    </a:cubicBezTo>
                    <a:cubicBezTo>
                      <a:pt x="497" y="608"/>
                      <a:pt x="495" y="606"/>
                      <a:pt x="494" y="604"/>
                    </a:cubicBezTo>
                    <a:cubicBezTo>
                      <a:pt x="493" y="602"/>
                      <a:pt x="491" y="600"/>
                      <a:pt x="490" y="598"/>
                    </a:cubicBezTo>
                    <a:cubicBezTo>
                      <a:pt x="490" y="596"/>
                      <a:pt x="489" y="595"/>
                      <a:pt x="490" y="594"/>
                    </a:cubicBezTo>
                    <a:cubicBezTo>
                      <a:pt x="490" y="593"/>
                      <a:pt x="491" y="593"/>
                      <a:pt x="493" y="592"/>
                    </a:cubicBezTo>
                    <a:cubicBezTo>
                      <a:pt x="494" y="592"/>
                      <a:pt x="496" y="591"/>
                      <a:pt x="498" y="589"/>
                    </a:cubicBezTo>
                    <a:cubicBezTo>
                      <a:pt x="499" y="587"/>
                      <a:pt x="500" y="585"/>
                      <a:pt x="501" y="582"/>
                    </a:cubicBezTo>
                    <a:cubicBezTo>
                      <a:pt x="501" y="581"/>
                      <a:pt x="502" y="580"/>
                      <a:pt x="502" y="579"/>
                    </a:cubicBezTo>
                    <a:cubicBezTo>
                      <a:pt x="503" y="576"/>
                      <a:pt x="505" y="575"/>
                      <a:pt x="506" y="574"/>
                    </a:cubicBezTo>
                    <a:cubicBezTo>
                      <a:pt x="507" y="574"/>
                      <a:pt x="508" y="573"/>
                      <a:pt x="509" y="572"/>
                    </a:cubicBezTo>
                    <a:cubicBezTo>
                      <a:pt x="512" y="570"/>
                      <a:pt x="512" y="568"/>
                      <a:pt x="513" y="565"/>
                    </a:cubicBezTo>
                    <a:cubicBezTo>
                      <a:pt x="513" y="564"/>
                      <a:pt x="513" y="563"/>
                      <a:pt x="514" y="561"/>
                    </a:cubicBezTo>
                    <a:cubicBezTo>
                      <a:pt x="515" y="560"/>
                      <a:pt x="516" y="559"/>
                      <a:pt x="517" y="558"/>
                    </a:cubicBezTo>
                    <a:cubicBezTo>
                      <a:pt x="519" y="556"/>
                      <a:pt x="519" y="556"/>
                      <a:pt x="519" y="556"/>
                    </a:cubicBezTo>
                    <a:cubicBezTo>
                      <a:pt x="518" y="554"/>
                      <a:pt x="518" y="554"/>
                      <a:pt x="518" y="554"/>
                    </a:cubicBezTo>
                    <a:cubicBezTo>
                      <a:pt x="517" y="552"/>
                      <a:pt x="515" y="551"/>
                      <a:pt x="514" y="549"/>
                    </a:cubicBezTo>
                    <a:cubicBezTo>
                      <a:pt x="513" y="548"/>
                      <a:pt x="512" y="547"/>
                      <a:pt x="510" y="545"/>
                    </a:cubicBezTo>
                    <a:cubicBezTo>
                      <a:pt x="509" y="542"/>
                      <a:pt x="507" y="539"/>
                      <a:pt x="504" y="538"/>
                    </a:cubicBezTo>
                    <a:cubicBezTo>
                      <a:pt x="503" y="537"/>
                      <a:pt x="501" y="536"/>
                      <a:pt x="499" y="536"/>
                    </a:cubicBezTo>
                    <a:cubicBezTo>
                      <a:pt x="498" y="536"/>
                      <a:pt x="496" y="536"/>
                      <a:pt x="495" y="537"/>
                    </a:cubicBezTo>
                    <a:cubicBezTo>
                      <a:pt x="494" y="537"/>
                      <a:pt x="494" y="537"/>
                      <a:pt x="493" y="537"/>
                    </a:cubicBezTo>
                    <a:cubicBezTo>
                      <a:pt x="492" y="537"/>
                      <a:pt x="492" y="537"/>
                      <a:pt x="492" y="537"/>
                    </a:cubicBezTo>
                    <a:cubicBezTo>
                      <a:pt x="489" y="537"/>
                      <a:pt x="487" y="537"/>
                      <a:pt x="485" y="536"/>
                    </a:cubicBezTo>
                    <a:cubicBezTo>
                      <a:pt x="484" y="536"/>
                      <a:pt x="484" y="536"/>
                      <a:pt x="484" y="536"/>
                    </a:cubicBezTo>
                    <a:cubicBezTo>
                      <a:pt x="482" y="535"/>
                      <a:pt x="480" y="533"/>
                      <a:pt x="478" y="531"/>
                    </a:cubicBezTo>
                    <a:cubicBezTo>
                      <a:pt x="476" y="529"/>
                      <a:pt x="474" y="526"/>
                      <a:pt x="471" y="525"/>
                    </a:cubicBezTo>
                    <a:cubicBezTo>
                      <a:pt x="468" y="524"/>
                      <a:pt x="466" y="524"/>
                      <a:pt x="464" y="523"/>
                    </a:cubicBezTo>
                    <a:cubicBezTo>
                      <a:pt x="461" y="523"/>
                      <a:pt x="460" y="523"/>
                      <a:pt x="458" y="521"/>
                    </a:cubicBezTo>
                    <a:cubicBezTo>
                      <a:pt x="455" y="515"/>
                      <a:pt x="452" y="510"/>
                      <a:pt x="443" y="510"/>
                    </a:cubicBezTo>
                    <a:cubicBezTo>
                      <a:pt x="441" y="510"/>
                      <a:pt x="441" y="510"/>
                      <a:pt x="441" y="510"/>
                    </a:cubicBezTo>
                    <a:cubicBezTo>
                      <a:pt x="440" y="510"/>
                      <a:pt x="439" y="510"/>
                      <a:pt x="437" y="510"/>
                    </a:cubicBezTo>
                    <a:cubicBezTo>
                      <a:pt x="433" y="510"/>
                      <a:pt x="428" y="510"/>
                      <a:pt x="424" y="513"/>
                    </a:cubicBezTo>
                    <a:cubicBezTo>
                      <a:pt x="422" y="516"/>
                      <a:pt x="421" y="519"/>
                      <a:pt x="421" y="521"/>
                    </a:cubicBezTo>
                    <a:cubicBezTo>
                      <a:pt x="421" y="522"/>
                      <a:pt x="421" y="522"/>
                      <a:pt x="421" y="523"/>
                    </a:cubicBezTo>
                    <a:cubicBezTo>
                      <a:pt x="420" y="526"/>
                      <a:pt x="417" y="530"/>
                      <a:pt x="415" y="531"/>
                    </a:cubicBezTo>
                    <a:cubicBezTo>
                      <a:pt x="414" y="532"/>
                      <a:pt x="413" y="532"/>
                      <a:pt x="411" y="532"/>
                    </a:cubicBezTo>
                    <a:cubicBezTo>
                      <a:pt x="410" y="533"/>
                      <a:pt x="408" y="533"/>
                      <a:pt x="406" y="533"/>
                    </a:cubicBezTo>
                    <a:cubicBezTo>
                      <a:pt x="406" y="534"/>
                      <a:pt x="405" y="534"/>
                      <a:pt x="405" y="534"/>
                    </a:cubicBezTo>
                    <a:cubicBezTo>
                      <a:pt x="404" y="534"/>
                      <a:pt x="403" y="534"/>
                      <a:pt x="402" y="533"/>
                    </a:cubicBezTo>
                    <a:cubicBezTo>
                      <a:pt x="401" y="533"/>
                      <a:pt x="401" y="533"/>
                      <a:pt x="400" y="533"/>
                    </a:cubicBezTo>
                    <a:cubicBezTo>
                      <a:pt x="398" y="533"/>
                      <a:pt x="397" y="532"/>
                      <a:pt x="396" y="531"/>
                    </a:cubicBezTo>
                    <a:cubicBezTo>
                      <a:pt x="395" y="531"/>
                      <a:pt x="395" y="530"/>
                      <a:pt x="395" y="530"/>
                    </a:cubicBezTo>
                    <a:cubicBezTo>
                      <a:pt x="392" y="528"/>
                      <a:pt x="390" y="528"/>
                      <a:pt x="388" y="528"/>
                    </a:cubicBezTo>
                    <a:cubicBezTo>
                      <a:pt x="387" y="528"/>
                      <a:pt x="386" y="528"/>
                      <a:pt x="385" y="528"/>
                    </a:cubicBezTo>
                    <a:cubicBezTo>
                      <a:pt x="384" y="528"/>
                      <a:pt x="382" y="528"/>
                      <a:pt x="381" y="528"/>
                    </a:cubicBezTo>
                    <a:cubicBezTo>
                      <a:pt x="380" y="528"/>
                      <a:pt x="378" y="528"/>
                      <a:pt x="377" y="527"/>
                    </a:cubicBezTo>
                    <a:cubicBezTo>
                      <a:pt x="376" y="527"/>
                      <a:pt x="375" y="527"/>
                      <a:pt x="375" y="526"/>
                    </a:cubicBezTo>
                    <a:cubicBezTo>
                      <a:pt x="373" y="526"/>
                      <a:pt x="371" y="525"/>
                      <a:pt x="369" y="525"/>
                    </a:cubicBezTo>
                    <a:cubicBezTo>
                      <a:pt x="370" y="525"/>
                      <a:pt x="371" y="525"/>
                      <a:pt x="372" y="525"/>
                    </a:cubicBezTo>
                    <a:cubicBezTo>
                      <a:pt x="374" y="524"/>
                      <a:pt x="377" y="522"/>
                      <a:pt x="379" y="521"/>
                    </a:cubicBezTo>
                    <a:cubicBezTo>
                      <a:pt x="380" y="520"/>
                      <a:pt x="382" y="519"/>
                      <a:pt x="383" y="518"/>
                    </a:cubicBezTo>
                    <a:cubicBezTo>
                      <a:pt x="384" y="518"/>
                      <a:pt x="386" y="517"/>
                      <a:pt x="387" y="517"/>
                    </a:cubicBezTo>
                    <a:cubicBezTo>
                      <a:pt x="390" y="516"/>
                      <a:pt x="393" y="515"/>
                      <a:pt x="395" y="513"/>
                    </a:cubicBezTo>
                    <a:cubicBezTo>
                      <a:pt x="398" y="511"/>
                      <a:pt x="398" y="508"/>
                      <a:pt x="399" y="505"/>
                    </a:cubicBezTo>
                    <a:cubicBezTo>
                      <a:pt x="399" y="503"/>
                      <a:pt x="400" y="502"/>
                      <a:pt x="400" y="500"/>
                    </a:cubicBezTo>
                    <a:cubicBezTo>
                      <a:pt x="402" y="498"/>
                      <a:pt x="405" y="494"/>
                      <a:pt x="409" y="491"/>
                    </a:cubicBezTo>
                    <a:cubicBezTo>
                      <a:pt x="411" y="489"/>
                      <a:pt x="414" y="488"/>
                      <a:pt x="416" y="488"/>
                    </a:cubicBezTo>
                    <a:cubicBezTo>
                      <a:pt x="417" y="488"/>
                      <a:pt x="418" y="488"/>
                      <a:pt x="420" y="488"/>
                    </a:cubicBezTo>
                    <a:cubicBezTo>
                      <a:pt x="420" y="489"/>
                      <a:pt x="420" y="489"/>
                      <a:pt x="420" y="489"/>
                    </a:cubicBezTo>
                    <a:cubicBezTo>
                      <a:pt x="423" y="489"/>
                      <a:pt x="425" y="489"/>
                      <a:pt x="428" y="489"/>
                    </a:cubicBezTo>
                    <a:cubicBezTo>
                      <a:pt x="430" y="489"/>
                      <a:pt x="432" y="489"/>
                      <a:pt x="434" y="488"/>
                    </a:cubicBezTo>
                    <a:cubicBezTo>
                      <a:pt x="436" y="488"/>
                      <a:pt x="438" y="486"/>
                      <a:pt x="440" y="485"/>
                    </a:cubicBezTo>
                    <a:cubicBezTo>
                      <a:pt x="441" y="485"/>
                      <a:pt x="442" y="484"/>
                      <a:pt x="443" y="484"/>
                    </a:cubicBezTo>
                    <a:cubicBezTo>
                      <a:pt x="448" y="481"/>
                      <a:pt x="457" y="477"/>
                      <a:pt x="456" y="468"/>
                    </a:cubicBezTo>
                    <a:cubicBezTo>
                      <a:pt x="456" y="463"/>
                      <a:pt x="451" y="459"/>
                      <a:pt x="444" y="458"/>
                    </a:cubicBezTo>
                    <a:cubicBezTo>
                      <a:pt x="442" y="458"/>
                      <a:pt x="441" y="457"/>
                      <a:pt x="439" y="455"/>
                    </a:cubicBezTo>
                    <a:cubicBezTo>
                      <a:pt x="437" y="454"/>
                      <a:pt x="436" y="453"/>
                      <a:pt x="433" y="452"/>
                    </a:cubicBezTo>
                    <a:cubicBezTo>
                      <a:pt x="432" y="452"/>
                      <a:pt x="432" y="452"/>
                      <a:pt x="432" y="452"/>
                    </a:cubicBezTo>
                    <a:cubicBezTo>
                      <a:pt x="431" y="452"/>
                      <a:pt x="430" y="452"/>
                      <a:pt x="430" y="452"/>
                    </a:cubicBezTo>
                    <a:cubicBezTo>
                      <a:pt x="430" y="452"/>
                      <a:pt x="430" y="451"/>
                      <a:pt x="430" y="451"/>
                    </a:cubicBezTo>
                    <a:cubicBezTo>
                      <a:pt x="430" y="450"/>
                      <a:pt x="431" y="449"/>
                      <a:pt x="431" y="449"/>
                    </a:cubicBezTo>
                    <a:cubicBezTo>
                      <a:pt x="431" y="447"/>
                      <a:pt x="432" y="445"/>
                      <a:pt x="432" y="443"/>
                    </a:cubicBezTo>
                    <a:cubicBezTo>
                      <a:pt x="432" y="441"/>
                      <a:pt x="431" y="439"/>
                      <a:pt x="430" y="437"/>
                    </a:cubicBezTo>
                    <a:cubicBezTo>
                      <a:pt x="429" y="435"/>
                      <a:pt x="428" y="434"/>
                      <a:pt x="426" y="433"/>
                    </a:cubicBezTo>
                    <a:cubicBezTo>
                      <a:pt x="437" y="430"/>
                      <a:pt x="448" y="427"/>
                      <a:pt x="453" y="414"/>
                    </a:cubicBezTo>
                    <a:cubicBezTo>
                      <a:pt x="456" y="409"/>
                      <a:pt x="458" y="404"/>
                      <a:pt x="462" y="399"/>
                    </a:cubicBezTo>
                    <a:cubicBezTo>
                      <a:pt x="463" y="398"/>
                      <a:pt x="463" y="398"/>
                      <a:pt x="463" y="398"/>
                    </a:cubicBezTo>
                    <a:cubicBezTo>
                      <a:pt x="467" y="393"/>
                      <a:pt x="471" y="388"/>
                      <a:pt x="470" y="381"/>
                    </a:cubicBezTo>
                    <a:cubicBezTo>
                      <a:pt x="470" y="380"/>
                      <a:pt x="470" y="380"/>
                      <a:pt x="470" y="380"/>
                    </a:cubicBezTo>
                    <a:cubicBezTo>
                      <a:pt x="470" y="380"/>
                      <a:pt x="470" y="379"/>
                      <a:pt x="469" y="378"/>
                    </a:cubicBezTo>
                    <a:cubicBezTo>
                      <a:pt x="471" y="377"/>
                      <a:pt x="473" y="375"/>
                      <a:pt x="475" y="374"/>
                    </a:cubicBezTo>
                    <a:cubicBezTo>
                      <a:pt x="478" y="371"/>
                      <a:pt x="481" y="369"/>
                      <a:pt x="484" y="366"/>
                    </a:cubicBezTo>
                    <a:cubicBezTo>
                      <a:pt x="486" y="363"/>
                      <a:pt x="488" y="360"/>
                      <a:pt x="490" y="357"/>
                    </a:cubicBezTo>
                    <a:cubicBezTo>
                      <a:pt x="491" y="355"/>
                      <a:pt x="492" y="353"/>
                      <a:pt x="492" y="351"/>
                    </a:cubicBezTo>
                    <a:cubicBezTo>
                      <a:pt x="493" y="349"/>
                      <a:pt x="493" y="348"/>
                      <a:pt x="494" y="347"/>
                    </a:cubicBezTo>
                    <a:cubicBezTo>
                      <a:pt x="495" y="344"/>
                      <a:pt x="496" y="340"/>
                      <a:pt x="496" y="336"/>
                    </a:cubicBezTo>
                    <a:cubicBezTo>
                      <a:pt x="496" y="335"/>
                      <a:pt x="495" y="334"/>
                      <a:pt x="495" y="333"/>
                    </a:cubicBezTo>
                    <a:cubicBezTo>
                      <a:pt x="495" y="333"/>
                      <a:pt x="495" y="332"/>
                      <a:pt x="495" y="332"/>
                    </a:cubicBezTo>
                    <a:cubicBezTo>
                      <a:pt x="495" y="331"/>
                      <a:pt x="495" y="330"/>
                      <a:pt x="496" y="330"/>
                    </a:cubicBezTo>
                    <a:cubicBezTo>
                      <a:pt x="496" y="329"/>
                      <a:pt x="496" y="329"/>
                      <a:pt x="497" y="328"/>
                    </a:cubicBezTo>
                    <a:cubicBezTo>
                      <a:pt x="499" y="325"/>
                      <a:pt x="500" y="322"/>
                      <a:pt x="502" y="318"/>
                    </a:cubicBezTo>
                    <a:cubicBezTo>
                      <a:pt x="503" y="315"/>
                      <a:pt x="505" y="311"/>
                      <a:pt x="507" y="308"/>
                    </a:cubicBezTo>
                    <a:cubicBezTo>
                      <a:pt x="509" y="305"/>
                      <a:pt x="509" y="303"/>
                      <a:pt x="508" y="300"/>
                    </a:cubicBezTo>
                    <a:cubicBezTo>
                      <a:pt x="507" y="300"/>
                      <a:pt x="507" y="299"/>
                      <a:pt x="507" y="298"/>
                    </a:cubicBezTo>
                    <a:cubicBezTo>
                      <a:pt x="506" y="290"/>
                      <a:pt x="509" y="282"/>
                      <a:pt x="512" y="274"/>
                    </a:cubicBezTo>
                    <a:cubicBezTo>
                      <a:pt x="512" y="273"/>
                      <a:pt x="512" y="273"/>
                      <a:pt x="512" y="273"/>
                    </a:cubicBezTo>
                    <a:cubicBezTo>
                      <a:pt x="515" y="265"/>
                      <a:pt x="518" y="260"/>
                      <a:pt x="521" y="256"/>
                    </a:cubicBezTo>
                    <a:cubicBezTo>
                      <a:pt x="523" y="255"/>
                      <a:pt x="524" y="253"/>
                      <a:pt x="526" y="252"/>
                    </a:cubicBezTo>
                    <a:cubicBezTo>
                      <a:pt x="529" y="248"/>
                      <a:pt x="533" y="245"/>
                      <a:pt x="535" y="240"/>
                    </a:cubicBezTo>
                    <a:cubicBezTo>
                      <a:pt x="539" y="235"/>
                      <a:pt x="538" y="232"/>
                      <a:pt x="536" y="228"/>
                    </a:cubicBezTo>
                    <a:close/>
                    <a:moveTo>
                      <a:pt x="281" y="197"/>
                    </a:moveTo>
                    <a:cubicBezTo>
                      <a:pt x="281" y="197"/>
                      <a:pt x="282" y="197"/>
                      <a:pt x="283" y="197"/>
                    </a:cubicBezTo>
                    <a:cubicBezTo>
                      <a:pt x="284" y="197"/>
                      <a:pt x="286" y="196"/>
                      <a:pt x="287" y="196"/>
                    </a:cubicBezTo>
                    <a:cubicBezTo>
                      <a:pt x="288" y="195"/>
                      <a:pt x="288" y="195"/>
                      <a:pt x="289" y="195"/>
                    </a:cubicBezTo>
                    <a:cubicBezTo>
                      <a:pt x="289" y="195"/>
                      <a:pt x="290" y="195"/>
                      <a:pt x="290" y="195"/>
                    </a:cubicBezTo>
                    <a:cubicBezTo>
                      <a:pt x="290" y="195"/>
                      <a:pt x="291" y="195"/>
                      <a:pt x="291" y="195"/>
                    </a:cubicBezTo>
                    <a:cubicBezTo>
                      <a:pt x="290" y="196"/>
                      <a:pt x="289" y="197"/>
                      <a:pt x="287" y="198"/>
                    </a:cubicBezTo>
                    <a:cubicBezTo>
                      <a:pt x="287" y="198"/>
                      <a:pt x="285" y="199"/>
                      <a:pt x="285" y="199"/>
                    </a:cubicBezTo>
                    <a:cubicBezTo>
                      <a:pt x="285" y="199"/>
                      <a:pt x="285" y="199"/>
                      <a:pt x="284" y="199"/>
                    </a:cubicBezTo>
                    <a:cubicBezTo>
                      <a:pt x="283" y="199"/>
                      <a:pt x="282" y="198"/>
                      <a:pt x="281" y="198"/>
                    </a:cubicBezTo>
                    <a:cubicBezTo>
                      <a:pt x="280" y="198"/>
                      <a:pt x="280" y="197"/>
                      <a:pt x="279" y="197"/>
                    </a:cubicBezTo>
                    <a:cubicBezTo>
                      <a:pt x="280" y="197"/>
                      <a:pt x="280" y="197"/>
                      <a:pt x="281" y="197"/>
                    </a:cubicBezTo>
                    <a:close/>
                    <a:moveTo>
                      <a:pt x="74" y="263"/>
                    </a:moveTo>
                    <a:cubicBezTo>
                      <a:pt x="73" y="261"/>
                      <a:pt x="73" y="258"/>
                      <a:pt x="75" y="255"/>
                    </a:cubicBezTo>
                    <a:cubicBezTo>
                      <a:pt x="75" y="254"/>
                      <a:pt x="75" y="254"/>
                      <a:pt x="75" y="254"/>
                    </a:cubicBezTo>
                    <a:cubicBezTo>
                      <a:pt x="75" y="255"/>
                      <a:pt x="75" y="255"/>
                      <a:pt x="75" y="255"/>
                    </a:cubicBezTo>
                    <a:cubicBezTo>
                      <a:pt x="75" y="256"/>
                      <a:pt x="75" y="257"/>
                      <a:pt x="75" y="257"/>
                    </a:cubicBezTo>
                    <a:cubicBezTo>
                      <a:pt x="75" y="258"/>
                      <a:pt x="75" y="258"/>
                      <a:pt x="75" y="258"/>
                    </a:cubicBezTo>
                    <a:cubicBezTo>
                      <a:pt x="75" y="260"/>
                      <a:pt x="74" y="262"/>
                      <a:pt x="76" y="264"/>
                    </a:cubicBezTo>
                    <a:cubicBezTo>
                      <a:pt x="75" y="264"/>
                      <a:pt x="74" y="263"/>
                      <a:pt x="74" y="263"/>
                    </a:cubicBezTo>
                    <a:close/>
                    <a:moveTo>
                      <a:pt x="64" y="428"/>
                    </a:moveTo>
                    <a:cubicBezTo>
                      <a:pt x="64" y="428"/>
                      <a:pt x="63" y="428"/>
                      <a:pt x="63" y="428"/>
                    </a:cubicBezTo>
                    <a:cubicBezTo>
                      <a:pt x="63" y="427"/>
                      <a:pt x="63" y="427"/>
                      <a:pt x="63" y="426"/>
                    </a:cubicBezTo>
                    <a:cubicBezTo>
                      <a:pt x="63" y="426"/>
                      <a:pt x="64" y="426"/>
                      <a:pt x="64" y="427"/>
                    </a:cubicBezTo>
                    <a:cubicBezTo>
                      <a:pt x="64" y="427"/>
                      <a:pt x="64" y="428"/>
                      <a:pt x="64" y="428"/>
                    </a:cubicBezTo>
                    <a:cubicBezTo>
                      <a:pt x="64" y="428"/>
                      <a:pt x="64" y="428"/>
                      <a:pt x="64" y="428"/>
                    </a:cubicBezTo>
                    <a:close/>
                    <a:moveTo>
                      <a:pt x="95" y="395"/>
                    </a:moveTo>
                    <a:cubicBezTo>
                      <a:pt x="96" y="395"/>
                      <a:pt x="97" y="395"/>
                      <a:pt x="97" y="395"/>
                    </a:cubicBezTo>
                    <a:cubicBezTo>
                      <a:pt x="97" y="397"/>
                      <a:pt x="97" y="398"/>
                      <a:pt x="97" y="399"/>
                    </a:cubicBezTo>
                    <a:cubicBezTo>
                      <a:pt x="97" y="400"/>
                      <a:pt x="97" y="400"/>
                      <a:pt x="97" y="400"/>
                    </a:cubicBezTo>
                    <a:cubicBezTo>
                      <a:pt x="97" y="400"/>
                      <a:pt x="97" y="400"/>
                      <a:pt x="97" y="400"/>
                    </a:cubicBezTo>
                    <a:cubicBezTo>
                      <a:pt x="97" y="400"/>
                      <a:pt x="96" y="399"/>
                      <a:pt x="96" y="399"/>
                    </a:cubicBezTo>
                    <a:cubicBezTo>
                      <a:pt x="96" y="398"/>
                      <a:pt x="95" y="398"/>
                      <a:pt x="95" y="397"/>
                    </a:cubicBezTo>
                    <a:cubicBezTo>
                      <a:pt x="94" y="396"/>
                      <a:pt x="94" y="396"/>
                      <a:pt x="93" y="395"/>
                    </a:cubicBezTo>
                    <a:cubicBezTo>
                      <a:pt x="93" y="395"/>
                      <a:pt x="94" y="395"/>
                      <a:pt x="95" y="395"/>
                    </a:cubicBezTo>
                    <a:close/>
                    <a:moveTo>
                      <a:pt x="102" y="423"/>
                    </a:moveTo>
                    <a:cubicBezTo>
                      <a:pt x="101" y="422"/>
                      <a:pt x="100" y="422"/>
                      <a:pt x="99" y="422"/>
                    </a:cubicBezTo>
                    <a:cubicBezTo>
                      <a:pt x="97" y="422"/>
                      <a:pt x="96" y="422"/>
                      <a:pt x="95" y="422"/>
                    </a:cubicBezTo>
                    <a:cubicBezTo>
                      <a:pt x="94" y="422"/>
                      <a:pt x="93" y="423"/>
                      <a:pt x="92" y="423"/>
                    </a:cubicBezTo>
                    <a:cubicBezTo>
                      <a:pt x="91" y="423"/>
                      <a:pt x="90" y="422"/>
                      <a:pt x="89" y="422"/>
                    </a:cubicBezTo>
                    <a:cubicBezTo>
                      <a:pt x="89" y="421"/>
                      <a:pt x="88" y="419"/>
                      <a:pt x="88" y="417"/>
                    </a:cubicBezTo>
                    <a:cubicBezTo>
                      <a:pt x="88" y="415"/>
                      <a:pt x="88" y="414"/>
                      <a:pt x="87" y="412"/>
                    </a:cubicBezTo>
                    <a:cubicBezTo>
                      <a:pt x="89" y="414"/>
                      <a:pt x="91" y="416"/>
                      <a:pt x="93" y="417"/>
                    </a:cubicBezTo>
                    <a:cubicBezTo>
                      <a:pt x="94" y="418"/>
                      <a:pt x="94" y="418"/>
                      <a:pt x="94" y="418"/>
                    </a:cubicBezTo>
                    <a:cubicBezTo>
                      <a:pt x="94" y="418"/>
                      <a:pt x="95" y="419"/>
                      <a:pt x="95" y="419"/>
                    </a:cubicBezTo>
                    <a:cubicBezTo>
                      <a:pt x="96" y="420"/>
                      <a:pt x="97" y="421"/>
                      <a:pt x="99" y="422"/>
                    </a:cubicBezTo>
                    <a:cubicBezTo>
                      <a:pt x="101" y="422"/>
                      <a:pt x="102" y="422"/>
                      <a:pt x="104" y="422"/>
                    </a:cubicBezTo>
                    <a:cubicBezTo>
                      <a:pt x="105" y="422"/>
                      <a:pt x="105" y="423"/>
                      <a:pt x="106" y="423"/>
                    </a:cubicBezTo>
                    <a:cubicBezTo>
                      <a:pt x="107" y="423"/>
                      <a:pt x="108" y="424"/>
                      <a:pt x="109" y="425"/>
                    </a:cubicBezTo>
                    <a:cubicBezTo>
                      <a:pt x="110" y="426"/>
                      <a:pt x="111" y="427"/>
                      <a:pt x="111" y="427"/>
                    </a:cubicBezTo>
                    <a:cubicBezTo>
                      <a:pt x="108" y="425"/>
                      <a:pt x="105" y="424"/>
                      <a:pt x="102" y="423"/>
                    </a:cubicBezTo>
                    <a:close/>
                    <a:moveTo>
                      <a:pt x="120" y="260"/>
                    </a:moveTo>
                    <a:cubicBezTo>
                      <a:pt x="121" y="260"/>
                      <a:pt x="122" y="259"/>
                      <a:pt x="122" y="258"/>
                    </a:cubicBezTo>
                    <a:cubicBezTo>
                      <a:pt x="122" y="259"/>
                      <a:pt x="123" y="260"/>
                      <a:pt x="123" y="260"/>
                    </a:cubicBezTo>
                    <a:cubicBezTo>
                      <a:pt x="122" y="260"/>
                      <a:pt x="122" y="260"/>
                      <a:pt x="121" y="260"/>
                    </a:cubicBezTo>
                    <a:cubicBezTo>
                      <a:pt x="121" y="260"/>
                      <a:pt x="121" y="260"/>
                      <a:pt x="120" y="260"/>
                    </a:cubicBezTo>
                    <a:close/>
                    <a:moveTo>
                      <a:pt x="120" y="329"/>
                    </a:moveTo>
                    <a:cubicBezTo>
                      <a:pt x="120" y="329"/>
                      <a:pt x="119" y="328"/>
                      <a:pt x="117" y="327"/>
                    </a:cubicBezTo>
                    <a:cubicBezTo>
                      <a:pt x="117" y="327"/>
                      <a:pt x="116" y="327"/>
                      <a:pt x="116" y="326"/>
                    </a:cubicBezTo>
                    <a:cubicBezTo>
                      <a:pt x="115" y="326"/>
                      <a:pt x="114" y="326"/>
                      <a:pt x="113" y="325"/>
                    </a:cubicBezTo>
                    <a:cubicBezTo>
                      <a:pt x="113" y="325"/>
                      <a:pt x="113" y="325"/>
                      <a:pt x="113" y="325"/>
                    </a:cubicBezTo>
                    <a:cubicBezTo>
                      <a:pt x="113" y="325"/>
                      <a:pt x="113" y="325"/>
                      <a:pt x="113" y="325"/>
                    </a:cubicBezTo>
                    <a:cubicBezTo>
                      <a:pt x="114" y="325"/>
                      <a:pt x="114" y="325"/>
                      <a:pt x="114" y="325"/>
                    </a:cubicBezTo>
                    <a:cubicBezTo>
                      <a:pt x="115" y="325"/>
                      <a:pt x="115" y="325"/>
                      <a:pt x="115" y="325"/>
                    </a:cubicBezTo>
                    <a:cubicBezTo>
                      <a:pt x="116" y="326"/>
                      <a:pt x="117" y="326"/>
                      <a:pt x="118" y="327"/>
                    </a:cubicBezTo>
                    <a:cubicBezTo>
                      <a:pt x="119" y="327"/>
                      <a:pt x="119" y="328"/>
                      <a:pt x="120" y="329"/>
                    </a:cubicBezTo>
                    <a:cubicBezTo>
                      <a:pt x="121" y="329"/>
                      <a:pt x="121" y="330"/>
                      <a:pt x="122" y="330"/>
                    </a:cubicBezTo>
                    <a:cubicBezTo>
                      <a:pt x="122" y="330"/>
                      <a:pt x="122" y="331"/>
                      <a:pt x="122" y="331"/>
                    </a:cubicBezTo>
                    <a:cubicBezTo>
                      <a:pt x="122" y="331"/>
                      <a:pt x="121" y="330"/>
                      <a:pt x="120" y="329"/>
                    </a:cubicBezTo>
                    <a:close/>
                    <a:moveTo>
                      <a:pt x="123" y="280"/>
                    </a:moveTo>
                    <a:cubicBezTo>
                      <a:pt x="123" y="279"/>
                      <a:pt x="122" y="278"/>
                      <a:pt x="122" y="277"/>
                    </a:cubicBezTo>
                    <a:cubicBezTo>
                      <a:pt x="123" y="277"/>
                      <a:pt x="124" y="278"/>
                      <a:pt x="125" y="279"/>
                    </a:cubicBezTo>
                    <a:cubicBezTo>
                      <a:pt x="125" y="279"/>
                      <a:pt x="125" y="279"/>
                      <a:pt x="125" y="279"/>
                    </a:cubicBezTo>
                    <a:cubicBezTo>
                      <a:pt x="125" y="279"/>
                      <a:pt x="124" y="280"/>
                      <a:pt x="123" y="280"/>
                    </a:cubicBezTo>
                    <a:close/>
                    <a:moveTo>
                      <a:pt x="126" y="175"/>
                    </a:moveTo>
                    <a:cubicBezTo>
                      <a:pt x="126" y="173"/>
                      <a:pt x="126" y="170"/>
                      <a:pt x="126" y="168"/>
                    </a:cubicBezTo>
                    <a:cubicBezTo>
                      <a:pt x="126" y="167"/>
                      <a:pt x="126" y="166"/>
                      <a:pt x="125" y="165"/>
                    </a:cubicBezTo>
                    <a:cubicBezTo>
                      <a:pt x="126" y="166"/>
                      <a:pt x="126" y="166"/>
                      <a:pt x="127" y="166"/>
                    </a:cubicBezTo>
                    <a:cubicBezTo>
                      <a:pt x="128" y="167"/>
                      <a:pt x="129" y="168"/>
                      <a:pt x="129" y="169"/>
                    </a:cubicBezTo>
                    <a:cubicBezTo>
                      <a:pt x="130" y="170"/>
                      <a:pt x="128" y="173"/>
                      <a:pt x="126" y="175"/>
                    </a:cubicBezTo>
                    <a:close/>
                    <a:moveTo>
                      <a:pt x="128" y="479"/>
                    </a:moveTo>
                    <a:cubicBezTo>
                      <a:pt x="126" y="480"/>
                      <a:pt x="126" y="482"/>
                      <a:pt x="126" y="483"/>
                    </a:cubicBezTo>
                    <a:cubicBezTo>
                      <a:pt x="126" y="483"/>
                      <a:pt x="126" y="483"/>
                      <a:pt x="126" y="483"/>
                    </a:cubicBezTo>
                    <a:cubicBezTo>
                      <a:pt x="126" y="483"/>
                      <a:pt x="125" y="484"/>
                      <a:pt x="125" y="485"/>
                    </a:cubicBezTo>
                    <a:cubicBezTo>
                      <a:pt x="125" y="484"/>
                      <a:pt x="125" y="483"/>
                      <a:pt x="125" y="482"/>
                    </a:cubicBezTo>
                    <a:cubicBezTo>
                      <a:pt x="125" y="482"/>
                      <a:pt x="125" y="482"/>
                      <a:pt x="125" y="482"/>
                    </a:cubicBezTo>
                    <a:cubicBezTo>
                      <a:pt x="125" y="481"/>
                      <a:pt x="126" y="479"/>
                      <a:pt x="125" y="477"/>
                    </a:cubicBezTo>
                    <a:cubicBezTo>
                      <a:pt x="127" y="477"/>
                      <a:pt x="128" y="477"/>
                      <a:pt x="129" y="478"/>
                    </a:cubicBezTo>
                    <a:cubicBezTo>
                      <a:pt x="128" y="478"/>
                      <a:pt x="128" y="478"/>
                      <a:pt x="128" y="479"/>
                    </a:cubicBezTo>
                    <a:close/>
                    <a:moveTo>
                      <a:pt x="172" y="542"/>
                    </a:moveTo>
                    <a:cubicBezTo>
                      <a:pt x="171" y="542"/>
                      <a:pt x="170" y="542"/>
                      <a:pt x="169" y="543"/>
                    </a:cubicBezTo>
                    <a:cubicBezTo>
                      <a:pt x="169" y="542"/>
                      <a:pt x="170" y="541"/>
                      <a:pt x="170" y="540"/>
                    </a:cubicBezTo>
                    <a:cubicBezTo>
                      <a:pt x="171" y="540"/>
                      <a:pt x="171" y="541"/>
                      <a:pt x="172" y="542"/>
                    </a:cubicBezTo>
                    <a:cubicBezTo>
                      <a:pt x="172" y="542"/>
                      <a:pt x="172" y="542"/>
                      <a:pt x="172" y="542"/>
                    </a:cubicBezTo>
                    <a:close/>
                    <a:moveTo>
                      <a:pt x="180" y="493"/>
                    </a:moveTo>
                    <a:cubicBezTo>
                      <a:pt x="181" y="492"/>
                      <a:pt x="181" y="491"/>
                      <a:pt x="182" y="490"/>
                    </a:cubicBezTo>
                    <a:cubicBezTo>
                      <a:pt x="183" y="489"/>
                      <a:pt x="183" y="488"/>
                      <a:pt x="184" y="487"/>
                    </a:cubicBezTo>
                    <a:cubicBezTo>
                      <a:pt x="183" y="489"/>
                      <a:pt x="181" y="491"/>
                      <a:pt x="180" y="493"/>
                    </a:cubicBezTo>
                    <a:cubicBezTo>
                      <a:pt x="180" y="493"/>
                      <a:pt x="180" y="493"/>
                      <a:pt x="180" y="493"/>
                    </a:cubicBezTo>
                    <a:close/>
                    <a:moveTo>
                      <a:pt x="203" y="576"/>
                    </a:moveTo>
                    <a:cubicBezTo>
                      <a:pt x="203" y="575"/>
                      <a:pt x="203" y="575"/>
                      <a:pt x="203" y="575"/>
                    </a:cubicBezTo>
                    <a:cubicBezTo>
                      <a:pt x="204" y="574"/>
                      <a:pt x="204" y="574"/>
                      <a:pt x="204" y="574"/>
                    </a:cubicBezTo>
                    <a:cubicBezTo>
                      <a:pt x="204" y="573"/>
                      <a:pt x="204" y="573"/>
                      <a:pt x="204" y="573"/>
                    </a:cubicBezTo>
                    <a:cubicBezTo>
                      <a:pt x="204" y="573"/>
                      <a:pt x="204" y="573"/>
                      <a:pt x="204" y="573"/>
                    </a:cubicBezTo>
                    <a:cubicBezTo>
                      <a:pt x="204" y="574"/>
                      <a:pt x="204" y="575"/>
                      <a:pt x="203" y="576"/>
                    </a:cubicBezTo>
                    <a:close/>
                    <a:moveTo>
                      <a:pt x="219" y="534"/>
                    </a:moveTo>
                    <a:cubicBezTo>
                      <a:pt x="217" y="533"/>
                      <a:pt x="215" y="533"/>
                      <a:pt x="213" y="533"/>
                    </a:cubicBezTo>
                    <a:cubicBezTo>
                      <a:pt x="211" y="533"/>
                      <a:pt x="209" y="533"/>
                      <a:pt x="207" y="535"/>
                    </a:cubicBezTo>
                    <a:cubicBezTo>
                      <a:pt x="201" y="539"/>
                      <a:pt x="200" y="546"/>
                      <a:pt x="200" y="552"/>
                    </a:cubicBezTo>
                    <a:cubicBezTo>
                      <a:pt x="200" y="553"/>
                      <a:pt x="200" y="554"/>
                      <a:pt x="200" y="555"/>
                    </a:cubicBezTo>
                    <a:cubicBezTo>
                      <a:pt x="200" y="559"/>
                      <a:pt x="200" y="563"/>
                      <a:pt x="201" y="566"/>
                    </a:cubicBezTo>
                    <a:cubicBezTo>
                      <a:pt x="201" y="566"/>
                      <a:pt x="202" y="567"/>
                      <a:pt x="202" y="567"/>
                    </a:cubicBezTo>
                    <a:cubicBezTo>
                      <a:pt x="201" y="567"/>
                      <a:pt x="201" y="567"/>
                      <a:pt x="201" y="566"/>
                    </a:cubicBezTo>
                    <a:cubicBezTo>
                      <a:pt x="200" y="566"/>
                      <a:pt x="200" y="566"/>
                      <a:pt x="200" y="566"/>
                    </a:cubicBezTo>
                    <a:cubicBezTo>
                      <a:pt x="200" y="566"/>
                      <a:pt x="200" y="566"/>
                      <a:pt x="200" y="566"/>
                    </a:cubicBezTo>
                    <a:cubicBezTo>
                      <a:pt x="199" y="566"/>
                      <a:pt x="197" y="567"/>
                      <a:pt x="196" y="568"/>
                    </a:cubicBezTo>
                    <a:cubicBezTo>
                      <a:pt x="196" y="569"/>
                      <a:pt x="195" y="570"/>
                      <a:pt x="195" y="570"/>
                    </a:cubicBezTo>
                    <a:cubicBezTo>
                      <a:pt x="193" y="572"/>
                      <a:pt x="192" y="573"/>
                      <a:pt x="192" y="573"/>
                    </a:cubicBezTo>
                    <a:cubicBezTo>
                      <a:pt x="192" y="572"/>
                      <a:pt x="192" y="571"/>
                      <a:pt x="192" y="569"/>
                    </a:cubicBezTo>
                    <a:cubicBezTo>
                      <a:pt x="190" y="561"/>
                      <a:pt x="187" y="555"/>
                      <a:pt x="183" y="552"/>
                    </a:cubicBezTo>
                    <a:cubicBezTo>
                      <a:pt x="181" y="550"/>
                      <a:pt x="180" y="549"/>
                      <a:pt x="179" y="547"/>
                    </a:cubicBezTo>
                    <a:cubicBezTo>
                      <a:pt x="180" y="547"/>
                      <a:pt x="181" y="547"/>
                      <a:pt x="181" y="546"/>
                    </a:cubicBezTo>
                    <a:cubicBezTo>
                      <a:pt x="181" y="546"/>
                      <a:pt x="181" y="546"/>
                      <a:pt x="181" y="546"/>
                    </a:cubicBezTo>
                    <a:cubicBezTo>
                      <a:pt x="182" y="547"/>
                      <a:pt x="182" y="548"/>
                      <a:pt x="183" y="549"/>
                    </a:cubicBezTo>
                    <a:cubicBezTo>
                      <a:pt x="184" y="551"/>
                      <a:pt x="186" y="552"/>
                      <a:pt x="189" y="552"/>
                    </a:cubicBezTo>
                    <a:cubicBezTo>
                      <a:pt x="192" y="552"/>
                      <a:pt x="195" y="551"/>
                      <a:pt x="196" y="549"/>
                    </a:cubicBezTo>
                    <a:cubicBezTo>
                      <a:pt x="198" y="546"/>
                      <a:pt x="198" y="541"/>
                      <a:pt x="198" y="537"/>
                    </a:cubicBezTo>
                    <a:cubicBezTo>
                      <a:pt x="198" y="536"/>
                      <a:pt x="198" y="535"/>
                      <a:pt x="198" y="534"/>
                    </a:cubicBezTo>
                    <a:cubicBezTo>
                      <a:pt x="198" y="533"/>
                      <a:pt x="198" y="533"/>
                      <a:pt x="199" y="533"/>
                    </a:cubicBezTo>
                    <a:cubicBezTo>
                      <a:pt x="199" y="532"/>
                      <a:pt x="199" y="531"/>
                      <a:pt x="199" y="531"/>
                    </a:cubicBezTo>
                    <a:cubicBezTo>
                      <a:pt x="199" y="531"/>
                      <a:pt x="199" y="529"/>
                      <a:pt x="199" y="529"/>
                    </a:cubicBezTo>
                    <a:cubicBezTo>
                      <a:pt x="199" y="529"/>
                      <a:pt x="201" y="528"/>
                      <a:pt x="201" y="528"/>
                    </a:cubicBezTo>
                    <a:cubicBezTo>
                      <a:pt x="206" y="526"/>
                      <a:pt x="205" y="521"/>
                      <a:pt x="205" y="519"/>
                    </a:cubicBezTo>
                    <a:cubicBezTo>
                      <a:pt x="204" y="516"/>
                      <a:pt x="204" y="513"/>
                      <a:pt x="204" y="510"/>
                    </a:cubicBezTo>
                    <a:cubicBezTo>
                      <a:pt x="204" y="507"/>
                      <a:pt x="203" y="504"/>
                      <a:pt x="203" y="502"/>
                    </a:cubicBezTo>
                    <a:cubicBezTo>
                      <a:pt x="204" y="502"/>
                      <a:pt x="204" y="502"/>
                      <a:pt x="205" y="502"/>
                    </a:cubicBezTo>
                    <a:cubicBezTo>
                      <a:pt x="207" y="502"/>
                      <a:pt x="208" y="502"/>
                      <a:pt x="209" y="501"/>
                    </a:cubicBezTo>
                    <a:cubicBezTo>
                      <a:pt x="206" y="505"/>
                      <a:pt x="204" y="509"/>
                      <a:pt x="204" y="514"/>
                    </a:cubicBezTo>
                    <a:cubicBezTo>
                      <a:pt x="204" y="521"/>
                      <a:pt x="211" y="527"/>
                      <a:pt x="216" y="530"/>
                    </a:cubicBezTo>
                    <a:cubicBezTo>
                      <a:pt x="217" y="531"/>
                      <a:pt x="218" y="531"/>
                      <a:pt x="219" y="531"/>
                    </a:cubicBezTo>
                    <a:cubicBezTo>
                      <a:pt x="220" y="532"/>
                      <a:pt x="222" y="533"/>
                      <a:pt x="223" y="534"/>
                    </a:cubicBezTo>
                    <a:cubicBezTo>
                      <a:pt x="223" y="534"/>
                      <a:pt x="224" y="535"/>
                      <a:pt x="225" y="535"/>
                    </a:cubicBezTo>
                    <a:cubicBezTo>
                      <a:pt x="226" y="536"/>
                      <a:pt x="228" y="537"/>
                      <a:pt x="229" y="538"/>
                    </a:cubicBezTo>
                    <a:cubicBezTo>
                      <a:pt x="225" y="538"/>
                      <a:pt x="221" y="536"/>
                      <a:pt x="219" y="534"/>
                    </a:cubicBezTo>
                    <a:close/>
                    <a:moveTo>
                      <a:pt x="367" y="525"/>
                    </a:moveTo>
                    <a:cubicBezTo>
                      <a:pt x="366" y="525"/>
                      <a:pt x="365" y="525"/>
                      <a:pt x="364" y="525"/>
                    </a:cubicBezTo>
                    <a:cubicBezTo>
                      <a:pt x="363" y="525"/>
                      <a:pt x="361" y="525"/>
                      <a:pt x="360" y="525"/>
                    </a:cubicBezTo>
                    <a:cubicBezTo>
                      <a:pt x="359" y="525"/>
                      <a:pt x="358" y="525"/>
                      <a:pt x="357" y="524"/>
                    </a:cubicBezTo>
                    <a:cubicBezTo>
                      <a:pt x="355" y="524"/>
                      <a:pt x="354" y="524"/>
                      <a:pt x="351" y="523"/>
                    </a:cubicBezTo>
                    <a:cubicBezTo>
                      <a:pt x="350" y="522"/>
                      <a:pt x="349" y="522"/>
                      <a:pt x="347" y="522"/>
                    </a:cubicBezTo>
                    <a:cubicBezTo>
                      <a:pt x="346" y="522"/>
                      <a:pt x="344" y="522"/>
                      <a:pt x="343" y="522"/>
                    </a:cubicBezTo>
                    <a:cubicBezTo>
                      <a:pt x="343" y="522"/>
                      <a:pt x="342" y="523"/>
                      <a:pt x="341" y="523"/>
                    </a:cubicBezTo>
                    <a:cubicBezTo>
                      <a:pt x="341" y="523"/>
                      <a:pt x="341" y="523"/>
                      <a:pt x="341" y="523"/>
                    </a:cubicBezTo>
                    <a:cubicBezTo>
                      <a:pt x="339" y="523"/>
                      <a:pt x="338" y="522"/>
                      <a:pt x="337" y="522"/>
                    </a:cubicBezTo>
                    <a:cubicBezTo>
                      <a:pt x="335" y="521"/>
                      <a:pt x="335" y="521"/>
                      <a:pt x="334" y="520"/>
                    </a:cubicBezTo>
                    <a:cubicBezTo>
                      <a:pt x="334" y="520"/>
                      <a:pt x="335" y="520"/>
                      <a:pt x="335" y="520"/>
                    </a:cubicBezTo>
                    <a:cubicBezTo>
                      <a:pt x="335" y="520"/>
                      <a:pt x="336" y="520"/>
                      <a:pt x="336" y="520"/>
                    </a:cubicBezTo>
                    <a:cubicBezTo>
                      <a:pt x="338" y="520"/>
                      <a:pt x="340" y="519"/>
                      <a:pt x="341" y="519"/>
                    </a:cubicBezTo>
                    <a:cubicBezTo>
                      <a:pt x="343" y="519"/>
                      <a:pt x="344" y="518"/>
                      <a:pt x="345" y="518"/>
                    </a:cubicBezTo>
                    <a:cubicBezTo>
                      <a:pt x="346" y="518"/>
                      <a:pt x="346" y="519"/>
                      <a:pt x="347" y="519"/>
                    </a:cubicBezTo>
                    <a:cubicBezTo>
                      <a:pt x="348" y="519"/>
                      <a:pt x="350" y="520"/>
                      <a:pt x="351" y="520"/>
                    </a:cubicBezTo>
                    <a:cubicBezTo>
                      <a:pt x="353" y="521"/>
                      <a:pt x="356" y="522"/>
                      <a:pt x="358" y="523"/>
                    </a:cubicBezTo>
                    <a:cubicBezTo>
                      <a:pt x="359" y="523"/>
                      <a:pt x="360" y="523"/>
                      <a:pt x="361" y="524"/>
                    </a:cubicBezTo>
                    <a:cubicBezTo>
                      <a:pt x="364" y="524"/>
                      <a:pt x="366" y="525"/>
                      <a:pt x="368" y="525"/>
                    </a:cubicBezTo>
                    <a:cubicBezTo>
                      <a:pt x="368" y="525"/>
                      <a:pt x="368" y="525"/>
                      <a:pt x="367" y="525"/>
                    </a:cubicBezTo>
                    <a:close/>
                    <a:moveTo>
                      <a:pt x="406" y="441"/>
                    </a:moveTo>
                    <a:cubicBezTo>
                      <a:pt x="403" y="443"/>
                      <a:pt x="401" y="445"/>
                      <a:pt x="398" y="446"/>
                    </a:cubicBezTo>
                    <a:cubicBezTo>
                      <a:pt x="395" y="448"/>
                      <a:pt x="389" y="451"/>
                      <a:pt x="384" y="452"/>
                    </a:cubicBezTo>
                    <a:cubicBezTo>
                      <a:pt x="385" y="451"/>
                      <a:pt x="386" y="451"/>
                      <a:pt x="387" y="450"/>
                    </a:cubicBezTo>
                    <a:cubicBezTo>
                      <a:pt x="389" y="448"/>
                      <a:pt x="389" y="448"/>
                      <a:pt x="389" y="448"/>
                    </a:cubicBezTo>
                    <a:cubicBezTo>
                      <a:pt x="393" y="444"/>
                      <a:pt x="398" y="440"/>
                      <a:pt x="404" y="438"/>
                    </a:cubicBezTo>
                    <a:cubicBezTo>
                      <a:pt x="406" y="437"/>
                      <a:pt x="409" y="436"/>
                      <a:pt x="412" y="436"/>
                    </a:cubicBezTo>
                    <a:cubicBezTo>
                      <a:pt x="410" y="437"/>
                      <a:pt x="408" y="439"/>
                      <a:pt x="406" y="441"/>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grpSp>
        <p:sp>
          <p:nvSpPr>
            <p:cNvPr id="31" name="Freeform 31"/>
            <p:cNvSpPr>
              <a:spLocks noEditPoints="1"/>
            </p:cNvSpPr>
            <p:nvPr/>
          </p:nvSpPr>
          <p:spPr bwMode="auto">
            <a:xfrm>
              <a:off x="-344058" y="3152305"/>
              <a:ext cx="624673" cy="725115"/>
            </a:xfrm>
            <a:custGeom>
              <a:avLst/>
              <a:gdLst>
                <a:gd name="T0" fmla="*/ 310 w 328"/>
                <a:gd name="T1" fmla="*/ 303 h 406"/>
                <a:gd name="T2" fmla="*/ 274 w 328"/>
                <a:gd name="T3" fmla="*/ 261 h 406"/>
                <a:gd name="T4" fmla="*/ 265 w 328"/>
                <a:gd name="T5" fmla="*/ 188 h 406"/>
                <a:gd name="T6" fmla="*/ 272 w 328"/>
                <a:gd name="T7" fmla="*/ 171 h 406"/>
                <a:gd name="T8" fmla="*/ 281 w 328"/>
                <a:gd name="T9" fmla="*/ 140 h 406"/>
                <a:gd name="T10" fmla="*/ 283 w 328"/>
                <a:gd name="T11" fmla="*/ 95 h 406"/>
                <a:gd name="T12" fmla="*/ 304 w 328"/>
                <a:gd name="T13" fmla="*/ 103 h 406"/>
                <a:gd name="T14" fmla="*/ 292 w 328"/>
                <a:gd name="T15" fmla="*/ 59 h 406"/>
                <a:gd name="T16" fmla="*/ 267 w 328"/>
                <a:gd name="T17" fmla="*/ 32 h 406"/>
                <a:gd name="T18" fmla="*/ 249 w 328"/>
                <a:gd name="T19" fmla="*/ 20 h 406"/>
                <a:gd name="T20" fmla="*/ 229 w 328"/>
                <a:gd name="T21" fmla="*/ 19 h 406"/>
                <a:gd name="T22" fmla="*/ 215 w 328"/>
                <a:gd name="T23" fmla="*/ 26 h 406"/>
                <a:gd name="T24" fmla="*/ 200 w 328"/>
                <a:gd name="T25" fmla="*/ 28 h 406"/>
                <a:gd name="T26" fmla="*/ 179 w 328"/>
                <a:gd name="T27" fmla="*/ 24 h 406"/>
                <a:gd name="T28" fmla="*/ 170 w 328"/>
                <a:gd name="T29" fmla="*/ 32 h 406"/>
                <a:gd name="T30" fmla="*/ 155 w 328"/>
                <a:gd name="T31" fmla="*/ 28 h 406"/>
                <a:gd name="T32" fmla="*/ 129 w 328"/>
                <a:gd name="T33" fmla="*/ 3 h 406"/>
                <a:gd name="T34" fmla="*/ 94 w 328"/>
                <a:gd name="T35" fmla="*/ 13 h 406"/>
                <a:gd name="T36" fmla="*/ 99 w 328"/>
                <a:gd name="T37" fmla="*/ 47 h 406"/>
                <a:gd name="T38" fmla="*/ 121 w 328"/>
                <a:gd name="T39" fmla="*/ 72 h 406"/>
                <a:gd name="T40" fmla="*/ 96 w 328"/>
                <a:gd name="T41" fmla="*/ 98 h 406"/>
                <a:gd name="T42" fmla="*/ 87 w 328"/>
                <a:gd name="T43" fmla="*/ 130 h 406"/>
                <a:gd name="T44" fmla="*/ 102 w 328"/>
                <a:gd name="T45" fmla="*/ 131 h 406"/>
                <a:gd name="T46" fmla="*/ 114 w 328"/>
                <a:gd name="T47" fmla="*/ 114 h 406"/>
                <a:gd name="T48" fmla="*/ 130 w 328"/>
                <a:gd name="T49" fmla="*/ 109 h 406"/>
                <a:gd name="T50" fmla="*/ 144 w 328"/>
                <a:gd name="T51" fmla="*/ 107 h 406"/>
                <a:gd name="T52" fmla="*/ 146 w 328"/>
                <a:gd name="T53" fmla="*/ 120 h 406"/>
                <a:gd name="T54" fmla="*/ 142 w 328"/>
                <a:gd name="T55" fmla="*/ 130 h 406"/>
                <a:gd name="T56" fmla="*/ 155 w 328"/>
                <a:gd name="T57" fmla="*/ 146 h 406"/>
                <a:gd name="T58" fmla="*/ 145 w 328"/>
                <a:gd name="T59" fmla="*/ 164 h 406"/>
                <a:gd name="T60" fmla="*/ 153 w 328"/>
                <a:gd name="T61" fmla="*/ 180 h 406"/>
                <a:gd name="T62" fmla="*/ 147 w 328"/>
                <a:gd name="T63" fmla="*/ 206 h 406"/>
                <a:gd name="T64" fmla="*/ 134 w 328"/>
                <a:gd name="T65" fmla="*/ 231 h 406"/>
                <a:gd name="T66" fmla="*/ 118 w 328"/>
                <a:gd name="T67" fmla="*/ 239 h 406"/>
                <a:gd name="T68" fmla="*/ 95 w 328"/>
                <a:gd name="T69" fmla="*/ 255 h 406"/>
                <a:gd name="T70" fmla="*/ 67 w 328"/>
                <a:gd name="T71" fmla="*/ 269 h 406"/>
                <a:gd name="T72" fmla="*/ 52 w 328"/>
                <a:gd name="T73" fmla="*/ 279 h 406"/>
                <a:gd name="T74" fmla="*/ 28 w 328"/>
                <a:gd name="T75" fmla="*/ 287 h 406"/>
                <a:gd name="T76" fmla="*/ 4 w 328"/>
                <a:gd name="T77" fmla="*/ 300 h 406"/>
                <a:gd name="T78" fmla="*/ 11 w 328"/>
                <a:gd name="T79" fmla="*/ 312 h 406"/>
                <a:gd name="T80" fmla="*/ 24 w 328"/>
                <a:gd name="T81" fmla="*/ 329 h 406"/>
                <a:gd name="T82" fmla="*/ 13 w 328"/>
                <a:gd name="T83" fmla="*/ 332 h 406"/>
                <a:gd name="T84" fmla="*/ 21 w 328"/>
                <a:gd name="T85" fmla="*/ 349 h 406"/>
                <a:gd name="T86" fmla="*/ 34 w 328"/>
                <a:gd name="T87" fmla="*/ 355 h 406"/>
                <a:gd name="T88" fmla="*/ 62 w 328"/>
                <a:gd name="T89" fmla="*/ 357 h 406"/>
                <a:gd name="T90" fmla="*/ 83 w 328"/>
                <a:gd name="T91" fmla="*/ 347 h 406"/>
                <a:gd name="T92" fmla="*/ 88 w 328"/>
                <a:gd name="T93" fmla="*/ 340 h 406"/>
                <a:gd name="T94" fmla="*/ 109 w 328"/>
                <a:gd name="T95" fmla="*/ 338 h 406"/>
                <a:gd name="T96" fmla="*/ 129 w 328"/>
                <a:gd name="T97" fmla="*/ 350 h 406"/>
                <a:gd name="T98" fmla="*/ 141 w 328"/>
                <a:gd name="T99" fmla="*/ 351 h 406"/>
                <a:gd name="T100" fmla="*/ 142 w 328"/>
                <a:gd name="T101" fmla="*/ 355 h 406"/>
                <a:gd name="T102" fmla="*/ 136 w 328"/>
                <a:gd name="T103" fmla="*/ 377 h 406"/>
                <a:gd name="T104" fmla="*/ 166 w 328"/>
                <a:gd name="T105" fmla="*/ 366 h 406"/>
                <a:gd name="T106" fmla="*/ 179 w 328"/>
                <a:gd name="T107" fmla="*/ 357 h 406"/>
                <a:gd name="T108" fmla="*/ 190 w 328"/>
                <a:gd name="T109" fmla="*/ 372 h 406"/>
                <a:gd name="T110" fmla="*/ 216 w 328"/>
                <a:gd name="T111" fmla="*/ 400 h 406"/>
                <a:gd name="T112" fmla="*/ 228 w 328"/>
                <a:gd name="T113" fmla="*/ 406 h 406"/>
                <a:gd name="T114" fmla="*/ 256 w 328"/>
                <a:gd name="T115" fmla="*/ 404 h 406"/>
                <a:gd name="T116" fmla="*/ 266 w 328"/>
                <a:gd name="T117" fmla="*/ 404 h 406"/>
                <a:gd name="T118" fmla="*/ 273 w 328"/>
                <a:gd name="T119" fmla="*/ 385 h 406"/>
                <a:gd name="T120" fmla="*/ 298 w 328"/>
                <a:gd name="T121" fmla="*/ 373 h 406"/>
                <a:gd name="T122" fmla="*/ 328 w 328"/>
                <a:gd name="T123" fmla="*/ 356 h 406"/>
                <a:gd name="T124" fmla="*/ 119 w 328"/>
                <a:gd name="T125" fmla="*/ 33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8" h="406">
                  <a:moveTo>
                    <a:pt x="328" y="356"/>
                  </a:moveTo>
                  <a:cubicBezTo>
                    <a:pt x="327" y="352"/>
                    <a:pt x="327" y="348"/>
                    <a:pt x="327" y="344"/>
                  </a:cubicBezTo>
                  <a:cubicBezTo>
                    <a:pt x="327" y="342"/>
                    <a:pt x="327" y="339"/>
                    <a:pt x="327" y="336"/>
                  </a:cubicBezTo>
                  <a:cubicBezTo>
                    <a:pt x="327" y="335"/>
                    <a:pt x="327" y="333"/>
                    <a:pt x="327" y="330"/>
                  </a:cubicBezTo>
                  <a:cubicBezTo>
                    <a:pt x="328" y="325"/>
                    <a:pt x="328" y="319"/>
                    <a:pt x="326" y="315"/>
                  </a:cubicBezTo>
                  <a:cubicBezTo>
                    <a:pt x="324" y="312"/>
                    <a:pt x="321" y="310"/>
                    <a:pt x="317" y="308"/>
                  </a:cubicBezTo>
                  <a:cubicBezTo>
                    <a:pt x="315" y="307"/>
                    <a:pt x="312" y="305"/>
                    <a:pt x="310" y="303"/>
                  </a:cubicBezTo>
                  <a:cubicBezTo>
                    <a:pt x="305" y="296"/>
                    <a:pt x="302" y="295"/>
                    <a:pt x="293" y="295"/>
                  </a:cubicBezTo>
                  <a:cubicBezTo>
                    <a:pt x="292" y="295"/>
                    <a:pt x="292" y="295"/>
                    <a:pt x="292" y="295"/>
                  </a:cubicBezTo>
                  <a:cubicBezTo>
                    <a:pt x="287" y="295"/>
                    <a:pt x="283" y="292"/>
                    <a:pt x="281" y="288"/>
                  </a:cubicBezTo>
                  <a:cubicBezTo>
                    <a:pt x="280" y="286"/>
                    <a:pt x="280" y="286"/>
                    <a:pt x="280" y="286"/>
                  </a:cubicBezTo>
                  <a:cubicBezTo>
                    <a:pt x="278" y="282"/>
                    <a:pt x="276" y="278"/>
                    <a:pt x="275" y="274"/>
                  </a:cubicBezTo>
                  <a:cubicBezTo>
                    <a:pt x="274" y="272"/>
                    <a:pt x="274" y="269"/>
                    <a:pt x="274" y="267"/>
                  </a:cubicBezTo>
                  <a:cubicBezTo>
                    <a:pt x="274" y="265"/>
                    <a:pt x="274" y="263"/>
                    <a:pt x="274" y="261"/>
                  </a:cubicBezTo>
                  <a:cubicBezTo>
                    <a:pt x="272" y="253"/>
                    <a:pt x="271" y="246"/>
                    <a:pt x="276" y="239"/>
                  </a:cubicBezTo>
                  <a:cubicBezTo>
                    <a:pt x="277" y="238"/>
                    <a:pt x="278" y="237"/>
                    <a:pt x="278" y="236"/>
                  </a:cubicBezTo>
                  <a:cubicBezTo>
                    <a:pt x="282" y="231"/>
                    <a:pt x="288" y="225"/>
                    <a:pt x="287" y="218"/>
                  </a:cubicBezTo>
                  <a:cubicBezTo>
                    <a:pt x="286" y="213"/>
                    <a:pt x="278" y="208"/>
                    <a:pt x="272" y="205"/>
                  </a:cubicBezTo>
                  <a:cubicBezTo>
                    <a:pt x="271" y="205"/>
                    <a:pt x="270" y="204"/>
                    <a:pt x="269" y="204"/>
                  </a:cubicBezTo>
                  <a:cubicBezTo>
                    <a:pt x="264" y="202"/>
                    <a:pt x="259" y="199"/>
                    <a:pt x="258" y="195"/>
                  </a:cubicBezTo>
                  <a:cubicBezTo>
                    <a:pt x="257" y="191"/>
                    <a:pt x="260" y="189"/>
                    <a:pt x="265" y="188"/>
                  </a:cubicBezTo>
                  <a:cubicBezTo>
                    <a:pt x="266" y="188"/>
                    <a:pt x="267" y="187"/>
                    <a:pt x="267" y="187"/>
                  </a:cubicBezTo>
                  <a:cubicBezTo>
                    <a:pt x="268" y="187"/>
                    <a:pt x="268" y="187"/>
                    <a:pt x="269" y="187"/>
                  </a:cubicBezTo>
                  <a:cubicBezTo>
                    <a:pt x="277" y="184"/>
                    <a:pt x="284" y="182"/>
                    <a:pt x="286" y="178"/>
                  </a:cubicBezTo>
                  <a:cubicBezTo>
                    <a:pt x="286" y="176"/>
                    <a:pt x="286" y="175"/>
                    <a:pt x="286" y="174"/>
                  </a:cubicBezTo>
                  <a:cubicBezTo>
                    <a:pt x="284" y="170"/>
                    <a:pt x="279" y="170"/>
                    <a:pt x="277" y="170"/>
                  </a:cubicBezTo>
                  <a:cubicBezTo>
                    <a:pt x="276" y="170"/>
                    <a:pt x="275" y="170"/>
                    <a:pt x="275" y="170"/>
                  </a:cubicBezTo>
                  <a:cubicBezTo>
                    <a:pt x="274" y="170"/>
                    <a:pt x="273" y="171"/>
                    <a:pt x="272" y="171"/>
                  </a:cubicBezTo>
                  <a:cubicBezTo>
                    <a:pt x="271" y="171"/>
                    <a:pt x="270" y="172"/>
                    <a:pt x="269" y="172"/>
                  </a:cubicBezTo>
                  <a:cubicBezTo>
                    <a:pt x="269" y="172"/>
                    <a:pt x="268" y="172"/>
                    <a:pt x="268" y="171"/>
                  </a:cubicBezTo>
                  <a:cubicBezTo>
                    <a:pt x="266" y="169"/>
                    <a:pt x="268" y="166"/>
                    <a:pt x="269" y="163"/>
                  </a:cubicBezTo>
                  <a:cubicBezTo>
                    <a:pt x="270" y="163"/>
                    <a:pt x="271" y="162"/>
                    <a:pt x="272" y="160"/>
                  </a:cubicBezTo>
                  <a:cubicBezTo>
                    <a:pt x="276" y="156"/>
                    <a:pt x="278" y="153"/>
                    <a:pt x="278" y="150"/>
                  </a:cubicBezTo>
                  <a:cubicBezTo>
                    <a:pt x="278" y="149"/>
                    <a:pt x="277" y="149"/>
                    <a:pt x="276" y="148"/>
                  </a:cubicBezTo>
                  <a:cubicBezTo>
                    <a:pt x="276" y="145"/>
                    <a:pt x="279" y="142"/>
                    <a:pt x="281" y="140"/>
                  </a:cubicBezTo>
                  <a:cubicBezTo>
                    <a:pt x="284" y="137"/>
                    <a:pt x="286" y="134"/>
                    <a:pt x="283" y="131"/>
                  </a:cubicBezTo>
                  <a:cubicBezTo>
                    <a:pt x="281" y="129"/>
                    <a:pt x="277" y="128"/>
                    <a:pt x="274" y="127"/>
                  </a:cubicBezTo>
                  <a:cubicBezTo>
                    <a:pt x="268" y="127"/>
                    <a:pt x="265" y="126"/>
                    <a:pt x="264" y="121"/>
                  </a:cubicBezTo>
                  <a:cubicBezTo>
                    <a:pt x="263" y="116"/>
                    <a:pt x="267" y="109"/>
                    <a:pt x="271" y="104"/>
                  </a:cubicBezTo>
                  <a:cubicBezTo>
                    <a:pt x="272" y="102"/>
                    <a:pt x="273" y="101"/>
                    <a:pt x="273" y="100"/>
                  </a:cubicBezTo>
                  <a:cubicBezTo>
                    <a:pt x="276" y="94"/>
                    <a:pt x="278" y="94"/>
                    <a:pt x="279" y="94"/>
                  </a:cubicBezTo>
                  <a:cubicBezTo>
                    <a:pt x="280" y="94"/>
                    <a:pt x="281" y="95"/>
                    <a:pt x="283" y="95"/>
                  </a:cubicBezTo>
                  <a:cubicBezTo>
                    <a:pt x="284" y="95"/>
                    <a:pt x="286" y="96"/>
                    <a:pt x="288" y="96"/>
                  </a:cubicBezTo>
                  <a:cubicBezTo>
                    <a:pt x="288" y="96"/>
                    <a:pt x="288" y="96"/>
                    <a:pt x="289" y="96"/>
                  </a:cubicBezTo>
                  <a:cubicBezTo>
                    <a:pt x="290" y="96"/>
                    <a:pt x="291" y="96"/>
                    <a:pt x="292" y="96"/>
                  </a:cubicBezTo>
                  <a:cubicBezTo>
                    <a:pt x="293" y="96"/>
                    <a:pt x="294" y="96"/>
                    <a:pt x="295" y="96"/>
                  </a:cubicBezTo>
                  <a:cubicBezTo>
                    <a:pt x="296" y="96"/>
                    <a:pt x="297" y="96"/>
                    <a:pt x="298" y="96"/>
                  </a:cubicBezTo>
                  <a:cubicBezTo>
                    <a:pt x="300" y="97"/>
                    <a:pt x="301" y="98"/>
                    <a:pt x="302" y="100"/>
                  </a:cubicBezTo>
                  <a:cubicBezTo>
                    <a:pt x="302" y="101"/>
                    <a:pt x="303" y="102"/>
                    <a:pt x="304" y="103"/>
                  </a:cubicBezTo>
                  <a:cubicBezTo>
                    <a:pt x="305" y="104"/>
                    <a:pt x="306" y="104"/>
                    <a:pt x="307" y="104"/>
                  </a:cubicBezTo>
                  <a:cubicBezTo>
                    <a:pt x="309" y="104"/>
                    <a:pt x="310" y="103"/>
                    <a:pt x="312" y="102"/>
                  </a:cubicBezTo>
                  <a:cubicBezTo>
                    <a:pt x="315" y="98"/>
                    <a:pt x="317" y="92"/>
                    <a:pt x="315" y="89"/>
                  </a:cubicBezTo>
                  <a:cubicBezTo>
                    <a:pt x="313" y="86"/>
                    <a:pt x="310" y="85"/>
                    <a:pt x="307" y="84"/>
                  </a:cubicBezTo>
                  <a:cubicBezTo>
                    <a:pt x="304" y="84"/>
                    <a:pt x="301" y="83"/>
                    <a:pt x="300" y="79"/>
                  </a:cubicBezTo>
                  <a:cubicBezTo>
                    <a:pt x="298" y="74"/>
                    <a:pt x="297" y="71"/>
                    <a:pt x="295" y="67"/>
                  </a:cubicBezTo>
                  <a:cubicBezTo>
                    <a:pt x="294" y="64"/>
                    <a:pt x="293" y="62"/>
                    <a:pt x="292" y="59"/>
                  </a:cubicBezTo>
                  <a:cubicBezTo>
                    <a:pt x="291" y="57"/>
                    <a:pt x="290" y="54"/>
                    <a:pt x="290" y="51"/>
                  </a:cubicBezTo>
                  <a:cubicBezTo>
                    <a:pt x="289" y="46"/>
                    <a:pt x="288" y="41"/>
                    <a:pt x="285" y="37"/>
                  </a:cubicBezTo>
                  <a:cubicBezTo>
                    <a:pt x="282" y="35"/>
                    <a:pt x="279" y="35"/>
                    <a:pt x="276" y="34"/>
                  </a:cubicBezTo>
                  <a:cubicBezTo>
                    <a:pt x="274" y="34"/>
                    <a:pt x="272" y="34"/>
                    <a:pt x="270" y="33"/>
                  </a:cubicBezTo>
                  <a:cubicBezTo>
                    <a:pt x="269" y="33"/>
                    <a:pt x="269" y="33"/>
                    <a:pt x="269" y="33"/>
                  </a:cubicBezTo>
                  <a:cubicBezTo>
                    <a:pt x="268" y="33"/>
                    <a:pt x="268" y="33"/>
                    <a:pt x="268" y="33"/>
                  </a:cubicBezTo>
                  <a:cubicBezTo>
                    <a:pt x="268" y="33"/>
                    <a:pt x="267" y="33"/>
                    <a:pt x="267" y="32"/>
                  </a:cubicBezTo>
                  <a:cubicBezTo>
                    <a:pt x="266" y="32"/>
                    <a:pt x="266" y="32"/>
                    <a:pt x="266" y="32"/>
                  </a:cubicBezTo>
                  <a:cubicBezTo>
                    <a:pt x="265" y="32"/>
                    <a:pt x="265" y="31"/>
                    <a:pt x="265" y="31"/>
                  </a:cubicBezTo>
                  <a:cubicBezTo>
                    <a:pt x="265" y="31"/>
                    <a:pt x="264" y="30"/>
                    <a:pt x="263" y="30"/>
                  </a:cubicBezTo>
                  <a:cubicBezTo>
                    <a:pt x="262" y="29"/>
                    <a:pt x="261" y="28"/>
                    <a:pt x="260" y="27"/>
                  </a:cubicBezTo>
                  <a:cubicBezTo>
                    <a:pt x="258" y="27"/>
                    <a:pt x="257" y="26"/>
                    <a:pt x="256" y="25"/>
                  </a:cubicBezTo>
                  <a:cubicBezTo>
                    <a:pt x="254" y="23"/>
                    <a:pt x="252" y="22"/>
                    <a:pt x="250" y="21"/>
                  </a:cubicBezTo>
                  <a:cubicBezTo>
                    <a:pt x="249" y="20"/>
                    <a:pt x="249" y="20"/>
                    <a:pt x="249" y="20"/>
                  </a:cubicBezTo>
                  <a:cubicBezTo>
                    <a:pt x="248" y="20"/>
                    <a:pt x="248" y="19"/>
                    <a:pt x="247" y="18"/>
                  </a:cubicBezTo>
                  <a:cubicBezTo>
                    <a:pt x="245" y="17"/>
                    <a:pt x="243" y="15"/>
                    <a:pt x="240" y="15"/>
                  </a:cubicBezTo>
                  <a:cubicBezTo>
                    <a:pt x="239" y="15"/>
                    <a:pt x="238" y="15"/>
                    <a:pt x="237" y="15"/>
                  </a:cubicBezTo>
                  <a:cubicBezTo>
                    <a:pt x="236" y="16"/>
                    <a:pt x="236" y="16"/>
                    <a:pt x="236" y="16"/>
                  </a:cubicBezTo>
                  <a:cubicBezTo>
                    <a:pt x="235" y="16"/>
                    <a:pt x="233" y="17"/>
                    <a:pt x="231" y="18"/>
                  </a:cubicBezTo>
                  <a:cubicBezTo>
                    <a:pt x="231" y="18"/>
                    <a:pt x="230" y="18"/>
                    <a:pt x="230" y="18"/>
                  </a:cubicBezTo>
                  <a:cubicBezTo>
                    <a:pt x="229" y="19"/>
                    <a:pt x="229" y="19"/>
                    <a:pt x="229" y="19"/>
                  </a:cubicBezTo>
                  <a:cubicBezTo>
                    <a:pt x="228" y="19"/>
                    <a:pt x="227" y="20"/>
                    <a:pt x="227" y="20"/>
                  </a:cubicBezTo>
                  <a:cubicBezTo>
                    <a:pt x="227" y="20"/>
                    <a:pt x="227" y="20"/>
                    <a:pt x="227" y="20"/>
                  </a:cubicBezTo>
                  <a:cubicBezTo>
                    <a:pt x="226" y="20"/>
                    <a:pt x="226" y="21"/>
                    <a:pt x="225" y="21"/>
                  </a:cubicBezTo>
                  <a:cubicBezTo>
                    <a:pt x="225" y="21"/>
                    <a:pt x="225" y="21"/>
                    <a:pt x="224" y="21"/>
                  </a:cubicBezTo>
                  <a:cubicBezTo>
                    <a:pt x="222" y="22"/>
                    <a:pt x="221" y="22"/>
                    <a:pt x="219" y="23"/>
                  </a:cubicBezTo>
                  <a:cubicBezTo>
                    <a:pt x="218" y="24"/>
                    <a:pt x="217" y="24"/>
                    <a:pt x="216" y="25"/>
                  </a:cubicBezTo>
                  <a:cubicBezTo>
                    <a:pt x="215" y="25"/>
                    <a:pt x="215" y="26"/>
                    <a:pt x="215" y="26"/>
                  </a:cubicBezTo>
                  <a:cubicBezTo>
                    <a:pt x="214" y="26"/>
                    <a:pt x="213" y="27"/>
                    <a:pt x="212" y="27"/>
                  </a:cubicBezTo>
                  <a:cubicBezTo>
                    <a:pt x="212" y="27"/>
                    <a:pt x="211" y="28"/>
                    <a:pt x="210" y="28"/>
                  </a:cubicBezTo>
                  <a:cubicBezTo>
                    <a:pt x="209" y="29"/>
                    <a:pt x="209" y="29"/>
                    <a:pt x="208" y="29"/>
                  </a:cubicBezTo>
                  <a:cubicBezTo>
                    <a:pt x="208" y="29"/>
                    <a:pt x="207" y="29"/>
                    <a:pt x="207" y="28"/>
                  </a:cubicBezTo>
                  <a:cubicBezTo>
                    <a:pt x="205" y="28"/>
                    <a:pt x="204" y="28"/>
                    <a:pt x="202" y="28"/>
                  </a:cubicBezTo>
                  <a:cubicBezTo>
                    <a:pt x="202" y="28"/>
                    <a:pt x="202" y="28"/>
                    <a:pt x="202" y="28"/>
                  </a:cubicBezTo>
                  <a:cubicBezTo>
                    <a:pt x="201" y="28"/>
                    <a:pt x="201" y="28"/>
                    <a:pt x="200" y="28"/>
                  </a:cubicBezTo>
                  <a:cubicBezTo>
                    <a:pt x="199" y="28"/>
                    <a:pt x="199" y="28"/>
                    <a:pt x="199" y="28"/>
                  </a:cubicBezTo>
                  <a:cubicBezTo>
                    <a:pt x="198" y="27"/>
                    <a:pt x="197" y="27"/>
                    <a:pt x="196" y="27"/>
                  </a:cubicBezTo>
                  <a:cubicBezTo>
                    <a:pt x="195" y="27"/>
                    <a:pt x="195" y="26"/>
                    <a:pt x="194" y="25"/>
                  </a:cubicBezTo>
                  <a:cubicBezTo>
                    <a:pt x="194" y="25"/>
                    <a:pt x="193" y="24"/>
                    <a:pt x="193" y="24"/>
                  </a:cubicBezTo>
                  <a:cubicBezTo>
                    <a:pt x="190" y="22"/>
                    <a:pt x="188" y="22"/>
                    <a:pt x="186" y="21"/>
                  </a:cubicBezTo>
                  <a:cubicBezTo>
                    <a:pt x="186" y="21"/>
                    <a:pt x="186" y="21"/>
                    <a:pt x="185" y="21"/>
                  </a:cubicBezTo>
                  <a:cubicBezTo>
                    <a:pt x="182" y="21"/>
                    <a:pt x="180" y="23"/>
                    <a:pt x="179" y="24"/>
                  </a:cubicBezTo>
                  <a:cubicBezTo>
                    <a:pt x="178" y="25"/>
                    <a:pt x="178" y="26"/>
                    <a:pt x="178" y="27"/>
                  </a:cubicBezTo>
                  <a:cubicBezTo>
                    <a:pt x="178" y="27"/>
                    <a:pt x="177" y="28"/>
                    <a:pt x="177" y="28"/>
                  </a:cubicBezTo>
                  <a:cubicBezTo>
                    <a:pt x="177" y="28"/>
                    <a:pt x="177" y="29"/>
                    <a:pt x="176" y="30"/>
                  </a:cubicBezTo>
                  <a:cubicBezTo>
                    <a:pt x="176" y="30"/>
                    <a:pt x="175" y="30"/>
                    <a:pt x="175" y="30"/>
                  </a:cubicBezTo>
                  <a:cubicBezTo>
                    <a:pt x="174" y="30"/>
                    <a:pt x="174" y="30"/>
                    <a:pt x="173" y="30"/>
                  </a:cubicBezTo>
                  <a:cubicBezTo>
                    <a:pt x="173" y="31"/>
                    <a:pt x="172" y="31"/>
                    <a:pt x="171" y="31"/>
                  </a:cubicBezTo>
                  <a:cubicBezTo>
                    <a:pt x="171" y="32"/>
                    <a:pt x="171" y="32"/>
                    <a:pt x="170" y="32"/>
                  </a:cubicBezTo>
                  <a:cubicBezTo>
                    <a:pt x="168" y="33"/>
                    <a:pt x="165" y="34"/>
                    <a:pt x="162" y="35"/>
                  </a:cubicBezTo>
                  <a:cubicBezTo>
                    <a:pt x="160" y="37"/>
                    <a:pt x="158" y="38"/>
                    <a:pt x="156" y="39"/>
                  </a:cubicBezTo>
                  <a:cubicBezTo>
                    <a:pt x="155" y="40"/>
                    <a:pt x="154" y="40"/>
                    <a:pt x="153" y="40"/>
                  </a:cubicBezTo>
                  <a:cubicBezTo>
                    <a:pt x="153" y="40"/>
                    <a:pt x="152" y="40"/>
                    <a:pt x="152" y="40"/>
                  </a:cubicBezTo>
                  <a:cubicBezTo>
                    <a:pt x="151" y="40"/>
                    <a:pt x="150" y="40"/>
                    <a:pt x="150" y="40"/>
                  </a:cubicBezTo>
                  <a:cubicBezTo>
                    <a:pt x="149" y="40"/>
                    <a:pt x="148" y="40"/>
                    <a:pt x="148" y="40"/>
                  </a:cubicBezTo>
                  <a:cubicBezTo>
                    <a:pt x="153" y="36"/>
                    <a:pt x="156" y="32"/>
                    <a:pt x="155" y="28"/>
                  </a:cubicBezTo>
                  <a:cubicBezTo>
                    <a:pt x="155" y="27"/>
                    <a:pt x="154" y="25"/>
                    <a:pt x="150" y="24"/>
                  </a:cubicBezTo>
                  <a:cubicBezTo>
                    <a:pt x="149" y="24"/>
                    <a:pt x="148" y="24"/>
                    <a:pt x="147" y="24"/>
                  </a:cubicBezTo>
                  <a:cubicBezTo>
                    <a:pt x="144" y="24"/>
                    <a:pt x="142" y="24"/>
                    <a:pt x="141" y="25"/>
                  </a:cubicBezTo>
                  <a:cubicBezTo>
                    <a:pt x="141" y="25"/>
                    <a:pt x="140" y="25"/>
                    <a:pt x="140" y="25"/>
                  </a:cubicBezTo>
                  <a:cubicBezTo>
                    <a:pt x="140" y="25"/>
                    <a:pt x="139" y="25"/>
                    <a:pt x="138" y="22"/>
                  </a:cubicBezTo>
                  <a:cubicBezTo>
                    <a:pt x="136" y="18"/>
                    <a:pt x="134" y="15"/>
                    <a:pt x="133" y="11"/>
                  </a:cubicBezTo>
                  <a:cubicBezTo>
                    <a:pt x="132" y="9"/>
                    <a:pt x="130" y="6"/>
                    <a:pt x="129" y="3"/>
                  </a:cubicBezTo>
                  <a:cubicBezTo>
                    <a:pt x="128" y="0"/>
                    <a:pt x="128" y="0"/>
                    <a:pt x="128" y="0"/>
                  </a:cubicBezTo>
                  <a:cubicBezTo>
                    <a:pt x="125" y="2"/>
                    <a:pt x="125" y="2"/>
                    <a:pt x="125" y="2"/>
                  </a:cubicBezTo>
                  <a:cubicBezTo>
                    <a:pt x="123" y="3"/>
                    <a:pt x="121" y="4"/>
                    <a:pt x="118" y="4"/>
                  </a:cubicBezTo>
                  <a:cubicBezTo>
                    <a:pt x="116" y="4"/>
                    <a:pt x="115" y="4"/>
                    <a:pt x="113" y="4"/>
                  </a:cubicBezTo>
                  <a:cubicBezTo>
                    <a:pt x="111" y="3"/>
                    <a:pt x="109" y="3"/>
                    <a:pt x="107" y="3"/>
                  </a:cubicBezTo>
                  <a:cubicBezTo>
                    <a:pt x="104" y="3"/>
                    <a:pt x="100" y="4"/>
                    <a:pt x="97" y="6"/>
                  </a:cubicBezTo>
                  <a:cubicBezTo>
                    <a:pt x="95" y="8"/>
                    <a:pt x="94" y="10"/>
                    <a:pt x="94" y="13"/>
                  </a:cubicBezTo>
                  <a:cubicBezTo>
                    <a:pt x="94" y="13"/>
                    <a:pt x="95" y="14"/>
                    <a:pt x="95" y="14"/>
                  </a:cubicBezTo>
                  <a:cubicBezTo>
                    <a:pt x="95" y="15"/>
                    <a:pt x="95" y="16"/>
                    <a:pt x="95" y="17"/>
                  </a:cubicBezTo>
                  <a:cubicBezTo>
                    <a:pt x="95" y="19"/>
                    <a:pt x="94" y="20"/>
                    <a:pt x="93" y="22"/>
                  </a:cubicBezTo>
                  <a:cubicBezTo>
                    <a:pt x="91" y="24"/>
                    <a:pt x="90" y="26"/>
                    <a:pt x="89" y="29"/>
                  </a:cubicBezTo>
                  <a:cubicBezTo>
                    <a:pt x="87" y="35"/>
                    <a:pt x="91" y="38"/>
                    <a:pt x="94" y="42"/>
                  </a:cubicBezTo>
                  <a:cubicBezTo>
                    <a:pt x="95" y="42"/>
                    <a:pt x="95" y="43"/>
                    <a:pt x="96" y="44"/>
                  </a:cubicBezTo>
                  <a:cubicBezTo>
                    <a:pt x="97" y="45"/>
                    <a:pt x="98" y="46"/>
                    <a:pt x="99" y="47"/>
                  </a:cubicBezTo>
                  <a:cubicBezTo>
                    <a:pt x="102" y="52"/>
                    <a:pt x="106" y="57"/>
                    <a:pt x="113" y="58"/>
                  </a:cubicBezTo>
                  <a:cubicBezTo>
                    <a:pt x="114" y="58"/>
                    <a:pt x="114" y="58"/>
                    <a:pt x="114" y="58"/>
                  </a:cubicBezTo>
                  <a:cubicBezTo>
                    <a:pt x="114" y="59"/>
                    <a:pt x="115" y="61"/>
                    <a:pt x="118" y="61"/>
                  </a:cubicBezTo>
                  <a:cubicBezTo>
                    <a:pt x="119" y="61"/>
                    <a:pt x="121" y="61"/>
                    <a:pt x="122" y="61"/>
                  </a:cubicBezTo>
                  <a:cubicBezTo>
                    <a:pt x="123" y="60"/>
                    <a:pt x="124" y="59"/>
                    <a:pt x="125" y="59"/>
                  </a:cubicBezTo>
                  <a:cubicBezTo>
                    <a:pt x="124" y="60"/>
                    <a:pt x="123" y="62"/>
                    <a:pt x="122" y="64"/>
                  </a:cubicBezTo>
                  <a:cubicBezTo>
                    <a:pt x="121" y="67"/>
                    <a:pt x="121" y="69"/>
                    <a:pt x="121" y="72"/>
                  </a:cubicBezTo>
                  <a:cubicBezTo>
                    <a:pt x="120" y="74"/>
                    <a:pt x="120" y="76"/>
                    <a:pt x="119" y="78"/>
                  </a:cubicBezTo>
                  <a:cubicBezTo>
                    <a:pt x="118" y="80"/>
                    <a:pt x="116" y="82"/>
                    <a:pt x="113" y="84"/>
                  </a:cubicBezTo>
                  <a:cubicBezTo>
                    <a:pt x="113" y="85"/>
                    <a:pt x="112" y="86"/>
                    <a:pt x="111" y="86"/>
                  </a:cubicBezTo>
                  <a:cubicBezTo>
                    <a:pt x="110" y="87"/>
                    <a:pt x="109" y="88"/>
                    <a:pt x="108" y="90"/>
                  </a:cubicBezTo>
                  <a:cubicBezTo>
                    <a:pt x="106" y="91"/>
                    <a:pt x="105" y="93"/>
                    <a:pt x="103" y="94"/>
                  </a:cubicBezTo>
                  <a:cubicBezTo>
                    <a:pt x="102" y="95"/>
                    <a:pt x="100" y="96"/>
                    <a:pt x="99" y="96"/>
                  </a:cubicBezTo>
                  <a:cubicBezTo>
                    <a:pt x="98" y="97"/>
                    <a:pt x="97" y="97"/>
                    <a:pt x="96" y="98"/>
                  </a:cubicBezTo>
                  <a:cubicBezTo>
                    <a:pt x="91" y="101"/>
                    <a:pt x="87" y="105"/>
                    <a:pt x="82" y="109"/>
                  </a:cubicBezTo>
                  <a:cubicBezTo>
                    <a:pt x="78" y="113"/>
                    <a:pt x="75" y="117"/>
                    <a:pt x="72" y="121"/>
                  </a:cubicBezTo>
                  <a:cubicBezTo>
                    <a:pt x="70" y="124"/>
                    <a:pt x="70" y="127"/>
                    <a:pt x="72" y="129"/>
                  </a:cubicBezTo>
                  <a:cubicBezTo>
                    <a:pt x="74" y="131"/>
                    <a:pt x="76" y="132"/>
                    <a:pt x="81" y="132"/>
                  </a:cubicBezTo>
                  <a:cubicBezTo>
                    <a:pt x="81" y="132"/>
                    <a:pt x="81" y="132"/>
                    <a:pt x="81" y="132"/>
                  </a:cubicBezTo>
                  <a:cubicBezTo>
                    <a:pt x="82" y="132"/>
                    <a:pt x="83" y="131"/>
                    <a:pt x="84" y="131"/>
                  </a:cubicBezTo>
                  <a:cubicBezTo>
                    <a:pt x="85" y="131"/>
                    <a:pt x="86" y="131"/>
                    <a:pt x="87" y="130"/>
                  </a:cubicBezTo>
                  <a:cubicBezTo>
                    <a:pt x="89" y="129"/>
                    <a:pt x="89" y="129"/>
                    <a:pt x="89" y="129"/>
                  </a:cubicBezTo>
                  <a:cubicBezTo>
                    <a:pt x="90" y="129"/>
                    <a:pt x="90" y="129"/>
                    <a:pt x="91" y="128"/>
                  </a:cubicBezTo>
                  <a:cubicBezTo>
                    <a:pt x="91" y="128"/>
                    <a:pt x="91" y="128"/>
                    <a:pt x="91" y="128"/>
                  </a:cubicBezTo>
                  <a:cubicBezTo>
                    <a:pt x="92" y="128"/>
                    <a:pt x="93" y="128"/>
                    <a:pt x="94" y="128"/>
                  </a:cubicBezTo>
                  <a:cubicBezTo>
                    <a:pt x="94" y="128"/>
                    <a:pt x="95" y="128"/>
                    <a:pt x="95" y="128"/>
                  </a:cubicBezTo>
                  <a:cubicBezTo>
                    <a:pt x="96" y="128"/>
                    <a:pt x="96" y="129"/>
                    <a:pt x="96" y="129"/>
                  </a:cubicBezTo>
                  <a:cubicBezTo>
                    <a:pt x="98" y="130"/>
                    <a:pt x="99" y="131"/>
                    <a:pt x="102" y="131"/>
                  </a:cubicBezTo>
                  <a:cubicBezTo>
                    <a:pt x="102" y="131"/>
                    <a:pt x="102" y="131"/>
                    <a:pt x="102" y="131"/>
                  </a:cubicBezTo>
                  <a:cubicBezTo>
                    <a:pt x="102" y="131"/>
                    <a:pt x="102" y="131"/>
                    <a:pt x="102" y="131"/>
                  </a:cubicBezTo>
                  <a:cubicBezTo>
                    <a:pt x="106" y="131"/>
                    <a:pt x="107" y="128"/>
                    <a:pt x="106" y="124"/>
                  </a:cubicBezTo>
                  <a:cubicBezTo>
                    <a:pt x="106" y="123"/>
                    <a:pt x="106" y="123"/>
                    <a:pt x="106" y="123"/>
                  </a:cubicBezTo>
                  <a:cubicBezTo>
                    <a:pt x="106" y="121"/>
                    <a:pt x="106" y="120"/>
                    <a:pt x="106" y="119"/>
                  </a:cubicBezTo>
                  <a:cubicBezTo>
                    <a:pt x="107" y="118"/>
                    <a:pt x="109" y="117"/>
                    <a:pt x="110" y="116"/>
                  </a:cubicBezTo>
                  <a:cubicBezTo>
                    <a:pt x="112" y="115"/>
                    <a:pt x="113" y="115"/>
                    <a:pt x="114" y="114"/>
                  </a:cubicBezTo>
                  <a:cubicBezTo>
                    <a:pt x="115" y="114"/>
                    <a:pt x="115" y="113"/>
                    <a:pt x="116" y="113"/>
                  </a:cubicBezTo>
                  <a:cubicBezTo>
                    <a:pt x="117" y="112"/>
                    <a:pt x="117" y="112"/>
                    <a:pt x="118" y="112"/>
                  </a:cubicBezTo>
                  <a:cubicBezTo>
                    <a:pt x="118" y="112"/>
                    <a:pt x="119" y="112"/>
                    <a:pt x="119" y="112"/>
                  </a:cubicBezTo>
                  <a:cubicBezTo>
                    <a:pt x="119" y="112"/>
                    <a:pt x="120" y="113"/>
                    <a:pt x="120" y="113"/>
                  </a:cubicBezTo>
                  <a:cubicBezTo>
                    <a:pt x="121" y="113"/>
                    <a:pt x="121" y="113"/>
                    <a:pt x="121" y="113"/>
                  </a:cubicBezTo>
                  <a:cubicBezTo>
                    <a:pt x="124" y="113"/>
                    <a:pt x="126" y="112"/>
                    <a:pt x="129" y="110"/>
                  </a:cubicBezTo>
                  <a:cubicBezTo>
                    <a:pt x="130" y="109"/>
                    <a:pt x="130" y="109"/>
                    <a:pt x="130" y="109"/>
                  </a:cubicBezTo>
                  <a:cubicBezTo>
                    <a:pt x="131" y="108"/>
                    <a:pt x="132" y="108"/>
                    <a:pt x="133" y="108"/>
                  </a:cubicBezTo>
                  <a:cubicBezTo>
                    <a:pt x="133" y="108"/>
                    <a:pt x="134" y="108"/>
                    <a:pt x="134" y="108"/>
                  </a:cubicBezTo>
                  <a:cubicBezTo>
                    <a:pt x="135" y="108"/>
                    <a:pt x="136" y="108"/>
                    <a:pt x="138" y="108"/>
                  </a:cubicBezTo>
                  <a:cubicBezTo>
                    <a:pt x="138" y="108"/>
                    <a:pt x="138" y="108"/>
                    <a:pt x="138" y="108"/>
                  </a:cubicBezTo>
                  <a:cubicBezTo>
                    <a:pt x="139" y="108"/>
                    <a:pt x="139" y="108"/>
                    <a:pt x="140" y="108"/>
                  </a:cubicBezTo>
                  <a:cubicBezTo>
                    <a:pt x="141" y="108"/>
                    <a:pt x="142" y="108"/>
                    <a:pt x="143" y="107"/>
                  </a:cubicBezTo>
                  <a:cubicBezTo>
                    <a:pt x="144" y="107"/>
                    <a:pt x="144" y="107"/>
                    <a:pt x="144" y="107"/>
                  </a:cubicBezTo>
                  <a:cubicBezTo>
                    <a:pt x="143" y="109"/>
                    <a:pt x="143" y="110"/>
                    <a:pt x="143" y="111"/>
                  </a:cubicBezTo>
                  <a:cubicBezTo>
                    <a:pt x="146" y="111"/>
                    <a:pt x="146" y="111"/>
                    <a:pt x="146" y="111"/>
                  </a:cubicBezTo>
                  <a:cubicBezTo>
                    <a:pt x="143" y="112"/>
                    <a:pt x="143" y="112"/>
                    <a:pt x="143" y="112"/>
                  </a:cubicBezTo>
                  <a:cubicBezTo>
                    <a:pt x="143" y="113"/>
                    <a:pt x="143" y="114"/>
                    <a:pt x="143" y="115"/>
                  </a:cubicBezTo>
                  <a:cubicBezTo>
                    <a:pt x="143" y="116"/>
                    <a:pt x="144" y="118"/>
                    <a:pt x="145" y="119"/>
                  </a:cubicBezTo>
                  <a:cubicBezTo>
                    <a:pt x="146" y="119"/>
                    <a:pt x="146" y="119"/>
                    <a:pt x="146" y="119"/>
                  </a:cubicBezTo>
                  <a:cubicBezTo>
                    <a:pt x="146" y="119"/>
                    <a:pt x="146" y="120"/>
                    <a:pt x="146" y="120"/>
                  </a:cubicBezTo>
                  <a:cubicBezTo>
                    <a:pt x="146" y="120"/>
                    <a:pt x="146" y="120"/>
                    <a:pt x="146" y="120"/>
                  </a:cubicBezTo>
                  <a:cubicBezTo>
                    <a:pt x="146" y="120"/>
                    <a:pt x="145" y="121"/>
                    <a:pt x="145" y="122"/>
                  </a:cubicBezTo>
                  <a:cubicBezTo>
                    <a:pt x="145" y="122"/>
                    <a:pt x="145" y="122"/>
                    <a:pt x="145" y="122"/>
                  </a:cubicBezTo>
                  <a:cubicBezTo>
                    <a:pt x="145" y="122"/>
                    <a:pt x="145" y="123"/>
                    <a:pt x="144" y="123"/>
                  </a:cubicBezTo>
                  <a:cubicBezTo>
                    <a:pt x="143" y="123"/>
                    <a:pt x="141" y="124"/>
                    <a:pt x="141" y="127"/>
                  </a:cubicBezTo>
                  <a:cubicBezTo>
                    <a:pt x="141" y="128"/>
                    <a:pt x="142" y="129"/>
                    <a:pt x="142" y="130"/>
                  </a:cubicBezTo>
                  <a:cubicBezTo>
                    <a:pt x="142" y="130"/>
                    <a:pt x="142" y="130"/>
                    <a:pt x="142" y="130"/>
                  </a:cubicBezTo>
                  <a:cubicBezTo>
                    <a:pt x="143" y="131"/>
                    <a:pt x="143" y="132"/>
                    <a:pt x="145" y="133"/>
                  </a:cubicBezTo>
                  <a:cubicBezTo>
                    <a:pt x="146" y="134"/>
                    <a:pt x="146" y="134"/>
                    <a:pt x="146" y="135"/>
                  </a:cubicBezTo>
                  <a:cubicBezTo>
                    <a:pt x="146" y="135"/>
                    <a:pt x="146" y="136"/>
                    <a:pt x="146" y="136"/>
                  </a:cubicBezTo>
                  <a:cubicBezTo>
                    <a:pt x="146" y="138"/>
                    <a:pt x="145" y="139"/>
                    <a:pt x="146" y="141"/>
                  </a:cubicBezTo>
                  <a:cubicBezTo>
                    <a:pt x="147" y="143"/>
                    <a:pt x="148" y="145"/>
                    <a:pt x="150" y="146"/>
                  </a:cubicBezTo>
                  <a:cubicBezTo>
                    <a:pt x="151" y="146"/>
                    <a:pt x="152" y="146"/>
                    <a:pt x="153" y="146"/>
                  </a:cubicBezTo>
                  <a:cubicBezTo>
                    <a:pt x="153" y="146"/>
                    <a:pt x="154" y="146"/>
                    <a:pt x="155" y="146"/>
                  </a:cubicBezTo>
                  <a:cubicBezTo>
                    <a:pt x="154" y="148"/>
                    <a:pt x="152" y="149"/>
                    <a:pt x="150" y="151"/>
                  </a:cubicBezTo>
                  <a:cubicBezTo>
                    <a:pt x="148" y="152"/>
                    <a:pt x="148" y="152"/>
                    <a:pt x="148" y="152"/>
                  </a:cubicBezTo>
                  <a:cubicBezTo>
                    <a:pt x="148" y="152"/>
                    <a:pt x="148" y="152"/>
                    <a:pt x="148" y="152"/>
                  </a:cubicBezTo>
                  <a:cubicBezTo>
                    <a:pt x="147" y="152"/>
                    <a:pt x="146" y="153"/>
                    <a:pt x="146" y="155"/>
                  </a:cubicBezTo>
                  <a:cubicBezTo>
                    <a:pt x="145" y="156"/>
                    <a:pt x="145" y="157"/>
                    <a:pt x="145" y="159"/>
                  </a:cubicBezTo>
                  <a:cubicBezTo>
                    <a:pt x="145" y="160"/>
                    <a:pt x="145" y="161"/>
                    <a:pt x="145" y="163"/>
                  </a:cubicBezTo>
                  <a:cubicBezTo>
                    <a:pt x="145" y="164"/>
                    <a:pt x="145" y="164"/>
                    <a:pt x="145" y="164"/>
                  </a:cubicBezTo>
                  <a:cubicBezTo>
                    <a:pt x="145" y="164"/>
                    <a:pt x="145" y="165"/>
                    <a:pt x="145" y="166"/>
                  </a:cubicBezTo>
                  <a:cubicBezTo>
                    <a:pt x="145" y="166"/>
                    <a:pt x="146" y="167"/>
                    <a:pt x="146" y="167"/>
                  </a:cubicBezTo>
                  <a:cubicBezTo>
                    <a:pt x="146" y="167"/>
                    <a:pt x="146" y="168"/>
                    <a:pt x="146" y="168"/>
                  </a:cubicBezTo>
                  <a:cubicBezTo>
                    <a:pt x="146" y="169"/>
                    <a:pt x="146" y="169"/>
                    <a:pt x="146" y="170"/>
                  </a:cubicBezTo>
                  <a:cubicBezTo>
                    <a:pt x="146" y="172"/>
                    <a:pt x="146" y="173"/>
                    <a:pt x="147" y="175"/>
                  </a:cubicBezTo>
                  <a:cubicBezTo>
                    <a:pt x="148" y="178"/>
                    <a:pt x="151" y="179"/>
                    <a:pt x="153" y="180"/>
                  </a:cubicBezTo>
                  <a:cubicBezTo>
                    <a:pt x="153" y="180"/>
                    <a:pt x="153" y="180"/>
                    <a:pt x="153" y="180"/>
                  </a:cubicBezTo>
                  <a:cubicBezTo>
                    <a:pt x="154" y="181"/>
                    <a:pt x="156" y="182"/>
                    <a:pt x="157" y="182"/>
                  </a:cubicBezTo>
                  <a:cubicBezTo>
                    <a:pt x="154" y="184"/>
                    <a:pt x="152" y="189"/>
                    <a:pt x="152" y="193"/>
                  </a:cubicBezTo>
                  <a:cubicBezTo>
                    <a:pt x="152" y="194"/>
                    <a:pt x="152" y="194"/>
                    <a:pt x="151" y="195"/>
                  </a:cubicBezTo>
                  <a:cubicBezTo>
                    <a:pt x="151" y="196"/>
                    <a:pt x="151" y="196"/>
                    <a:pt x="151" y="196"/>
                  </a:cubicBezTo>
                  <a:cubicBezTo>
                    <a:pt x="150" y="198"/>
                    <a:pt x="150" y="200"/>
                    <a:pt x="149" y="201"/>
                  </a:cubicBezTo>
                  <a:cubicBezTo>
                    <a:pt x="149" y="202"/>
                    <a:pt x="149" y="202"/>
                    <a:pt x="149" y="202"/>
                  </a:cubicBezTo>
                  <a:cubicBezTo>
                    <a:pt x="148" y="203"/>
                    <a:pt x="148" y="204"/>
                    <a:pt x="147" y="206"/>
                  </a:cubicBezTo>
                  <a:cubicBezTo>
                    <a:pt x="147" y="207"/>
                    <a:pt x="147" y="208"/>
                    <a:pt x="146" y="209"/>
                  </a:cubicBezTo>
                  <a:cubicBezTo>
                    <a:pt x="146" y="210"/>
                    <a:pt x="145" y="212"/>
                    <a:pt x="145" y="213"/>
                  </a:cubicBezTo>
                  <a:cubicBezTo>
                    <a:pt x="144" y="215"/>
                    <a:pt x="144" y="216"/>
                    <a:pt x="143" y="218"/>
                  </a:cubicBezTo>
                  <a:cubicBezTo>
                    <a:pt x="142" y="220"/>
                    <a:pt x="142" y="220"/>
                    <a:pt x="142" y="220"/>
                  </a:cubicBezTo>
                  <a:cubicBezTo>
                    <a:pt x="141" y="222"/>
                    <a:pt x="140" y="224"/>
                    <a:pt x="139" y="225"/>
                  </a:cubicBezTo>
                  <a:cubicBezTo>
                    <a:pt x="138" y="226"/>
                    <a:pt x="137" y="228"/>
                    <a:pt x="135" y="229"/>
                  </a:cubicBezTo>
                  <a:cubicBezTo>
                    <a:pt x="135" y="230"/>
                    <a:pt x="134" y="230"/>
                    <a:pt x="134" y="231"/>
                  </a:cubicBezTo>
                  <a:cubicBezTo>
                    <a:pt x="133" y="232"/>
                    <a:pt x="133" y="232"/>
                    <a:pt x="132" y="233"/>
                  </a:cubicBezTo>
                  <a:cubicBezTo>
                    <a:pt x="132" y="233"/>
                    <a:pt x="131" y="234"/>
                    <a:pt x="131" y="234"/>
                  </a:cubicBezTo>
                  <a:cubicBezTo>
                    <a:pt x="130" y="234"/>
                    <a:pt x="130" y="235"/>
                    <a:pt x="129" y="235"/>
                  </a:cubicBezTo>
                  <a:cubicBezTo>
                    <a:pt x="128" y="236"/>
                    <a:pt x="127" y="237"/>
                    <a:pt x="126" y="237"/>
                  </a:cubicBezTo>
                  <a:cubicBezTo>
                    <a:pt x="125" y="238"/>
                    <a:pt x="125" y="238"/>
                    <a:pt x="125" y="238"/>
                  </a:cubicBezTo>
                  <a:cubicBezTo>
                    <a:pt x="125" y="239"/>
                    <a:pt x="123" y="239"/>
                    <a:pt x="122" y="239"/>
                  </a:cubicBezTo>
                  <a:cubicBezTo>
                    <a:pt x="120" y="239"/>
                    <a:pt x="119" y="239"/>
                    <a:pt x="118" y="239"/>
                  </a:cubicBezTo>
                  <a:cubicBezTo>
                    <a:pt x="116" y="240"/>
                    <a:pt x="115" y="241"/>
                    <a:pt x="114" y="242"/>
                  </a:cubicBezTo>
                  <a:cubicBezTo>
                    <a:pt x="114" y="242"/>
                    <a:pt x="114" y="243"/>
                    <a:pt x="114" y="243"/>
                  </a:cubicBezTo>
                  <a:cubicBezTo>
                    <a:pt x="112" y="244"/>
                    <a:pt x="111" y="246"/>
                    <a:pt x="109" y="247"/>
                  </a:cubicBezTo>
                  <a:cubicBezTo>
                    <a:pt x="108" y="249"/>
                    <a:pt x="106" y="250"/>
                    <a:pt x="104" y="251"/>
                  </a:cubicBezTo>
                  <a:cubicBezTo>
                    <a:pt x="103" y="252"/>
                    <a:pt x="102" y="253"/>
                    <a:pt x="101" y="253"/>
                  </a:cubicBezTo>
                  <a:cubicBezTo>
                    <a:pt x="100" y="254"/>
                    <a:pt x="100" y="255"/>
                    <a:pt x="99" y="255"/>
                  </a:cubicBezTo>
                  <a:cubicBezTo>
                    <a:pt x="97" y="255"/>
                    <a:pt x="96" y="255"/>
                    <a:pt x="95" y="255"/>
                  </a:cubicBezTo>
                  <a:cubicBezTo>
                    <a:pt x="92" y="255"/>
                    <a:pt x="90" y="255"/>
                    <a:pt x="87" y="254"/>
                  </a:cubicBezTo>
                  <a:cubicBezTo>
                    <a:pt x="87" y="254"/>
                    <a:pt x="87" y="254"/>
                    <a:pt x="86" y="254"/>
                  </a:cubicBezTo>
                  <a:cubicBezTo>
                    <a:pt x="83" y="254"/>
                    <a:pt x="80" y="257"/>
                    <a:pt x="79" y="258"/>
                  </a:cubicBezTo>
                  <a:cubicBezTo>
                    <a:pt x="77" y="260"/>
                    <a:pt x="77" y="260"/>
                    <a:pt x="77" y="260"/>
                  </a:cubicBezTo>
                  <a:cubicBezTo>
                    <a:pt x="75" y="261"/>
                    <a:pt x="74" y="262"/>
                    <a:pt x="73" y="264"/>
                  </a:cubicBezTo>
                  <a:cubicBezTo>
                    <a:pt x="72" y="264"/>
                    <a:pt x="71" y="265"/>
                    <a:pt x="70" y="266"/>
                  </a:cubicBezTo>
                  <a:cubicBezTo>
                    <a:pt x="69" y="267"/>
                    <a:pt x="68" y="268"/>
                    <a:pt x="67" y="269"/>
                  </a:cubicBezTo>
                  <a:cubicBezTo>
                    <a:pt x="67" y="270"/>
                    <a:pt x="66" y="270"/>
                    <a:pt x="65" y="270"/>
                  </a:cubicBezTo>
                  <a:cubicBezTo>
                    <a:pt x="64" y="271"/>
                    <a:pt x="63" y="271"/>
                    <a:pt x="61" y="272"/>
                  </a:cubicBezTo>
                  <a:cubicBezTo>
                    <a:pt x="60" y="274"/>
                    <a:pt x="59" y="276"/>
                    <a:pt x="59" y="277"/>
                  </a:cubicBezTo>
                  <a:cubicBezTo>
                    <a:pt x="59" y="278"/>
                    <a:pt x="59" y="278"/>
                    <a:pt x="59" y="278"/>
                  </a:cubicBezTo>
                  <a:cubicBezTo>
                    <a:pt x="58" y="279"/>
                    <a:pt x="57" y="279"/>
                    <a:pt x="56" y="279"/>
                  </a:cubicBezTo>
                  <a:cubicBezTo>
                    <a:pt x="55" y="279"/>
                    <a:pt x="55" y="279"/>
                    <a:pt x="55" y="279"/>
                  </a:cubicBezTo>
                  <a:cubicBezTo>
                    <a:pt x="54" y="279"/>
                    <a:pt x="53" y="279"/>
                    <a:pt x="52" y="279"/>
                  </a:cubicBezTo>
                  <a:cubicBezTo>
                    <a:pt x="51" y="279"/>
                    <a:pt x="50" y="279"/>
                    <a:pt x="49" y="279"/>
                  </a:cubicBezTo>
                  <a:cubicBezTo>
                    <a:pt x="48" y="279"/>
                    <a:pt x="47" y="279"/>
                    <a:pt x="46" y="278"/>
                  </a:cubicBezTo>
                  <a:cubicBezTo>
                    <a:pt x="44" y="278"/>
                    <a:pt x="43" y="277"/>
                    <a:pt x="41" y="277"/>
                  </a:cubicBezTo>
                  <a:cubicBezTo>
                    <a:pt x="40" y="277"/>
                    <a:pt x="38" y="277"/>
                    <a:pt x="37" y="277"/>
                  </a:cubicBezTo>
                  <a:cubicBezTo>
                    <a:pt x="35" y="277"/>
                    <a:pt x="34" y="277"/>
                    <a:pt x="33" y="277"/>
                  </a:cubicBezTo>
                  <a:cubicBezTo>
                    <a:pt x="30" y="278"/>
                    <a:pt x="29" y="282"/>
                    <a:pt x="29" y="284"/>
                  </a:cubicBezTo>
                  <a:cubicBezTo>
                    <a:pt x="29" y="285"/>
                    <a:pt x="28" y="286"/>
                    <a:pt x="28" y="287"/>
                  </a:cubicBezTo>
                  <a:cubicBezTo>
                    <a:pt x="28" y="287"/>
                    <a:pt x="28" y="287"/>
                    <a:pt x="28" y="287"/>
                  </a:cubicBezTo>
                  <a:cubicBezTo>
                    <a:pt x="26" y="289"/>
                    <a:pt x="24" y="291"/>
                    <a:pt x="22" y="293"/>
                  </a:cubicBezTo>
                  <a:cubicBezTo>
                    <a:pt x="20" y="293"/>
                    <a:pt x="20" y="293"/>
                    <a:pt x="20" y="293"/>
                  </a:cubicBezTo>
                  <a:cubicBezTo>
                    <a:pt x="19" y="294"/>
                    <a:pt x="17" y="295"/>
                    <a:pt x="16" y="295"/>
                  </a:cubicBezTo>
                  <a:cubicBezTo>
                    <a:pt x="13" y="296"/>
                    <a:pt x="12" y="296"/>
                    <a:pt x="10" y="297"/>
                  </a:cubicBezTo>
                  <a:cubicBezTo>
                    <a:pt x="10" y="297"/>
                    <a:pt x="9" y="297"/>
                    <a:pt x="8" y="298"/>
                  </a:cubicBezTo>
                  <a:cubicBezTo>
                    <a:pt x="7" y="298"/>
                    <a:pt x="5" y="299"/>
                    <a:pt x="4" y="300"/>
                  </a:cubicBezTo>
                  <a:cubicBezTo>
                    <a:pt x="3" y="301"/>
                    <a:pt x="3" y="303"/>
                    <a:pt x="2" y="303"/>
                  </a:cubicBezTo>
                  <a:cubicBezTo>
                    <a:pt x="2" y="304"/>
                    <a:pt x="2" y="304"/>
                    <a:pt x="2" y="304"/>
                  </a:cubicBezTo>
                  <a:cubicBezTo>
                    <a:pt x="2" y="305"/>
                    <a:pt x="2" y="305"/>
                    <a:pt x="2" y="305"/>
                  </a:cubicBezTo>
                  <a:cubicBezTo>
                    <a:pt x="1" y="307"/>
                    <a:pt x="0" y="308"/>
                    <a:pt x="1" y="310"/>
                  </a:cubicBezTo>
                  <a:cubicBezTo>
                    <a:pt x="2" y="312"/>
                    <a:pt x="4" y="313"/>
                    <a:pt x="5" y="313"/>
                  </a:cubicBezTo>
                  <a:cubicBezTo>
                    <a:pt x="6" y="313"/>
                    <a:pt x="6" y="313"/>
                    <a:pt x="7" y="313"/>
                  </a:cubicBezTo>
                  <a:cubicBezTo>
                    <a:pt x="8" y="313"/>
                    <a:pt x="10" y="313"/>
                    <a:pt x="11" y="312"/>
                  </a:cubicBezTo>
                  <a:cubicBezTo>
                    <a:pt x="12" y="312"/>
                    <a:pt x="13" y="312"/>
                    <a:pt x="14" y="312"/>
                  </a:cubicBezTo>
                  <a:cubicBezTo>
                    <a:pt x="15" y="312"/>
                    <a:pt x="15" y="312"/>
                    <a:pt x="16" y="312"/>
                  </a:cubicBezTo>
                  <a:cubicBezTo>
                    <a:pt x="18" y="313"/>
                    <a:pt x="21" y="314"/>
                    <a:pt x="23" y="317"/>
                  </a:cubicBezTo>
                  <a:cubicBezTo>
                    <a:pt x="26" y="320"/>
                    <a:pt x="28" y="322"/>
                    <a:pt x="28" y="325"/>
                  </a:cubicBezTo>
                  <a:cubicBezTo>
                    <a:pt x="28" y="326"/>
                    <a:pt x="28" y="326"/>
                    <a:pt x="27" y="327"/>
                  </a:cubicBezTo>
                  <a:cubicBezTo>
                    <a:pt x="26" y="328"/>
                    <a:pt x="26" y="328"/>
                    <a:pt x="26" y="328"/>
                  </a:cubicBezTo>
                  <a:cubicBezTo>
                    <a:pt x="25" y="328"/>
                    <a:pt x="25" y="329"/>
                    <a:pt x="24" y="329"/>
                  </a:cubicBezTo>
                  <a:cubicBezTo>
                    <a:pt x="24" y="329"/>
                    <a:pt x="24" y="329"/>
                    <a:pt x="24" y="329"/>
                  </a:cubicBezTo>
                  <a:cubicBezTo>
                    <a:pt x="23" y="328"/>
                    <a:pt x="23" y="328"/>
                    <a:pt x="23" y="328"/>
                  </a:cubicBezTo>
                  <a:cubicBezTo>
                    <a:pt x="22" y="328"/>
                    <a:pt x="21" y="327"/>
                    <a:pt x="20" y="327"/>
                  </a:cubicBezTo>
                  <a:cubicBezTo>
                    <a:pt x="18" y="327"/>
                    <a:pt x="16" y="329"/>
                    <a:pt x="15" y="329"/>
                  </a:cubicBezTo>
                  <a:cubicBezTo>
                    <a:pt x="15" y="330"/>
                    <a:pt x="15" y="330"/>
                    <a:pt x="14" y="330"/>
                  </a:cubicBezTo>
                  <a:cubicBezTo>
                    <a:pt x="14" y="331"/>
                    <a:pt x="14" y="331"/>
                    <a:pt x="13" y="331"/>
                  </a:cubicBezTo>
                  <a:cubicBezTo>
                    <a:pt x="13" y="331"/>
                    <a:pt x="13" y="332"/>
                    <a:pt x="13" y="332"/>
                  </a:cubicBezTo>
                  <a:cubicBezTo>
                    <a:pt x="12" y="332"/>
                    <a:pt x="11" y="332"/>
                    <a:pt x="10" y="334"/>
                  </a:cubicBezTo>
                  <a:cubicBezTo>
                    <a:pt x="9" y="335"/>
                    <a:pt x="9" y="336"/>
                    <a:pt x="9" y="337"/>
                  </a:cubicBezTo>
                  <a:cubicBezTo>
                    <a:pt x="10" y="340"/>
                    <a:pt x="12" y="340"/>
                    <a:pt x="14" y="341"/>
                  </a:cubicBezTo>
                  <a:cubicBezTo>
                    <a:pt x="14" y="341"/>
                    <a:pt x="15" y="341"/>
                    <a:pt x="15" y="341"/>
                  </a:cubicBezTo>
                  <a:cubicBezTo>
                    <a:pt x="15" y="341"/>
                    <a:pt x="15" y="341"/>
                    <a:pt x="15" y="341"/>
                  </a:cubicBezTo>
                  <a:cubicBezTo>
                    <a:pt x="15" y="341"/>
                    <a:pt x="16" y="342"/>
                    <a:pt x="16" y="343"/>
                  </a:cubicBezTo>
                  <a:cubicBezTo>
                    <a:pt x="17" y="345"/>
                    <a:pt x="18" y="349"/>
                    <a:pt x="21" y="349"/>
                  </a:cubicBezTo>
                  <a:cubicBezTo>
                    <a:pt x="22" y="349"/>
                    <a:pt x="23" y="348"/>
                    <a:pt x="24" y="348"/>
                  </a:cubicBezTo>
                  <a:cubicBezTo>
                    <a:pt x="24" y="348"/>
                    <a:pt x="24" y="347"/>
                    <a:pt x="25" y="347"/>
                  </a:cubicBezTo>
                  <a:cubicBezTo>
                    <a:pt x="25" y="348"/>
                    <a:pt x="26" y="349"/>
                    <a:pt x="27" y="350"/>
                  </a:cubicBezTo>
                  <a:cubicBezTo>
                    <a:pt x="28" y="351"/>
                    <a:pt x="28" y="351"/>
                    <a:pt x="29" y="351"/>
                  </a:cubicBezTo>
                  <a:cubicBezTo>
                    <a:pt x="29" y="351"/>
                    <a:pt x="29" y="351"/>
                    <a:pt x="29" y="352"/>
                  </a:cubicBezTo>
                  <a:cubicBezTo>
                    <a:pt x="30" y="352"/>
                    <a:pt x="30" y="353"/>
                    <a:pt x="31" y="353"/>
                  </a:cubicBezTo>
                  <a:cubicBezTo>
                    <a:pt x="32" y="354"/>
                    <a:pt x="33" y="354"/>
                    <a:pt x="34" y="355"/>
                  </a:cubicBezTo>
                  <a:cubicBezTo>
                    <a:pt x="35" y="355"/>
                    <a:pt x="36" y="356"/>
                    <a:pt x="37" y="356"/>
                  </a:cubicBezTo>
                  <a:cubicBezTo>
                    <a:pt x="37" y="357"/>
                    <a:pt x="38" y="357"/>
                    <a:pt x="38" y="358"/>
                  </a:cubicBezTo>
                  <a:cubicBezTo>
                    <a:pt x="38" y="359"/>
                    <a:pt x="39" y="360"/>
                    <a:pt x="40" y="361"/>
                  </a:cubicBezTo>
                  <a:cubicBezTo>
                    <a:pt x="41" y="363"/>
                    <a:pt x="44" y="365"/>
                    <a:pt x="47" y="365"/>
                  </a:cubicBezTo>
                  <a:cubicBezTo>
                    <a:pt x="47" y="365"/>
                    <a:pt x="47" y="365"/>
                    <a:pt x="48" y="365"/>
                  </a:cubicBezTo>
                  <a:cubicBezTo>
                    <a:pt x="52" y="365"/>
                    <a:pt x="55" y="362"/>
                    <a:pt x="58" y="360"/>
                  </a:cubicBezTo>
                  <a:cubicBezTo>
                    <a:pt x="59" y="359"/>
                    <a:pt x="61" y="357"/>
                    <a:pt x="62" y="357"/>
                  </a:cubicBezTo>
                  <a:cubicBezTo>
                    <a:pt x="63" y="356"/>
                    <a:pt x="64" y="356"/>
                    <a:pt x="65" y="356"/>
                  </a:cubicBezTo>
                  <a:cubicBezTo>
                    <a:pt x="66" y="356"/>
                    <a:pt x="68" y="356"/>
                    <a:pt x="69" y="357"/>
                  </a:cubicBezTo>
                  <a:cubicBezTo>
                    <a:pt x="70" y="357"/>
                    <a:pt x="70" y="357"/>
                    <a:pt x="71" y="357"/>
                  </a:cubicBezTo>
                  <a:cubicBezTo>
                    <a:pt x="72" y="357"/>
                    <a:pt x="73" y="357"/>
                    <a:pt x="74" y="357"/>
                  </a:cubicBezTo>
                  <a:cubicBezTo>
                    <a:pt x="76" y="357"/>
                    <a:pt x="78" y="357"/>
                    <a:pt x="79" y="356"/>
                  </a:cubicBezTo>
                  <a:cubicBezTo>
                    <a:pt x="82" y="354"/>
                    <a:pt x="82" y="350"/>
                    <a:pt x="83" y="347"/>
                  </a:cubicBezTo>
                  <a:cubicBezTo>
                    <a:pt x="83" y="347"/>
                    <a:pt x="83" y="347"/>
                    <a:pt x="83" y="347"/>
                  </a:cubicBezTo>
                  <a:cubicBezTo>
                    <a:pt x="83" y="346"/>
                    <a:pt x="83" y="346"/>
                    <a:pt x="83" y="345"/>
                  </a:cubicBezTo>
                  <a:cubicBezTo>
                    <a:pt x="83" y="345"/>
                    <a:pt x="83" y="344"/>
                    <a:pt x="83" y="344"/>
                  </a:cubicBezTo>
                  <a:cubicBezTo>
                    <a:pt x="83" y="343"/>
                    <a:pt x="83" y="343"/>
                    <a:pt x="83" y="343"/>
                  </a:cubicBezTo>
                  <a:cubicBezTo>
                    <a:pt x="83" y="342"/>
                    <a:pt x="83" y="342"/>
                    <a:pt x="83" y="341"/>
                  </a:cubicBezTo>
                  <a:cubicBezTo>
                    <a:pt x="83" y="341"/>
                    <a:pt x="84" y="341"/>
                    <a:pt x="85" y="340"/>
                  </a:cubicBezTo>
                  <a:cubicBezTo>
                    <a:pt x="85" y="340"/>
                    <a:pt x="85" y="340"/>
                    <a:pt x="86" y="340"/>
                  </a:cubicBezTo>
                  <a:cubicBezTo>
                    <a:pt x="86" y="340"/>
                    <a:pt x="87" y="340"/>
                    <a:pt x="88" y="340"/>
                  </a:cubicBezTo>
                  <a:cubicBezTo>
                    <a:pt x="89" y="340"/>
                    <a:pt x="89" y="340"/>
                    <a:pt x="90" y="339"/>
                  </a:cubicBezTo>
                  <a:cubicBezTo>
                    <a:pt x="91" y="339"/>
                    <a:pt x="92" y="339"/>
                    <a:pt x="92" y="339"/>
                  </a:cubicBezTo>
                  <a:cubicBezTo>
                    <a:pt x="94" y="339"/>
                    <a:pt x="95" y="339"/>
                    <a:pt x="97" y="338"/>
                  </a:cubicBezTo>
                  <a:cubicBezTo>
                    <a:pt x="99" y="338"/>
                    <a:pt x="101" y="338"/>
                    <a:pt x="103" y="338"/>
                  </a:cubicBezTo>
                  <a:cubicBezTo>
                    <a:pt x="104" y="338"/>
                    <a:pt x="106" y="338"/>
                    <a:pt x="107" y="338"/>
                  </a:cubicBezTo>
                  <a:cubicBezTo>
                    <a:pt x="107" y="338"/>
                    <a:pt x="107" y="338"/>
                    <a:pt x="107" y="338"/>
                  </a:cubicBezTo>
                  <a:cubicBezTo>
                    <a:pt x="108" y="338"/>
                    <a:pt x="108" y="338"/>
                    <a:pt x="109" y="338"/>
                  </a:cubicBezTo>
                  <a:cubicBezTo>
                    <a:pt x="109" y="338"/>
                    <a:pt x="110" y="338"/>
                    <a:pt x="110" y="338"/>
                  </a:cubicBezTo>
                  <a:cubicBezTo>
                    <a:pt x="111" y="338"/>
                    <a:pt x="113" y="338"/>
                    <a:pt x="114" y="337"/>
                  </a:cubicBezTo>
                  <a:cubicBezTo>
                    <a:pt x="114" y="338"/>
                    <a:pt x="114" y="340"/>
                    <a:pt x="115" y="341"/>
                  </a:cubicBezTo>
                  <a:cubicBezTo>
                    <a:pt x="117" y="343"/>
                    <a:pt x="119" y="345"/>
                    <a:pt x="121" y="347"/>
                  </a:cubicBezTo>
                  <a:cubicBezTo>
                    <a:pt x="122" y="348"/>
                    <a:pt x="122" y="348"/>
                    <a:pt x="122" y="348"/>
                  </a:cubicBezTo>
                  <a:cubicBezTo>
                    <a:pt x="123" y="349"/>
                    <a:pt x="124" y="350"/>
                    <a:pt x="125" y="350"/>
                  </a:cubicBezTo>
                  <a:cubicBezTo>
                    <a:pt x="126" y="350"/>
                    <a:pt x="128" y="350"/>
                    <a:pt x="129" y="350"/>
                  </a:cubicBezTo>
                  <a:cubicBezTo>
                    <a:pt x="130" y="350"/>
                    <a:pt x="130" y="350"/>
                    <a:pt x="131" y="350"/>
                  </a:cubicBezTo>
                  <a:cubicBezTo>
                    <a:pt x="131" y="350"/>
                    <a:pt x="132" y="350"/>
                    <a:pt x="132" y="350"/>
                  </a:cubicBezTo>
                  <a:cubicBezTo>
                    <a:pt x="133" y="350"/>
                    <a:pt x="134" y="350"/>
                    <a:pt x="134" y="350"/>
                  </a:cubicBezTo>
                  <a:cubicBezTo>
                    <a:pt x="135" y="350"/>
                    <a:pt x="135" y="350"/>
                    <a:pt x="135" y="350"/>
                  </a:cubicBezTo>
                  <a:cubicBezTo>
                    <a:pt x="136" y="350"/>
                    <a:pt x="136" y="350"/>
                    <a:pt x="136" y="350"/>
                  </a:cubicBezTo>
                  <a:cubicBezTo>
                    <a:pt x="137" y="350"/>
                    <a:pt x="138" y="351"/>
                    <a:pt x="140" y="351"/>
                  </a:cubicBezTo>
                  <a:cubicBezTo>
                    <a:pt x="140" y="351"/>
                    <a:pt x="140" y="351"/>
                    <a:pt x="141" y="351"/>
                  </a:cubicBezTo>
                  <a:cubicBezTo>
                    <a:pt x="142" y="350"/>
                    <a:pt x="143" y="350"/>
                    <a:pt x="144" y="350"/>
                  </a:cubicBezTo>
                  <a:cubicBezTo>
                    <a:pt x="146" y="350"/>
                    <a:pt x="148" y="350"/>
                    <a:pt x="149" y="350"/>
                  </a:cubicBezTo>
                  <a:cubicBezTo>
                    <a:pt x="151" y="350"/>
                    <a:pt x="153" y="350"/>
                    <a:pt x="154" y="351"/>
                  </a:cubicBezTo>
                  <a:cubicBezTo>
                    <a:pt x="154" y="352"/>
                    <a:pt x="154" y="352"/>
                    <a:pt x="154" y="352"/>
                  </a:cubicBezTo>
                  <a:cubicBezTo>
                    <a:pt x="154" y="352"/>
                    <a:pt x="153" y="354"/>
                    <a:pt x="151" y="354"/>
                  </a:cubicBezTo>
                  <a:cubicBezTo>
                    <a:pt x="150" y="355"/>
                    <a:pt x="148" y="355"/>
                    <a:pt x="147" y="355"/>
                  </a:cubicBezTo>
                  <a:cubicBezTo>
                    <a:pt x="145" y="355"/>
                    <a:pt x="144" y="355"/>
                    <a:pt x="142" y="355"/>
                  </a:cubicBezTo>
                  <a:cubicBezTo>
                    <a:pt x="141" y="354"/>
                    <a:pt x="139" y="354"/>
                    <a:pt x="137" y="354"/>
                  </a:cubicBezTo>
                  <a:cubicBezTo>
                    <a:pt x="136" y="354"/>
                    <a:pt x="135" y="354"/>
                    <a:pt x="133" y="355"/>
                  </a:cubicBezTo>
                  <a:cubicBezTo>
                    <a:pt x="128" y="356"/>
                    <a:pt x="126" y="359"/>
                    <a:pt x="125" y="361"/>
                  </a:cubicBezTo>
                  <a:cubicBezTo>
                    <a:pt x="125" y="364"/>
                    <a:pt x="124" y="371"/>
                    <a:pt x="131" y="374"/>
                  </a:cubicBezTo>
                  <a:cubicBezTo>
                    <a:pt x="131" y="374"/>
                    <a:pt x="131" y="374"/>
                    <a:pt x="132" y="375"/>
                  </a:cubicBezTo>
                  <a:cubicBezTo>
                    <a:pt x="132" y="375"/>
                    <a:pt x="134" y="376"/>
                    <a:pt x="136" y="377"/>
                  </a:cubicBezTo>
                  <a:cubicBezTo>
                    <a:pt x="136" y="377"/>
                    <a:pt x="136" y="377"/>
                    <a:pt x="136" y="377"/>
                  </a:cubicBezTo>
                  <a:cubicBezTo>
                    <a:pt x="139" y="377"/>
                    <a:pt x="142" y="375"/>
                    <a:pt x="144" y="374"/>
                  </a:cubicBezTo>
                  <a:cubicBezTo>
                    <a:pt x="145" y="373"/>
                    <a:pt x="145" y="373"/>
                    <a:pt x="145" y="373"/>
                  </a:cubicBezTo>
                  <a:cubicBezTo>
                    <a:pt x="148" y="372"/>
                    <a:pt x="151" y="371"/>
                    <a:pt x="154" y="371"/>
                  </a:cubicBezTo>
                  <a:cubicBezTo>
                    <a:pt x="155" y="371"/>
                    <a:pt x="156" y="371"/>
                    <a:pt x="157" y="371"/>
                  </a:cubicBezTo>
                  <a:cubicBezTo>
                    <a:pt x="158" y="371"/>
                    <a:pt x="158" y="371"/>
                    <a:pt x="158" y="371"/>
                  </a:cubicBezTo>
                  <a:cubicBezTo>
                    <a:pt x="161" y="371"/>
                    <a:pt x="163" y="371"/>
                    <a:pt x="164" y="370"/>
                  </a:cubicBezTo>
                  <a:cubicBezTo>
                    <a:pt x="166" y="368"/>
                    <a:pt x="166" y="367"/>
                    <a:pt x="166" y="366"/>
                  </a:cubicBezTo>
                  <a:cubicBezTo>
                    <a:pt x="166" y="365"/>
                    <a:pt x="167" y="365"/>
                    <a:pt x="167" y="365"/>
                  </a:cubicBezTo>
                  <a:cubicBezTo>
                    <a:pt x="167" y="363"/>
                    <a:pt x="169" y="361"/>
                    <a:pt x="170" y="361"/>
                  </a:cubicBezTo>
                  <a:cubicBezTo>
                    <a:pt x="170" y="361"/>
                    <a:pt x="171" y="361"/>
                    <a:pt x="171" y="361"/>
                  </a:cubicBezTo>
                  <a:cubicBezTo>
                    <a:pt x="171" y="361"/>
                    <a:pt x="171" y="361"/>
                    <a:pt x="171" y="361"/>
                  </a:cubicBezTo>
                  <a:cubicBezTo>
                    <a:pt x="172" y="361"/>
                    <a:pt x="172" y="361"/>
                    <a:pt x="173" y="361"/>
                  </a:cubicBezTo>
                  <a:cubicBezTo>
                    <a:pt x="175" y="360"/>
                    <a:pt x="176" y="359"/>
                    <a:pt x="177" y="359"/>
                  </a:cubicBezTo>
                  <a:cubicBezTo>
                    <a:pt x="177" y="359"/>
                    <a:pt x="178" y="357"/>
                    <a:pt x="179" y="357"/>
                  </a:cubicBezTo>
                  <a:cubicBezTo>
                    <a:pt x="179" y="357"/>
                    <a:pt x="180" y="356"/>
                    <a:pt x="180" y="356"/>
                  </a:cubicBezTo>
                  <a:cubicBezTo>
                    <a:pt x="180" y="356"/>
                    <a:pt x="180" y="356"/>
                    <a:pt x="180" y="356"/>
                  </a:cubicBezTo>
                  <a:cubicBezTo>
                    <a:pt x="182" y="358"/>
                    <a:pt x="182" y="359"/>
                    <a:pt x="183" y="361"/>
                  </a:cubicBezTo>
                  <a:cubicBezTo>
                    <a:pt x="184" y="362"/>
                    <a:pt x="185" y="363"/>
                    <a:pt x="185" y="364"/>
                  </a:cubicBezTo>
                  <a:cubicBezTo>
                    <a:pt x="186" y="365"/>
                    <a:pt x="187" y="365"/>
                    <a:pt x="187" y="366"/>
                  </a:cubicBezTo>
                  <a:cubicBezTo>
                    <a:pt x="187" y="366"/>
                    <a:pt x="187" y="367"/>
                    <a:pt x="188" y="367"/>
                  </a:cubicBezTo>
                  <a:cubicBezTo>
                    <a:pt x="188" y="369"/>
                    <a:pt x="189" y="370"/>
                    <a:pt x="190" y="372"/>
                  </a:cubicBezTo>
                  <a:cubicBezTo>
                    <a:pt x="192" y="373"/>
                    <a:pt x="193" y="375"/>
                    <a:pt x="193" y="376"/>
                  </a:cubicBezTo>
                  <a:cubicBezTo>
                    <a:pt x="194" y="377"/>
                    <a:pt x="194" y="378"/>
                    <a:pt x="194" y="379"/>
                  </a:cubicBezTo>
                  <a:cubicBezTo>
                    <a:pt x="194" y="380"/>
                    <a:pt x="194" y="381"/>
                    <a:pt x="195" y="382"/>
                  </a:cubicBezTo>
                  <a:cubicBezTo>
                    <a:pt x="196" y="390"/>
                    <a:pt x="202" y="390"/>
                    <a:pt x="207" y="391"/>
                  </a:cubicBezTo>
                  <a:cubicBezTo>
                    <a:pt x="208" y="391"/>
                    <a:pt x="210" y="392"/>
                    <a:pt x="211" y="393"/>
                  </a:cubicBezTo>
                  <a:cubicBezTo>
                    <a:pt x="212" y="394"/>
                    <a:pt x="213" y="395"/>
                    <a:pt x="213" y="396"/>
                  </a:cubicBezTo>
                  <a:cubicBezTo>
                    <a:pt x="214" y="398"/>
                    <a:pt x="215" y="399"/>
                    <a:pt x="216" y="400"/>
                  </a:cubicBezTo>
                  <a:cubicBezTo>
                    <a:pt x="217" y="401"/>
                    <a:pt x="217" y="401"/>
                    <a:pt x="217" y="401"/>
                  </a:cubicBezTo>
                  <a:cubicBezTo>
                    <a:pt x="217" y="402"/>
                    <a:pt x="218" y="403"/>
                    <a:pt x="220" y="404"/>
                  </a:cubicBezTo>
                  <a:cubicBezTo>
                    <a:pt x="221" y="404"/>
                    <a:pt x="222" y="404"/>
                    <a:pt x="223" y="404"/>
                  </a:cubicBezTo>
                  <a:cubicBezTo>
                    <a:pt x="224" y="404"/>
                    <a:pt x="224" y="404"/>
                    <a:pt x="224" y="404"/>
                  </a:cubicBezTo>
                  <a:cubicBezTo>
                    <a:pt x="224" y="404"/>
                    <a:pt x="224" y="404"/>
                    <a:pt x="224" y="404"/>
                  </a:cubicBezTo>
                  <a:cubicBezTo>
                    <a:pt x="225" y="404"/>
                    <a:pt x="225" y="404"/>
                    <a:pt x="226" y="405"/>
                  </a:cubicBezTo>
                  <a:cubicBezTo>
                    <a:pt x="227" y="405"/>
                    <a:pt x="227" y="405"/>
                    <a:pt x="228" y="406"/>
                  </a:cubicBezTo>
                  <a:cubicBezTo>
                    <a:pt x="230" y="406"/>
                    <a:pt x="232" y="406"/>
                    <a:pt x="234" y="406"/>
                  </a:cubicBezTo>
                  <a:cubicBezTo>
                    <a:pt x="235" y="406"/>
                    <a:pt x="237" y="406"/>
                    <a:pt x="238" y="406"/>
                  </a:cubicBezTo>
                  <a:cubicBezTo>
                    <a:pt x="239" y="406"/>
                    <a:pt x="241" y="406"/>
                    <a:pt x="242" y="406"/>
                  </a:cubicBezTo>
                  <a:cubicBezTo>
                    <a:pt x="242" y="406"/>
                    <a:pt x="243" y="406"/>
                    <a:pt x="244" y="406"/>
                  </a:cubicBezTo>
                  <a:cubicBezTo>
                    <a:pt x="244" y="406"/>
                    <a:pt x="245" y="406"/>
                    <a:pt x="245" y="406"/>
                  </a:cubicBezTo>
                  <a:cubicBezTo>
                    <a:pt x="247" y="406"/>
                    <a:pt x="248" y="406"/>
                    <a:pt x="249" y="406"/>
                  </a:cubicBezTo>
                  <a:cubicBezTo>
                    <a:pt x="251" y="406"/>
                    <a:pt x="254" y="406"/>
                    <a:pt x="256" y="404"/>
                  </a:cubicBezTo>
                  <a:cubicBezTo>
                    <a:pt x="257" y="404"/>
                    <a:pt x="258" y="403"/>
                    <a:pt x="259" y="403"/>
                  </a:cubicBezTo>
                  <a:cubicBezTo>
                    <a:pt x="259" y="403"/>
                    <a:pt x="260" y="403"/>
                    <a:pt x="261" y="403"/>
                  </a:cubicBezTo>
                  <a:cubicBezTo>
                    <a:pt x="261" y="403"/>
                    <a:pt x="262" y="403"/>
                    <a:pt x="262" y="403"/>
                  </a:cubicBezTo>
                  <a:cubicBezTo>
                    <a:pt x="263" y="403"/>
                    <a:pt x="263" y="403"/>
                    <a:pt x="263" y="403"/>
                  </a:cubicBezTo>
                  <a:cubicBezTo>
                    <a:pt x="264" y="403"/>
                    <a:pt x="264" y="404"/>
                    <a:pt x="265" y="404"/>
                  </a:cubicBezTo>
                  <a:cubicBezTo>
                    <a:pt x="266" y="404"/>
                    <a:pt x="266" y="404"/>
                    <a:pt x="266" y="404"/>
                  </a:cubicBezTo>
                  <a:cubicBezTo>
                    <a:pt x="266" y="404"/>
                    <a:pt x="266" y="404"/>
                    <a:pt x="266" y="404"/>
                  </a:cubicBezTo>
                  <a:cubicBezTo>
                    <a:pt x="270" y="403"/>
                    <a:pt x="272" y="398"/>
                    <a:pt x="271" y="395"/>
                  </a:cubicBezTo>
                  <a:cubicBezTo>
                    <a:pt x="271" y="394"/>
                    <a:pt x="271" y="393"/>
                    <a:pt x="271" y="393"/>
                  </a:cubicBezTo>
                  <a:cubicBezTo>
                    <a:pt x="270" y="392"/>
                    <a:pt x="270" y="391"/>
                    <a:pt x="270" y="391"/>
                  </a:cubicBezTo>
                  <a:cubicBezTo>
                    <a:pt x="270" y="391"/>
                    <a:pt x="271" y="390"/>
                    <a:pt x="271" y="390"/>
                  </a:cubicBezTo>
                  <a:cubicBezTo>
                    <a:pt x="271" y="389"/>
                    <a:pt x="272" y="389"/>
                    <a:pt x="272" y="388"/>
                  </a:cubicBezTo>
                  <a:cubicBezTo>
                    <a:pt x="272" y="387"/>
                    <a:pt x="273" y="386"/>
                    <a:pt x="273" y="386"/>
                  </a:cubicBezTo>
                  <a:cubicBezTo>
                    <a:pt x="273" y="385"/>
                    <a:pt x="273" y="385"/>
                    <a:pt x="273" y="385"/>
                  </a:cubicBezTo>
                  <a:cubicBezTo>
                    <a:pt x="274" y="383"/>
                    <a:pt x="275" y="382"/>
                    <a:pt x="277" y="381"/>
                  </a:cubicBezTo>
                  <a:cubicBezTo>
                    <a:pt x="278" y="380"/>
                    <a:pt x="280" y="379"/>
                    <a:pt x="281" y="378"/>
                  </a:cubicBezTo>
                  <a:cubicBezTo>
                    <a:pt x="284" y="375"/>
                    <a:pt x="287" y="373"/>
                    <a:pt x="291" y="371"/>
                  </a:cubicBezTo>
                  <a:cubicBezTo>
                    <a:pt x="291" y="372"/>
                    <a:pt x="291" y="372"/>
                    <a:pt x="292" y="372"/>
                  </a:cubicBezTo>
                  <a:cubicBezTo>
                    <a:pt x="292" y="372"/>
                    <a:pt x="293" y="373"/>
                    <a:pt x="295" y="373"/>
                  </a:cubicBezTo>
                  <a:cubicBezTo>
                    <a:pt x="295" y="373"/>
                    <a:pt x="296" y="373"/>
                    <a:pt x="297" y="373"/>
                  </a:cubicBezTo>
                  <a:cubicBezTo>
                    <a:pt x="297" y="373"/>
                    <a:pt x="298" y="373"/>
                    <a:pt x="298" y="373"/>
                  </a:cubicBezTo>
                  <a:cubicBezTo>
                    <a:pt x="299" y="373"/>
                    <a:pt x="299" y="373"/>
                    <a:pt x="299" y="373"/>
                  </a:cubicBezTo>
                  <a:cubicBezTo>
                    <a:pt x="302" y="373"/>
                    <a:pt x="305" y="372"/>
                    <a:pt x="307" y="371"/>
                  </a:cubicBezTo>
                  <a:cubicBezTo>
                    <a:pt x="308" y="370"/>
                    <a:pt x="309" y="370"/>
                    <a:pt x="311" y="370"/>
                  </a:cubicBezTo>
                  <a:cubicBezTo>
                    <a:pt x="314" y="369"/>
                    <a:pt x="316" y="368"/>
                    <a:pt x="319" y="365"/>
                  </a:cubicBezTo>
                  <a:cubicBezTo>
                    <a:pt x="323" y="363"/>
                    <a:pt x="325" y="360"/>
                    <a:pt x="327" y="358"/>
                  </a:cubicBezTo>
                  <a:cubicBezTo>
                    <a:pt x="328" y="357"/>
                    <a:pt x="328" y="357"/>
                    <a:pt x="328" y="357"/>
                  </a:cubicBezTo>
                  <a:lnTo>
                    <a:pt x="328" y="356"/>
                  </a:lnTo>
                  <a:close/>
                  <a:moveTo>
                    <a:pt x="120" y="334"/>
                  </a:moveTo>
                  <a:cubicBezTo>
                    <a:pt x="120" y="334"/>
                    <a:pt x="119" y="334"/>
                    <a:pt x="119" y="334"/>
                  </a:cubicBezTo>
                  <a:cubicBezTo>
                    <a:pt x="119" y="334"/>
                    <a:pt x="118" y="335"/>
                    <a:pt x="118" y="335"/>
                  </a:cubicBezTo>
                  <a:cubicBezTo>
                    <a:pt x="118" y="335"/>
                    <a:pt x="118" y="335"/>
                    <a:pt x="118" y="335"/>
                  </a:cubicBezTo>
                  <a:cubicBezTo>
                    <a:pt x="119" y="334"/>
                    <a:pt x="119" y="332"/>
                    <a:pt x="119" y="332"/>
                  </a:cubicBezTo>
                  <a:cubicBezTo>
                    <a:pt x="119" y="332"/>
                    <a:pt x="119" y="332"/>
                    <a:pt x="119" y="332"/>
                  </a:cubicBezTo>
                  <a:cubicBezTo>
                    <a:pt x="119" y="332"/>
                    <a:pt x="119" y="332"/>
                    <a:pt x="119" y="332"/>
                  </a:cubicBezTo>
                  <a:cubicBezTo>
                    <a:pt x="119" y="333"/>
                    <a:pt x="120" y="334"/>
                    <a:pt x="120" y="334"/>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32" name="Freeform 32"/>
            <p:cNvSpPr>
              <a:spLocks noEditPoints="1"/>
            </p:cNvSpPr>
            <p:nvPr/>
          </p:nvSpPr>
          <p:spPr bwMode="auto">
            <a:xfrm>
              <a:off x="-945897" y="2509119"/>
              <a:ext cx="593684" cy="435682"/>
            </a:xfrm>
            <a:custGeom>
              <a:avLst/>
              <a:gdLst>
                <a:gd name="T0" fmla="*/ 291 w 312"/>
                <a:gd name="T1" fmla="*/ 113 h 244"/>
                <a:gd name="T2" fmla="*/ 261 w 312"/>
                <a:gd name="T3" fmla="*/ 127 h 244"/>
                <a:gd name="T4" fmla="*/ 265 w 312"/>
                <a:gd name="T5" fmla="*/ 116 h 244"/>
                <a:gd name="T6" fmla="*/ 286 w 312"/>
                <a:gd name="T7" fmla="*/ 85 h 244"/>
                <a:gd name="T8" fmla="*/ 272 w 312"/>
                <a:gd name="T9" fmla="*/ 77 h 244"/>
                <a:gd name="T10" fmla="*/ 267 w 312"/>
                <a:gd name="T11" fmla="*/ 69 h 244"/>
                <a:gd name="T12" fmla="*/ 251 w 312"/>
                <a:gd name="T13" fmla="*/ 43 h 244"/>
                <a:gd name="T14" fmla="*/ 246 w 312"/>
                <a:gd name="T15" fmla="*/ 35 h 244"/>
                <a:gd name="T16" fmla="*/ 232 w 312"/>
                <a:gd name="T17" fmla="*/ 6 h 244"/>
                <a:gd name="T18" fmla="*/ 216 w 312"/>
                <a:gd name="T19" fmla="*/ 4 h 244"/>
                <a:gd name="T20" fmla="*/ 176 w 312"/>
                <a:gd name="T21" fmla="*/ 6 h 244"/>
                <a:gd name="T22" fmla="*/ 154 w 312"/>
                <a:gd name="T23" fmla="*/ 13 h 244"/>
                <a:gd name="T24" fmla="*/ 138 w 312"/>
                <a:gd name="T25" fmla="*/ 21 h 244"/>
                <a:gd name="T26" fmla="*/ 110 w 312"/>
                <a:gd name="T27" fmla="*/ 34 h 244"/>
                <a:gd name="T28" fmla="*/ 86 w 312"/>
                <a:gd name="T29" fmla="*/ 57 h 244"/>
                <a:gd name="T30" fmla="*/ 76 w 312"/>
                <a:gd name="T31" fmla="*/ 81 h 244"/>
                <a:gd name="T32" fmla="*/ 65 w 312"/>
                <a:gd name="T33" fmla="*/ 95 h 244"/>
                <a:gd name="T34" fmla="*/ 49 w 312"/>
                <a:gd name="T35" fmla="*/ 102 h 244"/>
                <a:gd name="T36" fmla="*/ 36 w 312"/>
                <a:gd name="T37" fmla="*/ 98 h 244"/>
                <a:gd name="T38" fmla="*/ 43 w 312"/>
                <a:gd name="T39" fmla="*/ 116 h 244"/>
                <a:gd name="T40" fmla="*/ 45 w 312"/>
                <a:gd name="T41" fmla="*/ 119 h 244"/>
                <a:gd name="T42" fmla="*/ 53 w 312"/>
                <a:gd name="T43" fmla="*/ 120 h 244"/>
                <a:gd name="T44" fmla="*/ 40 w 312"/>
                <a:gd name="T45" fmla="*/ 130 h 244"/>
                <a:gd name="T46" fmla="*/ 22 w 312"/>
                <a:gd name="T47" fmla="*/ 132 h 244"/>
                <a:gd name="T48" fmla="*/ 7 w 312"/>
                <a:gd name="T49" fmla="*/ 144 h 244"/>
                <a:gd name="T50" fmla="*/ 11 w 312"/>
                <a:gd name="T51" fmla="*/ 166 h 244"/>
                <a:gd name="T52" fmla="*/ 26 w 312"/>
                <a:gd name="T53" fmla="*/ 182 h 244"/>
                <a:gd name="T54" fmla="*/ 40 w 312"/>
                <a:gd name="T55" fmla="*/ 201 h 244"/>
                <a:gd name="T56" fmla="*/ 57 w 312"/>
                <a:gd name="T57" fmla="*/ 209 h 244"/>
                <a:gd name="T58" fmla="*/ 77 w 312"/>
                <a:gd name="T59" fmla="*/ 216 h 244"/>
                <a:gd name="T60" fmla="*/ 91 w 312"/>
                <a:gd name="T61" fmla="*/ 220 h 244"/>
                <a:gd name="T62" fmla="*/ 110 w 312"/>
                <a:gd name="T63" fmla="*/ 201 h 244"/>
                <a:gd name="T64" fmla="*/ 109 w 312"/>
                <a:gd name="T65" fmla="*/ 182 h 244"/>
                <a:gd name="T66" fmla="*/ 126 w 312"/>
                <a:gd name="T67" fmla="*/ 166 h 244"/>
                <a:gd name="T68" fmla="*/ 147 w 312"/>
                <a:gd name="T69" fmla="*/ 188 h 244"/>
                <a:gd name="T70" fmla="*/ 167 w 312"/>
                <a:gd name="T71" fmla="*/ 207 h 244"/>
                <a:gd name="T72" fmla="*/ 176 w 312"/>
                <a:gd name="T73" fmla="*/ 238 h 244"/>
                <a:gd name="T74" fmla="*/ 206 w 312"/>
                <a:gd name="T75" fmla="*/ 225 h 244"/>
                <a:gd name="T76" fmla="*/ 230 w 312"/>
                <a:gd name="T77" fmla="*/ 237 h 244"/>
                <a:gd name="T78" fmla="*/ 250 w 312"/>
                <a:gd name="T79" fmla="*/ 237 h 244"/>
                <a:gd name="T80" fmla="*/ 276 w 312"/>
                <a:gd name="T81" fmla="*/ 204 h 244"/>
                <a:gd name="T82" fmla="*/ 304 w 312"/>
                <a:gd name="T83" fmla="*/ 183 h 244"/>
                <a:gd name="T84" fmla="*/ 311 w 312"/>
                <a:gd name="T85" fmla="*/ 162 h 244"/>
                <a:gd name="T86" fmla="*/ 294 w 312"/>
                <a:gd name="T87" fmla="*/ 173 h 244"/>
                <a:gd name="T88" fmla="*/ 288 w 312"/>
                <a:gd name="T89" fmla="*/ 171 h 244"/>
                <a:gd name="T90" fmla="*/ 285 w 312"/>
                <a:gd name="T91" fmla="*/ 145 h 244"/>
                <a:gd name="T92" fmla="*/ 297 w 312"/>
                <a:gd name="T93" fmla="*/ 160 h 244"/>
                <a:gd name="T94" fmla="*/ 187 w 312"/>
                <a:gd name="T95" fmla="*/ 131 h 244"/>
                <a:gd name="T96" fmla="*/ 191 w 312"/>
                <a:gd name="T97" fmla="*/ 104 h 244"/>
                <a:gd name="T98" fmla="*/ 204 w 312"/>
                <a:gd name="T99" fmla="*/ 113 h 244"/>
                <a:gd name="T100" fmla="*/ 215 w 312"/>
                <a:gd name="T101" fmla="*/ 113 h 244"/>
                <a:gd name="T102" fmla="*/ 214 w 312"/>
                <a:gd name="T103" fmla="*/ 131 h 244"/>
                <a:gd name="T104" fmla="*/ 206 w 312"/>
                <a:gd name="T105" fmla="*/ 138 h 244"/>
                <a:gd name="T106" fmla="*/ 198 w 312"/>
                <a:gd name="T107" fmla="*/ 145 h 244"/>
                <a:gd name="T108" fmla="*/ 184 w 312"/>
                <a:gd name="T109" fmla="*/ 14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2" h="244">
                  <a:moveTo>
                    <a:pt x="307" y="144"/>
                  </a:moveTo>
                  <a:cubicBezTo>
                    <a:pt x="306" y="142"/>
                    <a:pt x="306" y="142"/>
                    <a:pt x="306" y="142"/>
                  </a:cubicBezTo>
                  <a:cubicBezTo>
                    <a:pt x="305" y="140"/>
                    <a:pt x="305" y="136"/>
                    <a:pt x="304" y="132"/>
                  </a:cubicBezTo>
                  <a:cubicBezTo>
                    <a:pt x="304" y="124"/>
                    <a:pt x="303" y="114"/>
                    <a:pt x="291" y="113"/>
                  </a:cubicBezTo>
                  <a:cubicBezTo>
                    <a:pt x="291" y="113"/>
                    <a:pt x="291" y="113"/>
                    <a:pt x="291" y="113"/>
                  </a:cubicBezTo>
                  <a:cubicBezTo>
                    <a:pt x="287" y="113"/>
                    <a:pt x="283" y="114"/>
                    <a:pt x="280" y="115"/>
                  </a:cubicBezTo>
                  <a:cubicBezTo>
                    <a:pt x="278" y="115"/>
                    <a:pt x="276" y="115"/>
                    <a:pt x="274" y="115"/>
                  </a:cubicBezTo>
                  <a:cubicBezTo>
                    <a:pt x="266" y="116"/>
                    <a:pt x="264" y="122"/>
                    <a:pt x="261" y="127"/>
                  </a:cubicBezTo>
                  <a:cubicBezTo>
                    <a:pt x="260" y="129"/>
                    <a:pt x="260" y="130"/>
                    <a:pt x="259" y="131"/>
                  </a:cubicBezTo>
                  <a:cubicBezTo>
                    <a:pt x="259" y="131"/>
                    <a:pt x="259" y="130"/>
                    <a:pt x="258" y="129"/>
                  </a:cubicBezTo>
                  <a:cubicBezTo>
                    <a:pt x="257" y="127"/>
                    <a:pt x="257" y="123"/>
                    <a:pt x="263" y="118"/>
                  </a:cubicBezTo>
                  <a:cubicBezTo>
                    <a:pt x="264" y="117"/>
                    <a:pt x="264" y="117"/>
                    <a:pt x="265" y="116"/>
                  </a:cubicBezTo>
                  <a:cubicBezTo>
                    <a:pt x="267" y="114"/>
                    <a:pt x="268" y="113"/>
                    <a:pt x="271" y="112"/>
                  </a:cubicBezTo>
                  <a:cubicBezTo>
                    <a:pt x="271" y="111"/>
                    <a:pt x="272" y="111"/>
                    <a:pt x="273" y="111"/>
                  </a:cubicBezTo>
                  <a:cubicBezTo>
                    <a:pt x="277" y="109"/>
                    <a:pt x="280" y="108"/>
                    <a:pt x="283" y="105"/>
                  </a:cubicBezTo>
                  <a:cubicBezTo>
                    <a:pt x="287" y="100"/>
                    <a:pt x="288" y="90"/>
                    <a:pt x="286" y="85"/>
                  </a:cubicBezTo>
                  <a:cubicBezTo>
                    <a:pt x="284" y="82"/>
                    <a:pt x="281" y="80"/>
                    <a:pt x="279" y="79"/>
                  </a:cubicBezTo>
                  <a:cubicBezTo>
                    <a:pt x="279" y="79"/>
                    <a:pt x="279" y="79"/>
                    <a:pt x="278" y="79"/>
                  </a:cubicBezTo>
                  <a:cubicBezTo>
                    <a:pt x="277" y="78"/>
                    <a:pt x="275" y="77"/>
                    <a:pt x="273" y="77"/>
                  </a:cubicBezTo>
                  <a:cubicBezTo>
                    <a:pt x="273" y="77"/>
                    <a:pt x="273" y="77"/>
                    <a:pt x="272" y="77"/>
                  </a:cubicBezTo>
                  <a:cubicBezTo>
                    <a:pt x="272" y="77"/>
                    <a:pt x="272" y="77"/>
                    <a:pt x="272" y="77"/>
                  </a:cubicBezTo>
                  <a:cubicBezTo>
                    <a:pt x="272" y="77"/>
                    <a:pt x="272" y="76"/>
                    <a:pt x="271" y="75"/>
                  </a:cubicBezTo>
                  <a:cubicBezTo>
                    <a:pt x="271" y="73"/>
                    <a:pt x="270" y="72"/>
                    <a:pt x="269" y="71"/>
                  </a:cubicBezTo>
                  <a:cubicBezTo>
                    <a:pt x="268" y="70"/>
                    <a:pt x="268" y="69"/>
                    <a:pt x="267" y="69"/>
                  </a:cubicBezTo>
                  <a:cubicBezTo>
                    <a:pt x="267" y="68"/>
                    <a:pt x="267" y="68"/>
                    <a:pt x="267" y="68"/>
                  </a:cubicBezTo>
                  <a:cubicBezTo>
                    <a:pt x="265" y="65"/>
                    <a:pt x="264" y="62"/>
                    <a:pt x="261" y="60"/>
                  </a:cubicBezTo>
                  <a:cubicBezTo>
                    <a:pt x="256" y="54"/>
                    <a:pt x="255" y="51"/>
                    <a:pt x="254" y="42"/>
                  </a:cubicBezTo>
                  <a:cubicBezTo>
                    <a:pt x="251" y="43"/>
                    <a:pt x="251" y="43"/>
                    <a:pt x="251" y="43"/>
                  </a:cubicBezTo>
                  <a:cubicBezTo>
                    <a:pt x="251" y="43"/>
                    <a:pt x="251" y="43"/>
                    <a:pt x="251" y="43"/>
                  </a:cubicBezTo>
                  <a:cubicBezTo>
                    <a:pt x="251" y="40"/>
                    <a:pt x="251" y="40"/>
                    <a:pt x="251" y="40"/>
                  </a:cubicBezTo>
                  <a:cubicBezTo>
                    <a:pt x="251" y="40"/>
                    <a:pt x="247" y="39"/>
                    <a:pt x="247" y="39"/>
                  </a:cubicBezTo>
                  <a:cubicBezTo>
                    <a:pt x="246" y="38"/>
                    <a:pt x="246" y="37"/>
                    <a:pt x="246" y="35"/>
                  </a:cubicBezTo>
                  <a:cubicBezTo>
                    <a:pt x="246" y="33"/>
                    <a:pt x="246" y="31"/>
                    <a:pt x="247" y="29"/>
                  </a:cubicBezTo>
                  <a:cubicBezTo>
                    <a:pt x="247" y="25"/>
                    <a:pt x="248" y="20"/>
                    <a:pt x="246" y="15"/>
                  </a:cubicBezTo>
                  <a:cubicBezTo>
                    <a:pt x="244" y="10"/>
                    <a:pt x="241" y="7"/>
                    <a:pt x="235" y="6"/>
                  </a:cubicBezTo>
                  <a:cubicBezTo>
                    <a:pt x="234" y="6"/>
                    <a:pt x="233" y="6"/>
                    <a:pt x="232" y="6"/>
                  </a:cubicBezTo>
                  <a:cubicBezTo>
                    <a:pt x="231" y="6"/>
                    <a:pt x="229" y="6"/>
                    <a:pt x="228" y="6"/>
                  </a:cubicBezTo>
                  <a:cubicBezTo>
                    <a:pt x="227" y="6"/>
                    <a:pt x="226" y="7"/>
                    <a:pt x="225" y="7"/>
                  </a:cubicBezTo>
                  <a:cubicBezTo>
                    <a:pt x="223" y="7"/>
                    <a:pt x="223" y="6"/>
                    <a:pt x="222" y="6"/>
                  </a:cubicBezTo>
                  <a:cubicBezTo>
                    <a:pt x="220" y="6"/>
                    <a:pt x="218" y="5"/>
                    <a:pt x="216" y="4"/>
                  </a:cubicBezTo>
                  <a:cubicBezTo>
                    <a:pt x="214" y="3"/>
                    <a:pt x="212" y="2"/>
                    <a:pt x="210" y="1"/>
                  </a:cubicBezTo>
                  <a:cubicBezTo>
                    <a:pt x="207" y="0"/>
                    <a:pt x="203" y="0"/>
                    <a:pt x="201" y="0"/>
                  </a:cubicBezTo>
                  <a:cubicBezTo>
                    <a:pt x="200" y="0"/>
                    <a:pt x="196" y="0"/>
                    <a:pt x="195" y="0"/>
                  </a:cubicBezTo>
                  <a:cubicBezTo>
                    <a:pt x="188" y="0"/>
                    <a:pt x="182" y="1"/>
                    <a:pt x="176" y="6"/>
                  </a:cubicBezTo>
                  <a:cubicBezTo>
                    <a:pt x="175" y="7"/>
                    <a:pt x="174" y="7"/>
                    <a:pt x="173" y="8"/>
                  </a:cubicBezTo>
                  <a:cubicBezTo>
                    <a:pt x="169" y="11"/>
                    <a:pt x="166" y="14"/>
                    <a:pt x="161" y="15"/>
                  </a:cubicBezTo>
                  <a:cubicBezTo>
                    <a:pt x="161" y="15"/>
                    <a:pt x="161" y="15"/>
                    <a:pt x="161" y="15"/>
                  </a:cubicBezTo>
                  <a:cubicBezTo>
                    <a:pt x="159" y="15"/>
                    <a:pt x="156" y="14"/>
                    <a:pt x="154" y="13"/>
                  </a:cubicBezTo>
                  <a:cubicBezTo>
                    <a:pt x="151" y="12"/>
                    <a:pt x="149" y="12"/>
                    <a:pt x="146" y="12"/>
                  </a:cubicBezTo>
                  <a:cubicBezTo>
                    <a:pt x="145" y="12"/>
                    <a:pt x="144" y="12"/>
                    <a:pt x="144" y="12"/>
                  </a:cubicBezTo>
                  <a:cubicBezTo>
                    <a:pt x="139" y="13"/>
                    <a:pt x="138" y="17"/>
                    <a:pt x="138" y="19"/>
                  </a:cubicBezTo>
                  <a:cubicBezTo>
                    <a:pt x="138" y="20"/>
                    <a:pt x="138" y="20"/>
                    <a:pt x="138" y="21"/>
                  </a:cubicBezTo>
                  <a:cubicBezTo>
                    <a:pt x="136" y="28"/>
                    <a:pt x="135" y="34"/>
                    <a:pt x="128" y="36"/>
                  </a:cubicBezTo>
                  <a:cubicBezTo>
                    <a:pt x="127" y="37"/>
                    <a:pt x="123" y="37"/>
                    <a:pt x="120" y="37"/>
                  </a:cubicBezTo>
                  <a:cubicBezTo>
                    <a:pt x="114" y="37"/>
                    <a:pt x="112" y="36"/>
                    <a:pt x="111" y="35"/>
                  </a:cubicBezTo>
                  <a:cubicBezTo>
                    <a:pt x="110" y="34"/>
                    <a:pt x="110" y="34"/>
                    <a:pt x="110" y="34"/>
                  </a:cubicBezTo>
                  <a:cubicBezTo>
                    <a:pt x="108" y="34"/>
                    <a:pt x="108" y="34"/>
                    <a:pt x="108" y="34"/>
                  </a:cubicBezTo>
                  <a:cubicBezTo>
                    <a:pt x="103" y="35"/>
                    <a:pt x="93" y="37"/>
                    <a:pt x="90" y="44"/>
                  </a:cubicBezTo>
                  <a:cubicBezTo>
                    <a:pt x="90" y="46"/>
                    <a:pt x="89" y="48"/>
                    <a:pt x="89" y="49"/>
                  </a:cubicBezTo>
                  <a:cubicBezTo>
                    <a:pt x="88" y="52"/>
                    <a:pt x="88" y="54"/>
                    <a:pt x="86" y="57"/>
                  </a:cubicBezTo>
                  <a:cubicBezTo>
                    <a:pt x="84" y="61"/>
                    <a:pt x="84" y="64"/>
                    <a:pt x="83" y="68"/>
                  </a:cubicBezTo>
                  <a:cubicBezTo>
                    <a:pt x="83" y="69"/>
                    <a:pt x="83" y="70"/>
                    <a:pt x="83" y="70"/>
                  </a:cubicBezTo>
                  <a:cubicBezTo>
                    <a:pt x="83" y="74"/>
                    <a:pt x="81" y="76"/>
                    <a:pt x="79" y="78"/>
                  </a:cubicBezTo>
                  <a:cubicBezTo>
                    <a:pt x="78" y="79"/>
                    <a:pt x="77" y="80"/>
                    <a:pt x="76" y="81"/>
                  </a:cubicBezTo>
                  <a:cubicBezTo>
                    <a:pt x="74" y="83"/>
                    <a:pt x="74" y="86"/>
                    <a:pt x="74" y="88"/>
                  </a:cubicBezTo>
                  <a:cubicBezTo>
                    <a:pt x="73" y="91"/>
                    <a:pt x="73" y="93"/>
                    <a:pt x="72" y="94"/>
                  </a:cubicBezTo>
                  <a:cubicBezTo>
                    <a:pt x="71" y="95"/>
                    <a:pt x="70" y="96"/>
                    <a:pt x="68" y="96"/>
                  </a:cubicBezTo>
                  <a:cubicBezTo>
                    <a:pt x="67" y="96"/>
                    <a:pt x="66" y="96"/>
                    <a:pt x="65" y="95"/>
                  </a:cubicBezTo>
                  <a:cubicBezTo>
                    <a:pt x="64" y="95"/>
                    <a:pt x="62" y="95"/>
                    <a:pt x="61" y="95"/>
                  </a:cubicBezTo>
                  <a:cubicBezTo>
                    <a:pt x="61" y="95"/>
                    <a:pt x="60" y="95"/>
                    <a:pt x="59" y="95"/>
                  </a:cubicBezTo>
                  <a:cubicBezTo>
                    <a:pt x="57" y="96"/>
                    <a:pt x="56" y="97"/>
                    <a:pt x="54" y="99"/>
                  </a:cubicBezTo>
                  <a:cubicBezTo>
                    <a:pt x="53" y="100"/>
                    <a:pt x="51" y="102"/>
                    <a:pt x="49" y="102"/>
                  </a:cubicBezTo>
                  <a:cubicBezTo>
                    <a:pt x="49" y="102"/>
                    <a:pt x="49" y="102"/>
                    <a:pt x="49" y="102"/>
                  </a:cubicBezTo>
                  <a:cubicBezTo>
                    <a:pt x="47" y="101"/>
                    <a:pt x="46" y="101"/>
                    <a:pt x="44" y="100"/>
                  </a:cubicBezTo>
                  <a:cubicBezTo>
                    <a:pt x="43" y="99"/>
                    <a:pt x="41" y="98"/>
                    <a:pt x="39" y="98"/>
                  </a:cubicBezTo>
                  <a:cubicBezTo>
                    <a:pt x="38" y="98"/>
                    <a:pt x="37" y="98"/>
                    <a:pt x="36" y="98"/>
                  </a:cubicBezTo>
                  <a:cubicBezTo>
                    <a:pt x="33" y="100"/>
                    <a:pt x="31" y="103"/>
                    <a:pt x="31" y="105"/>
                  </a:cubicBezTo>
                  <a:cubicBezTo>
                    <a:pt x="30" y="108"/>
                    <a:pt x="31" y="110"/>
                    <a:pt x="32" y="111"/>
                  </a:cubicBezTo>
                  <a:cubicBezTo>
                    <a:pt x="33" y="113"/>
                    <a:pt x="36" y="113"/>
                    <a:pt x="38" y="114"/>
                  </a:cubicBezTo>
                  <a:cubicBezTo>
                    <a:pt x="40" y="114"/>
                    <a:pt x="42" y="114"/>
                    <a:pt x="43" y="116"/>
                  </a:cubicBezTo>
                  <a:cubicBezTo>
                    <a:pt x="43" y="116"/>
                    <a:pt x="43" y="116"/>
                    <a:pt x="44" y="117"/>
                  </a:cubicBezTo>
                  <a:cubicBezTo>
                    <a:pt x="44" y="117"/>
                    <a:pt x="44" y="118"/>
                    <a:pt x="44" y="118"/>
                  </a:cubicBezTo>
                  <a:cubicBezTo>
                    <a:pt x="44" y="119"/>
                    <a:pt x="44" y="119"/>
                    <a:pt x="44" y="119"/>
                  </a:cubicBezTo>
                  <a:cubicBezTo>
                    <a:pt x="45" y="119"/>
                    <a:pt x="45" y="119"/>
                    <a:pt x="45" y="119"/>
                  </a:cubicBezTo>
                  <a:cubicBezTo>
                    <a:pt x="46" y="120"/>
                    <a:pt x="47" y="120"/>
                    <a:pt x="47" y="120"/>
                  </a:cubicBezTo>
                  <a:cubicBezTo>
                    <a:pt x="48" y="120"/>
                    <a:pt x="49" y="120"/>
                    <a:pt x="50" y="120"/>
                  </a:cubicBezTo>
                  <a:cubicBezTo>
                    <a:pt x="50" y="120"/>
                    <a:pt x="51" y="120"/>
                    <a:pt x="52" y="120"/>
                  </a:cubicBezTo>
                  <a:cubicBezTo>
                    <a:pt x="53" y="120"/>
                    <a:pt x="53" y="120"/>
                    <a:pt x="53" y="120"/>
                  </a:cubicBezTo>
                  <a:cubicBezTo>
                    <a:pt x="53" y="120"/>
                    <a:pt x="53" y="120"/>
                    <a:pt x="53" y="121"/>
                  </a:cubicBezTo>
                  <a:cubicBezTo>
                    <a:pt x="52" y="123"/>
                    <a:pt x="49" y="124"/>
                    <a:pt x="46" y="126"/>
                  </a:cubicBezTo>
                  <a:cubicBezTo>
                    <a:pt x="46" y="126"/>
                    <a:pt x="45" y="126"/>
                    <a:pt x="44" y="127"/>
                  </a:cubicBezTo>
                  <a:cubicBezTo>
                    <a:pt x="43" y="128"/>
                    <a:pt x="41" y="129"/>
                    <a:pt x="40" y="130"/>
                  </a:cubicBezTo>
                  <a:cubicBezTo>
                    <a:pt x="39" y="131"/>
                    <a:pt x="37" y="133"/>
                    <a:pt x="35" y="134"/>
                  </a:cubicBezTo>
                  <a:cubicBezTo>
                    <a:pt x="34" y="134"/>
                    <a:pt x="33" y="135"/>
                    <a:pt x="31" y="135"/>
                  </a:cubicBezTo>
                  <a:cubicBezTo>
                    <a:pt x="30" y="135"/>
                    <a:pt x="28" y="134"/>
                    <a:pt x="26" y="133"/>
                  </a:cubicBezTo>
                  <a:cubicBezTo>
                    <a:pt x="25" y="133"/>
                    <a:pt x="24" y="132"/>
                    <a:pt x="22" y="132"/>
                  </a:cubicBezTo>
                  <a:cubicBezTo>
                    <a:pt x="22" y="132"/>
                    <a:pt x="21" y="132"/>
                    <a:pt x="21" y="132"/>
                  </a:cubicBezTo>
                  <a:cubicBezTo>
                    <a:pt x="18" y="132"/>
                    <a:pt x="17" y="134"/>
                    <a:pt x="15" y="137"/>
                  </a:cubicBezTo>
                  <a:cubicBezTo>
                    <a:pt x="15" y="137"/>
                    <a:pt x="15" y="138"/>
                    <a:pt x="14" y="139"/>
                  </a:cubicBezTo>
                  <a:cubicBezTo>
                    <a:pt x="13" y="141"/>
                    <a:pt x="10" y="142"/>
                    <a:pt x="7" y="144"/>
                  </a:cubicBezTo>
                  <a:cubicBezTo>
                    <a:pt x="4" y="146"/>
                    <a:pt x="1" y="147"/>
                    <a:pt x="0" y="150"/>
                  </a:cubicBezTo>
                  <a:cubicBezTo>
                    <a:pt x="0" y="152"/>
                    <a:pt x="1" y="154"/>
                    <a:pt x="2" y="156"/>
                  </a:cubicBezTo>
                  <a:cubicBezTo>
                    <a:pt x="3" y="156"/>
                    <a:pt x="3" y="156"/>
                    <a:pt x="3" y="156"/>
                  </a:cubicBezTo>
                  <a:cubicBezTo>
                    <a:pt x="5" y="159"/>
                    <a:pt x="8" y="163"/>
                    <a:pt x="11" y="166"/>
                  </a:cubicBezTo>
                  <a:cubicBezTo>
                    <a:pt x="12" y="167"/>
                    <a:pt x="14" y="168"/>
                    <a:pt x="15" y="168"/>
                  </a:cubicBezTo>
                  <a:cubicBezTo>
                    <a:pt x="18" y="169"/>
                    <a:pt x="20" y="170"/>
                    <a:pt x="20" y="173"/>
                  </a:cubicBezTo>
                  <a:cubicBezTo>
                    <a:pt x="21" y="175"/>
                    <a:pt x="21" y="175"/>
                    <a:pt x="21" y="175"/>
                  </a:cubicBezTo>
                  <a:cubicBezTo>
                    <a:pt x="21" y="178"/>
                    <a:pt x="22" y="180"/>
                    <a:pt x="26" y="182"/>
                  </a:cubicBezTo>
                  <a:cubicBezTo>
                    <a:pt x="30" y="184"/>
                    <a:pt x="31" y="185"/>
                    <a:pt x="32" y="190"/>
                  </a:cubicBezTo>
                  <a:cubicBezTo>
                    <a:pt x="32" y="191"/>
                    <a:pt x="32" y="192"/>
                    <a:pt x="32" y="193"/>
                  </a:cubicBezTo>
                  <a:cubicBezTo>
                    <a:pt x="32" y="196"/>
                    <a:pt x="32" y="199"/>
                    <a:pt x="36" y="200"/>
                  </a:cubicBezTo>
                  <a:cubicBezTo>
                    <a:pt x="37" y="201"/>
                    <a:pt x="39" y="201"/>
                    <a:pt x="40" y="201"/>
                  </a:cubicBezTo>
                  <a:cubicBezTo>
                    <a:pt x="41" y="201"/>
                    <a:pt x="42" y="201"/>
                    <a:pt x="43" y="201"/>
                  </a:cubicBezTo>
                  <a:cubicBezTo>
                    <a:pt x="44" y="201"/>
                    <a:pt x="45" y="201"/>
                    <a:pt x="46" y="201"/>
                  </a:cubicBezTo>
                  <a:cubicBezTo>
                    <a:pt x="48" y="201"/>
                    <a:pt x="49" y="201"/>
                    <a:pt x="50" y="201"/>
                  </a:cubicBezTo>
                  <a:cubicBezTo>
                    <a:pt x="53" y="202"/>
                    <a:pt x="55" y="205"/>
                    <a:pt x="57" y="209"/>
                  </a:cubicBezTo>
                  <a:cubicBezTo>
                    <a:pt x="58" y="209"/>
                    <a:pt x="58" y="210"/>
                    <a:pt x="59" y="211"/>
                  </a:cubicBezTo>
                  <a:cubicBezTo>
                    <a:pt x="62" y="215"/>
                    <a:pt x="67" y="217"/>
                    <a:pt x="71" y="217"/>
                  </a:cubicBezTo>
                  <a:cubicBezTo>
                    <a:pt x="72" y="217"/>
                    <a:pt x="72" y="217"/>
                    <a:pt x="72" y="217"/>
                  </a:cubicBezTo>
                  <a:cubicBezTo>
                    <a:pt x="74" y="217"/>
                    <a:pt x="76" y="216"/>
                    <a:pt x="77" y="216"/>
                  </a:cubicBezTo>
                  <a:cubicBezTo>
                    <a:pt x="78" y="215"/>
                    <a:pt x="79" y="214"/>
                    <a:pt x="81" y="214"/>
                  </a:cubicBezTo>
                  <a:cubicBezTo>
                    <a:pt x="81" y="214"/>
                    <a:pt x="82" y="215"/>
                    <a:pt x="83" y="215"/>
                  </a:cubicBezTo>
                  <a:cubicBezTo>
                    <a:pt x="84" y="216"/>
                    <a:pt x="85" y="216"/>
                    <a:pt x="86" y="217"/>
                  </a:cubicBezTo>
                  <a:cubicBezTo>
                    <a:pt x="88" y="219"/>
                    <a:pt x="89" y="220"/>
                    <a:pt x="91" y="220"/>
                  </a:cubicBezTo>
                  <a:cubicBezTo>
                    <a:pt x="93" y="220"/>
                    <a:pt x="94" y="219"/>
                    <a:pt x="95" y="218"/>
                  </a:cubicBezTo>
                  <a:cubicBezTo>
                    <a:pt x="98" y="215"/>
                    <a:pt x="101" y="210"/>
                    <a:pt x="103" y="207"/>
                  </a:cubicBezTo>
                  <a:cubicBezTo>
                    <a:pt x="104" y="204"/>
                    <a:pt x="105" y="203"/>
                    <a:pt x="108" y="202"/>
                  </a:cubicBezTo>
                  <a:cubicBezTo>
                    <a:pt x="108" y="202"/>
                    <a:pt x="109" y="201"/>
                    <a:pt x="110" y="201"/>
                  </a:cubicBezTo>
                  <a:cubicBezTo>
                    <a:pt x="112" y="201"/>
                    <a:pt x="113" y="201"/>
                    <a:pt x="114" y="199"/>
                  </a:cubicBezTo>
                  <a:cubicBezTo>
                    <a:pt x="116" y="198"/>
                    <a:pt x="117" y="196"/>
                    <a:pt x="117" y="195"/>
                  </a:cubicBezTo>
                  <a:cubicBezTo>
                    <a:pt x="117" y="192"/>
                    <a:pt x="114" y="189"/>
                    <a:pt x="111" y="186"/>
                  </a:cubicBezTo>
                  <a:cubicBezTo>
                    <a:pt x="109" y="184"/>
                    <a:pt x="109" y="182"/>
                    <a:pt x="109" y="182"/>
                  </a:cubicBezTo>
                  <a:cubicBezTo>
                    <a:pt x="109" y="180"/>
                    <a:pt x="113" y="178"/>
                    <a:pt x="115" y="177"/>
                  </a:cubicBezTo>
                  <a:cubicBezTo>
                    <a:pt x="120" y="175"/>
                    <a:pt x="122" y="172"/>
                    <a:pt x="124" y="168"/>
                  </a:cubicBezTo>
                  <a:cubicBezTo>
                    <a:pt x="125" y="168"/>
                    <a:pt x="125" y="168"/>
                    <a:pt x="125" y="168"/>
                  </a:cubicBezTo>
                  <a:cubicBezTo>
                    <a:pt x="125" y="167"/>
                    <a:pt x="126" y="166"/>
                    <a:pt x="126" y="166"/>
                  </a:cubicBezTo>
                  <a:cubicBezTo>
                    <a:pt x="127" y="165"/>
                    <a:pt x="127" y="164"/>
                    <a:pt x="128" y="164"/>
                  </a:cubicBezTo>
                  <a:cubicBezTo>
                    <a:pt x="129" y="164"/>
                    <a:pt x="129" y="164"/>
                    <a:pt x="129" y="164"/>
                  </a:cubicBezTo>
                  <a:cubicBezTo>
                    <a:pt x="130" y="164"/>
                    <a:pt x="134" y="165"/>
                    <a:pt x="140" y="171"/>
                  </a:cubicBezTo>
                  <a:cubicBezTo>
                    <a:pt x="144" y="175"/>
                    <a:pt x="146" y="181"/>
                    <a:pt x="147" y="188"/>
                  </a:cubicBezTo>
                  <a:cubicBezTo>
                    <a:pt x="148" y="194"/>
                    <a:pt x="151" y="206"/>
                    <a:pt x="159" y="209"/>
                  </a:cubicBezTo>
                  <a:cubicBezTo>
                    <a:pt x="160" y="209"/>
                    <a:pt x="160" y="209"/>
                    <a:pt x="161" y="209"/>
                  </a:cubicBezTo>
                  <a:cubicBezTo>
                    <a:pt x="162" y="209"/>
                    <a:pt x="163" y="208"/>
                    <a:pt x="164" y="208"/>
                  </a:cubicBezTo>
                  <a:cubicBezTo>
                    <a:pt x="165" y="208"/>
                    <a:pt x="166" y="207"/>
                    <a:pt x="167" y="207"/>
                  </a:cubicBezTo>
                  <a:cubicBezTo>
                    <a:pt x="168" y="207"/>
                    <a:pt x="168" y="207"/>
                    <a:pt x="169" y="208"/>
                  </a:cubicBezTo>
                  <a:cubicBezTo>
                    <a:pt x="173" y="211"/>
                    <a:pt x="173" y="214"/>
                    <a:pt x="171" y="217"/>
                  </a:cubicBezTo>
                  <a:cubicBezTo>
                    <a:pt x="168" y="223"/>
                    <a:pt x="166" y="230"/>
                    <a:pt x="169" y="235"/>
                  </a:cubicBezTo>
                  <a:cubicBezTo>
                    <a:pt x="170" y="237"/>
                    <a:pt x="172" y="238"/>
                    <a:pt x="176" y="238"/>
                  </a:cubicBezTo>
                  <a:cubicBezTo>
                    <a:pt x="178" y="238"/>
                    <a:pt x="180" y="237"/>
                    <a:pt x="182" y="236"/>
                  </a:cubicBezTo>
                  <a:cubicBezTo>
                    <a:pt x="184" y="235"/>
                    <a:pt x="186" y="234"/>
                    <a:pt x="187" y="234"/>
                  </a:cubicBezTo>
                  <a:cubicBezTo>
                    <a:pt x="189" y="234"/>
                    <a:pt x="191" y="233"/>
                    <a:pt x="193" y="233"/>
                  </a:cubicBezTo>
                  <a:cubicBezTo>
                    <a:pt x="198" y="233"/>
                    <a:pt x="203" y="233"/>
                    <a:pt x="206" y="225"/>
                  </a:cubicBezTo>
                  <a:cubicBezTo>
                    <a:pt x="206" y="225"/>
                    <a:pt x="206" y="225"/>
                    <a:pt x="206" y="225"/>
                  </a:cubicBezTo>
                  <a:cubicBezTo>
                    <a:pt x="209" y="225"/>
                    <a:pt x="213" y="227"/>
                    <a:pt x="216" y="228"/>
                  </a:cubicBezTo>
                  <a:cubicBezTo>
                    <a:pt x="216" y="228"/>
                    <a:pt x="218" y="229"/>
                    <a:pt x="219" y="230"/>
                  </a:cubicBezTo>
                  <a:cubicBezTo>
                    <a:pt x="223" y="233"/>
                    <a:pt x="227" y="236"/>
                    <a:pt x="230" y="237"/>
                  </a:cubicBezTo>
                  <a:cubicBezTo>
                    <a:pt x="230" y="239"/>
                    <a:pt x="231" y="241"/>
                    <a:pt x="232" y="242"/>
                  </a:cubicBezTo>
                  <a:cubicBezTo>
                    <a:pt x="233" y="243"/>
                    <a:pt x="234" y="244"/>
                    <a:pt x="236" y="244"/>
                  </a:cubicBezTo>
                  <a:cubicBezTo>
                    <a:pt x="240" y="244"/>
                    <a:pt x="245" y="241"/>
                    <a:pt x="248" y="238"/>
                  </a:cubicBezTo>
                  <a:cubicBezTo>
                    <a:pt x="249" y="238"/>
                    <a:pt x="249" y="238"/>
                    <a:pt x="250" y="237"/>
                  </a:cubicBezTo>
                  <a:cubicBezTo>
                    <a:pt x="257" y="233"/>
                    <a:pt x="263" y="228"/>
                    <a:pt x="264" y="218"/>
                  </a:cubicBezTo>
                  <a:cubicBezTo>
                    <a:pt x="265" y="214"/>
                    <a:pt x="265" y="210"/>
                    <a:pt x="264" y="206"/>
                  </a:cubicBezTo>
                  <a:cubicBezTo>
                    <a:pt x="268" y="204"/>
                    <a:pt x="270" y="203"/>
                    <a:pt x="273" y="203"/>
                  </a:cubicBezTo>
                  <a:cubicBezTo>
                    <a:pt x="274" y="203"/>
                    <a:pt x="275" y="203"/>
                    <a:pt x="276" y="204"/>
                  </a:cubicBezTo>
                  <a:cubicBezTo>
                    <a:pt x="278" y="204"/>
                    <a:pt x="278" y="204"/>
                    <a:pt x="278" y="204"/>
                  </a:cubicBezTo>
                  <a:cubicBezTo>
                    <a:pt x="280" y="204"/>
                    <a:pt x="283" y="205"/>
                    <a:pt x="285" y="205"/>
                  </a:cubicBezTo>
                  <a:cubicBezTo>
                    <a:pt x="288" y="205"/>
                    <a:pt x="291" y="204"/>
                    <a:pt x="294" y="203"/>
                  </a:cubicBezTo>
                  <a:cubicBezTo>
                    <a:pt x="299" y="199"/>
                    <a:pt x="304" y="190"/>
                    <a:pt x="304" y="183"/>
                  </a:cubicBezTo>
                  <a:cubicBezTo>
                    <a:pt x="304" y="183"/>
                    <a:pt x="304" y="183"/>
                    <a:pt x="304" y="183"/>
                  </a:cubicBezTo>
                  <a:cubicBezTo>
                    <a:pt x="304" y="183"/>
                    <a:pt x="304" y="183"/>
                    <a:pt x="304" y="183"/>
                  </a:cubicBezTo>
                  <a:cubicBezTo>
                    <a:pt x="305" y="183"/>
                    <a:pt x="309" y="183"/>
                    <a:pt x="310" y="177"/>
                  </a:cubicBezTo>
                  <a:cubicBezTo>
                    <a:pt x="311" y="172"/>
                    <a:pt x="311" y="167"/>
                    <a:pt x="311" y="162"/>
                  </a:cubicBezTo>
                  <a:cubicBezTo>
                    <a:pt x="311" y="161"/>
                    <a:pt x="311" y="160"/>
                    <a:pt x="311" y="158"/>
                  </a:cubicBezTo>
                  <a:cubicBezTo>
                    <a:pt x="312" y="153"/>
                    <a:pt x="309" y="148"/>
                    <a:pt x="307" y="144"/>
                  </a:cubicBezTo>
                  <a:close/>
                  <a:moveTo>
                    <a:pt x="296" y="174"/>
                  </a:moveTo>
                  <a:cubicBezTo>
                    <a:pt x="295" y="173"/>
                    <a:pt x="294" y="173"/>
                    <a:pt x="294" y="173"/>
                  </a:cubicBezTo>
                  <a:cubicBezTo>
                    <a:pt x="293" y="173"/>
                    <a:pt x="292" y="173"/>
                    <a:pt x="290" y="174"/>
                  </a:cubicBezTo>
                  <a:cubicBezTo>
                    <a:pt x="289" y="174"/>
                    <a:pt x="288" y="174"/>
                    <a:pt x="287" y="174"/>
                  </a:cubicBezTo>
                  <a:cubicBezTo>
                    <a:pt x="287" y="174"/>
                    <a:pt x="287" y="174"/>
                    <a:pt x="287" y="174"/>
                  </a:cubicBezTo>
                  <a:cubicBezTo>
                    <a:pt x="288" y="173"/>
                    <a:pt x="288" y="172"/>
                    <a:pt x="288" y="171"/>
                  </a:cubicBezTo>
                  <a:cubicBezTo>
                    <a:pt x="289" y="171"/>
                    <a:pt x="289" y="170"/>
                    <a:pt x="289" y="169"/>
                  </a:cubicBezTo>
                  <a:cubicBezTo>
                    <a:pt x="290" y="167"/>
                    <a:pt x="291" y="163"/>
                    <a:pt x="291" y="160"/>
                  </a:cubicBezTo>
                  <a:cubicBezTo>
                    <a:pt x="292" y="155"/>
                    <a:pt x="289" y="151"/>
                    <a:pt x="287" y="148"/>
                  </a:cubicBezTo>
                  <a:cubicBezTo>
                    <a:pt x="286" y="147"/>
                    <a:pt x="286" y="146"/>
                    <a:pt x="285" y="145"/>
                  </a:cubicBezTo>
                  <a:cubicBezTo>
                    <a:pt x="283" y="141"/>
                    <a:pt x="283" y="139"/>
                    <a:pt x="283" y="139"/>
                  </a:cubicBezTo>
                  <a:cubicBezTo>
                    <a:pt x="283" y="139"/>
                    <a:pt x="283" y="139"/>
                    <a:pt x="283" y="139"/>
                  </a:cubicBezTo>
                  <a:cubicBezTo>
                    <a:pt x="286" y="139"/>
                    <a:pt x="290" y="143"/>
                    <a:pt x="293" y="147"/>
                  </a:cubicBezTo>
                  <a:cubicBezTo>
                    <a:pt x="295" y="151"/>
                    <a:pt x="296" y="156"/>
                    <a:pt x="297" y="160"/>
                  </a:cubicBezTo>
                  <a:cubicBezTo>
                    <a:pt x="297" y="162"/>
                    <a:pt x="297" y="164"/>
                    <a:pt x="296" y="165"/>
                  </a:cubicBezTo>
                  <a:cubicBezTo>
                    <a:pt x="296" y="168"/>
                    <a:pt x="296" y="171"/>
                    <a:pt x="297" y="174"/>
                  </a:cubicBezTo>
                  <a:cubicBezTo>
                    <a:pt x="296" y="174"/>
                    <a:pt x="296" y="174"/>
                    <a:pt x="296" y="174"/>
                  </a:cubicBezTo>
                  <a:close/>
                  <a:moveTo>
                    <a:pt x="187" y="131"/>
                  </a:moveTo>
                  <a:cubicBezTo>
                    <a:pt x="187" y="130"/>
                    <a:pt x="188" y="129"/>
                    <a:pt x="188" y="129"/>
                  </a:cubicBezTo>
                  <a:cubicBezTo>
                    <a:pt x="191" y="125"/>
                    <a:pt x="195" y="119"/>
                    <a:pt x="193" y="112"/>
                  </a:cubicBezTo>
                  <a:cubicBezTo>
                    <a:pt x="193" y="112"/>
                    <a:pt x="193" y="111"/>
                    <a:pt x="193" y="110"/>
                  </a:cubicBezTo>
                  <a:cubicBezTo>
                    <a:pt x="192" y="109"/>
                    <a:pt x="191" y="106"/>
                    <a:pt x="191" y="104"/>
                  </a:cubicBezTo>
                  <a:cubicBezTo>
                    <a:pt x="191" y="104"/>
                    <a:pt x="192" y="104"/>
                    <a:pt x="192" y="104"/>
                  </a:cubicBezTo>
                  <a:cubicBezTo>
                    <a:pt x="193" y="105"/>
                    <a:pt x="194" y="105"/>
                    <a:pt x="195" y="107"/>
                  </a:cubicBezTo>
                  <a:cubicBezTo>
                    <a:pt x="196" y="109"/>
                    <a:pt x="199" y="112"/>
                    <a:pt x="203" y="113"/>
                  </a:cubicBezTo>
                  <a:cubicBezTo>
                    <a:pt x="203" y="113"/>
                    <a:pt x="204" y="113"/>
                    <a:pt x="204" y="113"/>
                  </a:cubicBezTo>
                  <a:cubicBezTo>
                    <a:pt x="208" y="113"/>
                    <a:pt x="211" y="111"/>
                    <a:pt x="213" y="110"/>
                  </a:cubicBezTo>
                  <a:cubicBezTo>
                    <a:pt x="215" y="109"/>
                    <a:pt x="216" y="108"/>
                    <a:pt x="218" y="108"/>
                  </a:cubicBezTo>
                  <a:cubicBezTo>
                    <a:pt x="218" y="108"/>
                    <a:pt x="218" y="108"/>
                    <a:pt x="218" y="108"/>
                  </a:cubicBezTo>
                  <a:cubicBezTo>
                    <a:pt x="218" y="109"/>
                    <a:pt x="216" y="112"/>
                    <a:pt x="215" y="113"/>
                  </a:cubicBezTo>
                  <a:cubicBezTo>
                    <a:pt x="214" y="115"/>
                    <a:pt x="213" y="116"/>
                    <a:pt x="212" y="118"/>
                  </a:cubicBezTo>
                  <a:cubicBezTo>
                    <a:pt x="210" y="122"/>
                    <a:pt x="209" y="124"/>
                    <a:pt x="212" y="129"/>
                  </a:cubicBezTo>
                  <a:cubicBezTo>
                    <a:pt x="213" y="129"/>
                    <a:pt x="213" y="130"/>
                    <a:pt x="214" y="130"/>
                  </a:cubicBezTo>
                  <a:cubicBezTo>
                    <a:pt x="214" y="131"/>
                    <a:pt x="214" y="131"/>
                    <a:pt x="214" y="131"/>
                  </a:cubicBezTo>
                  <a:cubicBezTo>
                    <a:pt x="214" y="131"/>
                    <a:pt x="215" y="131"/>
                    <a:pt x="215" y="131"/>
                  </a:cubicBezTo>
                  <a:cubicBezTo>
                    <a:pt x="215" y="131"/>
                    <a:pt x="214" y="131"/>
                    <a:pt x="214" y="132"/>
                  </a:cubicBezTo>
                  <a:cubicBezTo>
                    <a:pt x="213" y="133"/>
                    <a:pt x="212" y="133"/>
                    <a:pt x="211" y="134"/>
                  </a:cubicBezTo>
                  <a:cubicBezTo>
                    <a:pt x="209" y="135"/>
                    <a:pt x="207" y="136"/>
                    <a:pt x="206" y="138"/>
                  </a:cubicBezTo>
                  <a:cubicBezTo>
                    <a:pt x="205" y="140"/>
                    <a:pt x="205" y="143"/>
                    <a:pt x="205" y="144"/>
                  </a:cubicBezTo>
                  <a:cubicBezTo>
                    <a:pt x="205" y="146"/>
                    <a:pt x="205" y="147"/>
                    <a:pt x="204" y="147"/>
                  </a:cubicBezTo>
                  <a:cubicBezTo>
                    <a:pt x="204" y="148"/>
                    <a:pt x="204" y="149"/>
                    <a:pt x="203" y="149"/>
                  </a:cubicBezTo>
                  <a:cubicBezTo>
                    <a:pt x="202" y="149"/>
                    <a:pt x="200" y="147"/>
                    <a:pt x="198" y="145"/>
                  </a:cubicBezTo>
                  <a:cubicBezTo>
                    <a:pt x="196" y="144"/>
                    <a:pt x="195" y="142"/>
                    <a:pt x="194" y="142"/>
                  </a:cubicBezTo>
                  <a:cubicBezTo>
                    <a:pt x="193" y="141"/>
                    <a:pt x="192" y="141"/>
                    <a:pt x="190" y="141"/>
                  </a:cubicBezTo>
                  <a:cubicBezTo>
                    <a:pt x="189" y="141"/>
                    <a:pt x="188" y="142"/>
                    <a:pt x="186" y="142"/>
                  </a:cubicBezTo>
                  <a:cubicBezTo>
                    <a:pt x="185" y="142"/>
                    <a:pt x="185" y="142"/>
                    <a:pt x="184" y="142"/>
                  </a:cubicBezTo>
                  <a:cubicBezTo>
                    <a:pt x="184" y="142"/>
                    <a:pt x="183" y="142"/>
                    <a:pt x="183" y="142"/>
                  </a:cubicBezTo>
                  <a:cubicBezTo>
                    <a:pt x="182" y="142"/>
                    <a:pt x="182" y="142"/>
                    <a:pt x="181" y="141"/>
                  </a:cubicBezTo>
                  <a:cubicBezTo>
                    <a:pt x="181" y="140"/>
                    <a:pt x="182" y="136"/>
                    <a:pt x="187" y="131"/>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sp>
          <p:nvSpPr>
            <p:cNvPr id="33" name="Freeform 33"/>
            <p:cNvSpPr>
              <a:spLocks noEditPoints="1"/>
            </p:cNvSpPr>
            <p:nvPr/>
          </p:nvSpPr>
          <p:spPr bwMode="auto">
            <a:xfrm>
              <a:off x="-450889" y="2301615"/>
              <a:ext cx="1738646" cy="2078103"/>
            </a:xfrm>
            <a:custGeom>
              <a:avLst/>
              <a:gdLst>
                <a:gd name="T0" fmla="*/ 830 w 913"/>
                <a:gd name="T1" fmla="*/ 542 h 1163"/>
                <a:gd name="T2" fmla="*/ 772 w 913"/>
                <a:gd name="T3" fmla="*/ 541 h 1163"/>
                <a:gd name="T4" fmla="*/ 727 w 913"/>
                <a:gd name="T5" fmla="*/ 580 h 1163"/>
                <a:gd name="T6" fmla="*/ 727 w 913"/>
                <a:gd name="T7" fmla="*/ 485 h 1163"/>
                <a:gd name="T8" fmla="*/ 663 w 913"/>
                <a:gd name="T9" fmla="*/ 422 h 1163"/>
                <a:gd name="T10" fmla="*/ 694 w 913"/>
                <a:gd name="T11" fmla="*/ 408 h 1163"/>
                <a:gd name="T12" fmla="*/ 653 w 913"/>
                <a:gd name="T13" fmla="*/ 315 h 1163"/>
                <a:gd name="T14" fmla="*/ 611 w 913"/>
                <a:gd name="T15" fmla="*/ 258 h 1163"/>
                <a:gd name="T16" fmla="*/ 537 w 913"/>
                <a:gd name="T17" fmla="*/ 230 h 1163"/>
                <a:gd name="T18" fmla="*/ 498 w 913"/>
                <a:gd name="T19" fmla="*/ 135 h 1163"/>
                <a:gd name="T20" fmla="*/ 486 w 913"/>
                <a:gd name="T21" fmla="*/ 74 h 1163"/>
                <a:gd name="T22" fmla="*/ 444 w 913"/>
                <a:gd name="T23" fmla="*/ 18 h 1163"/>
                <a:gd name="T24" fmla="*/ 409 w 913"/>
                <a:gd name="T25" fmla="*/ 56 h 1163"/>
                <a:gd name="T26" fmla="*/ 331 w 913"/>
                <a:gd name="T27" fmla="*/ 155 h 1163"/>
                <a:gd name="T28" fmla="*/ 282 w 913"/>
                <a:gd name="T29" fmla="*/ 191 h 1163"/>
                <a:gd name="T30" fmla="*/ 255 w 913"/>
                <a:gd name="T31" fmla="*/ 265 h 1163"/>
                <a:gd name="T32" fmla="*/ 298 w 913"/>
                <a:gd name="T33" fmla="*/ 329 h 1163"/>
                <a:gd name="T34" fmla="*/ 336 w 913"/>
                <a:gd name="T35" fmla="*/ 336 h 1163"/>
                <a:gd name="T36" fmla="*/ 337 w 913"/>
                <a:gd name="T37" fmla="*/ 374 h 1163"/>
                <a:gd name="T38" fmla="*/ 329 w 913"/>
                <a:gd name="T39" fmla="*/ 432 h 1163"/>
                <a:gd name="T40" fmla="*/ 327 w 913"/>
                <a:gd name="T41" fmla="*/ 474 h 1163"/>
                <a:gd name="T42" fmla="*/ 332 w 913"/>
                <a:gd name="T43" fmla="*/ 512 h 1163"/>
                <a:gd name="T44" fmla="*/ 344 w 913"/>
                <a:gd name="T45" fmla="*/ 571 h 1163"/>
                <a:gd name="T46" fmla="*/ 325 w 913"/>
                <a:gd name="T47" fmla="*/ 649 h 1163"/>
                <a:gd name="T48" fmla="*/ 329 w 913"/>
                <a:gd name="T49" fmla="*/ 743 h 1163"/>
                <a:gd name="T50" fmla="*/ 396 w 913"/>
                <a:gd name="T51" fmla="*/ 819 h 1163"/>
                <a:gd name="T52" fmla="*/ 350 w 913"/>
                <a:gd name="T53" fmla="*/ 875 h 1163"/>
                <a:gd name="T54" fmla="*/ 327 w 913"/>
                <a:gd name="T55" fmla="*/ 912 h 1163"/>
                <a:gd name="T56" fmla="*/ 261 w 913"/>
                <a:gd name="T57" fmla="*/ 908 h 1163"/>
                <a:gd name="T58" fmla="*/ 202 w 913"/>
                <a:gd name="T59" fmla="*/ 913 h 1163"/>
                <a:gd name="T60" fmla="*/ 151 w 913"/>
                <a:gd name="T61" fmla="*/ 960 h 1163"/>
                <a:gd name="T62" fmla="*/ 129 w 913"/>
                <a:gd name="T63" fmla="*/ 1018 h 1163"/>
                <a:gd name="T64" fmla="*/ 91 w 913"/>
                <a:gd name="T65" fmla="*/ 1056 h 1163"/>
                <a:gd name="T66" fmla="*/ 42 w 913"/>
                <a:gd name="T67" fmla="*/ 1109 h 1163"/>
                <a:gd name="T68" fmla="*/ 16 w 913"/>
                <a:gd name="T69" fmla="*/ 1148 h 1163"/>
                <a:gd name="T70" fmla="*/ 60 w 913"/>
                <a:gd name="T71" fmla="*/ 1147 h 1163"/>
                <a:gd name="T72" fmla="*/ 86 w 913"/>
                <a:gd name="T73" fmla="*/ 1133 h 1163"/>
                <a:gd name="T74" fmla="*/ 127 w 913"/>
                <a:gd name="T75" fmla="*/ 1103 h 1163"/>
                <a:gd name="T76" fmla="*/ 174 w 913"/>
                <a:gd name="T77" fmla="*/ 1086 h 1163"/>
                <a:gd name="T78" fmla="*/ 238 w 913"/>
                <a:gd name="T79" fmla="*/ 1102 h 1163"/>
                <a:gd name="T80" fmla="*/ 282 w 913"/>
                <a:gd name="T81" fmla="*/ 1069 h 1163"/>
                <a:gd name="T82" fmla="*/ 307 w 913"/>
                <a:gd name="T83" fmla="*/ 1029 h 1163"/>
                <a:gd name="T84" fmla="*/ 386 w 913"/>
                <a:gd name="T85" fmla="*/ 1015 h 1163"/>
                <a:gd name="T86" fmla="*/ 444 w 913"/>
                <a:gd name="T87" fmla="*/ 1027 h 1163"/>
                <a:gd name="T88" fmla="*/ 473 w 913"/>
                <a:gd name="T89" fmla="*/ 1010 h 1163"/>
                <a:gd name="T90" fmla="*/ 511 w 913"/>
                <a:gd name="T91" fmla="*/ 1002 h 1163"/>
                <a:gd name="T92" fmla="*/ 564 w 913"/>
                <a:gd name="T93" fmla="*/ 1034 h 1163"/>
                <a:gd name="T94" fmla="*/ 558 w 913"/>
                <a:gd name="T95" fmla="*/ 988 h 1163"/>
                <a:gd name="T96" fmla="*/ 544 w 913"/>
                <a:gd name="T97" fmla="*/ 994 h 1163"/>
                <a:gd name="T98" fmla="*/ 585 w 913"/>
                <a:gd name="T99" fmla="*/ 990 h 1163"/>
                <a:gd name="T100" fmla="*/ 627 w 913"/>
                <a:gd name="T101" fmla="*/ 994 h 1163"/>
                <a:gd name="T102" fmla="*/ 712 w 913"/>
                <a:gd name="T103" fmla="*/ 979 h 1163"/>
                <a:gd name="T104" fmla="*/ 810 w 913"/>
                <a:gd name="T105" fmla="*/ 953 h 1163"/>
                <a:gd name="T106" fmla="*/ 889 w 913"/>
                <a:gd name="T107" fmla="*/ 860 h 1163"/>
                <a:gd name="T108" fmla="*/ 842 w 913"/>
                <a:gd name="T109" fmla="*/ 852 h 1163"/>
                <a:gd name="T110" fmla="*/ 800 w 913"/>
                <a:gd name="T111" fmla="*/ 829 h 1163"/>
                <a:gd name="T112" fmla="*/ 797 w 913"/>
                <a:gd name="T113" fmla="*/ 789 h 1163"/>
                <a:gd name="T114" fmla="*/ 864 w 913"/>
                <a:gd name="T115" fmla="*/ 742 h 1163"/>
                <a:gd name="T116" fmla="*/ 907 w 913"/>
                <a:gd name="T117" fmla="*/ 654 h 1163"/>
                <a:gd name="T118" fmla="*/ 791 w 913"/>
                <a:gd name="T119" fmla="*/ 848 h 1163"/>
                <a:gd name="T120" fmla="*/ 635 w 913"/>
                <a:gd name="T121" fmla="*/ 407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3" h="1163">
                  <a:moveTo>
                    <a:pt x="912" y="625"/>
                  </a:moveTo>
                  <a:cubicBezTo>
                    <a:pt x="912" y="624"/>
                    <a:pt x="911" y="623"/>
                    <a:pt x="911" y="622"/>
                  </a:cubicBezTo>
                  <a:cubicBezTo>
                    <a:pt x="910" y="621"/>
                    <a:pt x="910" y="620"/>
                    <a:pt x="909" y="619"/>
                  </a:cubicBezTo>
                  <a:cubicBezTo>
                    <a:pt x="909" y="617"/>
                    <a:pt x="909" y="614"/>
                    <a:pt x="909" y="611"/>
                  </a:cubicBezTo>
                  <a:cubicBezTo>
                    <a:pt x="909" y="609"/>
                    <a:pt x="909" y="607"/>
                    <a:pt x="909" y="605"/>
                  </a:cubicBezTo>
                  <a:cubicBezTo>
                    <a:pt x="908" y="601"/>
                    <a:pt x="906" y="598"/>
                    <a:pt x="905" y="594"/>
                  </a:cubicBezTo>
                  <a:cubicBezTo>
                    <a:pt x="904" y="593"/>
                    <a:pt x="903" y="592"/>
                    <a:pt x="903" y="591"/>
                  </a:cubicBezTo>
                  <a:cubicBezTo>
                    <a:pt x="901" y="587"/>
                    <a:pt x="898" y="583"/>
                    <a:pt x="895" y="578"/>
                  </a:cubicBezTo>
                  <a:cubicBezTo>
                    <a:pt x="894" y="578"/>
                    <a:pt x="894" y="577"/>
                    <a:pt x="893" y="576"/>
                  </a:cubicBezTo>
                  <a:cubicBezTo>
                    <a:pt x="891" y="573"/>
                    <a:pt x="888" y="569"/>
                    <a:pt x="883" y="566"/>
                  </a:cubicBezTo>
                  <a:cubicBezTo>
                    <a:pt x="880" y="564"/>
                    <a:pt x="875" y="561"/>
                    <a:pt x="870" y="558"/>
                  </a:cubicBezTo>
                  <a:cubicBezTo>
                    <a:pt x="865" y="554"/>
                    <a:pt x="860" y="551"/>
                    <a:pt x="855" y="548"/>
                  </a:cubicBezTo>
                  <a:cubicBezTo>
                    <a:pt x="853" y="546"/>
                    <a:pt x="850" y="545"/>
                    <a:pt x="846" y="544"/>
                  </a:cubicBezTo>
                  <a:cubicBezTo>
                    <a:pt x="844" y="544"/>
                    <a:pt x="842" y="544"/>
                    <a:pt x="840" y="543"/>
                  </a:cubicBezTo>
                  <a:cubicBezTo>
                    <a:pt x="838" y="543"/>
                    <a:pt x="836" y="543"/>
                    <a:pt x="834" y="543"/>
                  </a:cubicBezTo>
                  <a:cubicBezTo>
                    <a:pt x="833" y="543"/>
                    <a:pt x="831" y="542"/>
                    <a:pt x="830" y="542"/>
                  </a:cubicBezTo>
                  <a:cubicBezTo>
                    <a:pt x="829" y="542"/>
                    <a:pt x="828" y="542"/>
                    <a:pt x="827" y="543"/>
                  </a:cubicBezTo>
                  <a:cubicBezTo>
                    <a:pt x="826" y="543"/>
                    <a:pt x="825" y="543"/>
                    <a:pt x="824" y="543"/>
                  </a:cubicBezTo>
                  <a:cubicBezTo>
                    <a:pt x="822" y="543"/>
                    <a:pt x="821" y="542"/>
                    <a:pt x="820" y="542"/>
                  </a:cubicBezTo>
                  <a:cubicBezTo>
                    <a:pt x="819" y="542"/>
                    <a:pt x="818" y="542"/>
                    <a:pt x="817" y="541"/>
                  </a:cubicBezTo>
                  <a:cubicBezTo>
                    <a:pt x="815" y="541"/>
                    <a:pt x="813" y="540"/>
                    <a:pt x="812" y="540"/>
                  </a:cubicBezTo>
                  <a:cubicBezTo>
                    <a:pt x="810" y="540"/>
                    <a:pt x="809" y="540"/>
                    <a:pt x="807" y="541"/>
                  </a:cubicBezTo>
                  <a:cubicBezTo>
                    <a:pt x="807" y="541"/>
                    <a:pt x="806" y="542"/>
                    <a:pt x="805" y="542"/>
                  </a:cubicBezTo>
                  <a:cubicBezTo>
                    <a:pt x="804" y="543"/>
                    <a:pt x="803" y="543"/>
                    <a:pt x="802" y="543"/>
                  </a:cubicBezTo>
                  <a:cubicBezTo>
                    <a:pt x="801" y="543"/>
                    <a:pt x="800" y="543"/>
                    <a:pt x="799" y="542"/>
                  </a:cubicBezTo>
                  <a:cubicBezTo>
                    <a:pt x="798" y="542"/>
                    <a:pt x="797" y="542"/>
                    <a:pt x="796" y="542"/>
                  </a:cubicBezTo>
                  <a:cubicBezTo>
                    <a:pt x="795" y="541"/>
                    <a:pt x="793" y="541"/>
                    <a:pt x="792" y="541"/>
                  </a:cubicBezTo>
                  <a:cubicBezTo>
                    <a:pt x="790" y="541"/>
                    <a:pt x="788" y="541"/>
                    <a:pt x="786" y="542"/>
                  </a:cubicBezTo>
                  <a:cubicBezTo>
                    <a:pt x="785" y="542"/>
                    <a:pt x="783" y="542"/>
                    <a:pt x="782" y="542"/>
                  </a:cubicBezTo>
                  <a:cubicBezTo>
                    <a:pt x="781" y="542"/>
                    <a:pt x="781" y="542"/>
                    <a:pt x="780" y="542"/>
                  </a:cubicBezTo>
                  <a:cubicBezTo>
                    <a:pt x="779" y="542"/>
                    <a:pt x="778" y="542"/>
                    <a:pt x="777" y="542"/>
                  </a:cubicBezTo>
                  <a:cubicBezTo>
                    <a:pt x="776" y="541"/>
                    <a:pt x="774" y="541"/>
                    <a:pt x="772" y="541"/>
                  </a:cubicBezTo>
                  <a:cubicBezTo>
                    <a:pt x="770" y="541"/>
                    <a:pt x="768" y="541"/>
                    <a:pt x="766" y="542"/>
                  </a:cubicBezTo>
                  <a:cubicBezTo>
                    <a:pt x="765" y="543"/>
                    <a:pt x="763" y="543"/>
                    <a:pt x="762" y="543"/>
                  </a:cubicBezTo>
                  <a:cubicBezTo>
                    <a:pt x="758" y="543"/>
                    <a:pt x="755" y="543"/>
                    <a:pt x="752" y="545"/>
                  </a:cubicBezTo>
                  <a:cubicBezTo>
                    <a:pt x="750" y="548"/>
                    <a:pt x="749" y="551"/>
                    <a:pt x="748" y="554"/>
                  </a:cubicBezTo>
                  <a:cubicBezTo>
                    <a:pt x="748" y="556"/>
                    <a:pt x="748" y="557"/>
                    <a:pt x="747" y="558"/>
                  </a:cubicBezTo>
                  <a:cubicBezTo>
                    <a:pt x="747" y="559"/>
                    <a:pt x="746" y="561"/>
                    <a:pt x="745" y="562"/>
                  </a:cubicBezTo>
                  <a:cubicBezTo>
                    <a:pt x="744" y="565"/>
                    <a:pt x="743" y="567"/>
                    <a:pt x="742" y="569"/>
                  </a:cubicBezTo>
                  <a:cubicBezTo>
                    <a:pt x="741" y="570"/>
                    <a:pt x="741" y="570"/>
                    <a:pt x="741" y="570"/>
                  </a:cubicBezTo>
                  <a:cubicBezTo>
                    <a:pt x="741" y="572"/>
                    <a:pt x="740" y="574"/>
                    <a:pt x="739" y="576"/>
                  </a:cubicBezTo>
                  <a:cubicBezTo>
                    <a:pt x="739" y="577"/>
                    <a:pt x="739" y="577"/>
                    <a:pt x="739" y="578"/>
                  </a:cubicBezTo>
                  <a:cubicBezTo>
                    <a:pt x="738" y="579"/>
                    <a:pt x="738" y="581"/>
                    <a:pt x="738" y="581"/>
                  </a:cubicBezTo>
                  <a:cubicBezTo>
                    <a:pt x="738" y="581"/>
                    <a:pt x="737" y="581"/>
                    <a:pt x="737" y="581"/>
                  </a:cubicBezTo>
                  <a:cubicBezTo>
                    <a:pt x="736" y="581"/>
                    <a:pt x="736" y="581"/>
                    <a:pt x="736" y="581"/>
                  </a:cubicBezTo>
                  <a:cubicBezTo>
                    <a:pt x="734" y="580"/>
                    <a:pt x="732" y="579"/>
                    <a:pt x="730" y="579"/>
                  </a:cubicBezTo>
                  <a:cubicBezTo>
                    <a:pt x="730" y="579"/>
                    <a:pt x="729" y="579"/>
                    <a:pt x="729" y="580"/>
                  </a:cubicBezTo>
                  <a:cubicBezTo>
                    <a:pt x="728" y="580"/>
                    <a:pt x="727" y="580"/>
                    <a:pt x="727" y="580"/>
                  </a:cubicBezTo>
                  <a:cubicBezTo>
                    <a:pt x="726" y="580"/>
                    <a:pt x="725" y="581"/>
                    <a:pt x="725" y="581"/>
                  </a:cubicBezTo>
                  <a:cubicBezTo>
                    <a:pt x="725" y="581"/>
                    <a:pt x="725" y="581"/>
                    <a:pt x="725" y="581"/>
                  </a:cubicBezTo>
                  <a:cubicBezTo>
                    <a:pt x="723" y="580"/>
                    <a:pt x="721" y="579"/>
                    <a:pt x="719" y="576"/>
                  </a:cubicBezTo>
                  <a:cubicBezTo>
                    <a:pt x="719" y="576"/>
                    <a:pt x="719" y="576"/>
                    <a:pt x="719" y="576"/>
                  </a:cubicBezTo>
                  <a:cubicBezTo>
                    <a:pt x="715" y="571"/>
                    <a:pt x="712" y="566"/>
                    <a:pt x="705" y="564"/>
                  </a:cubicBezTo>
                  <a:cubicBezTo>
                    <a:pt x="703" y="564"/>
                    <a:pt x="703" y="564"/>
                    <a:pt x="703" y="564"/>
                  </a:cubicBezTo>
                  <a:cubicBezTo>
                    <a:pt x="702" y="563"/>
                    <a:pt x="699" y="563"/>
                    <a:pt x="699" y="562"/>
                  </a:cubicBezTo>
                  <a:cubicBezTo>
                    <a:pt x="699" y="562"/>
                    <a:pt x="699" y="561"/>
                    <a:pt x="700" y="561"/>
                  </a:cubicBezTo>
                  <a:cubicBezTo>
                    <a:pt x="701" y="559"/>
                    <a:pt x="703" y="558"/>
                    <a:pt x="704" y="556"/>
                  </a:cubicBezTo>
                  <a:cubicBezTo>
                    <a:pt x="708" y="551"/>
                    <a:pt x="713" y="546"/>
                    <a:pt x="717" y="541"/>
                  </a:cubicBezTo>
                  <a:cubicBezTo>
                    <a:pt x="718" y="540"/>
                    <a:pt x="718" y="539"/>
                    <a:pt x="719" y="538"/>
                  </a:cubicBezTo>
                  <a:cubicBezTo>
                    <a:pt x="720" y="536"/>
                    <a:pt x="721" y="534"/>
                    <a:pt x="723" y="533"/>
                  </a:cubicBezTo>
                  <a:cubicBezTo>
                    <a:pt x="728" y="530"/>
                    <a:pt x="732" y="526"/>
                    <a:pt x="734" y="518"/>
                  </a:cubicBezTo>
                  <a:cubicBezTo>
                    <a:pt x="735" y="512"/>
                    <a:pt x="735" y="506"/>
                    <a:pt x="733" y="500"/>
                  </a:cubicBezTo>
                  <a:cubicBezTo>
                    <a:pt x="732" y="497"/>
                    <a:pt x="730" y="492"/>
                    <a:pt x="729" y="489"/>
                  </a:cubicBezTo>
                  <a:cubicBezTo>
                    <a:pt x="728" y="488"/>
                    <a:pt x="727" y="486"/>
                    <a:pt x="727" y="485"/>
                  </a:cubicBezTo>
                  <a:cubicBezTo>
                    <a:pt x="725" y="482"/>
                    <a:pt x="723" y="479"/>
                    <a:pt x="723" y="475"/>
                  </a:cubicBezTo>
                  <a:cubicBezTo>
                    <a:pt x="722" y="472"/>
                    <a:pt x="720" y="469"/>
                    <a:pt x="718" y="467"/>
                  </a:cubicBezTo>
                  <a:cubicBezTo>
                    <a:pt x="718" y="467"/>
                    <a:pt x="717" y="466"/>
                    <a:pt x="717" y="465"/>
                  </a:cubicBezTo>
                  <a:cubicBezTo>
                    <a:pt x="715" y="463"/>
                    <a:pt x="714" y="461"/>
                    <a:pt x="712" y="458"/>
                  </a:cubicBezTo>
                  <a:cubicBezTo>
                    <a:pt x="711" y="457"/>
                    <a:pt x="710" y="455"/>
                    <a:pt x="709" y="453"/>
                  </a:cubicBezTo>
                  <a:cubicBezTo>
                    <a:pt x="707" y="451"/>
                    <a:pt x="706" y="450"/>
                    <a:pt x="704" y="448"/>
                  </a:cubicBezTo>
                  <a:cubicBezTo>
                    <a:pt x="704" y="448"/>
                    <a:pt x="704" y="448"/>
                    <a:pt x="704" y="448"/>
                  </a:cubicBezTo>
                  <a:cubicBezTo>
                    <a:pt x="703" y="447"/>
                    <a:pt x="703" y="447"/>
                    <a:pt x="702" y="446"/>
                  </a:cubicBezTo>
                  <a:cubicBezTo>
                    <a:pt x="701" y="445"/>
                    <a:pt x="700" y="443"/>
                    <a:pt x="698" y="442"/>
                  </a:cubicBezTo>
                  <a:cubicBezTo>
                    <a:pt x="696" y="441"/>
                    <a:pt x="695" y="441"/>
                    <a:pt x="693" y="441"/>
                  </a:cubicBezTo>
                  <a:cubicBezTo>
                    <a:pt x="692" y="441"/>
                    <a:pt x="691" y="441"/>
                    <a:pt x="691" y="441"/>
                  </a:cubicBezTo>
                  <a:cubicBezTo>
                    <a:pt x="690" y="441"/>
                    <a:pt x="689" y="440"/>
                    <a:pt x="688" y="439"/>
                  </a:cubicBezTo>
                  <a:cubicBezTo>
                    <a:pt x="688" y="439"/>
                    <a:pt x="687" y="438"/>
                    <a:pt x="686" y="438"/>
                  </a:cubicBezTo>
                  <a:cubicBezTo>
                    <a:pt x="685" y="437"/>
                    <a:pt x="684" y="436"/>
                    <a:pt x="683" y="435"/>
                  </a:cubicBezTo>
                  <a:cubicBezTo>
                    <a:pt x="681" y="433"/>
                    <a:pt x="678" y="431"/>
                    <a:pt x="675" y="430"/>
                  </a:cubicBezTo>
                  <a:cubicBezTo>
                    <a:pt x="669" y="428"/>
                    <a:pt x="665" y="425"/>
                    <a:pt x="663" y="422"/>
                  </a:cubicBezTo>
                  <a:cubicBezTo>
                    <a:pt x="662" y="421"/>
                    <a:pt x="662" y="420"/>
                    <a:pt x="661" y="419"/>
                  </a:cubicBezTo>
                  <a:cubicBezTo>
                    <a:pt x="658" y="415"/>
                    <a:pt x="655" y="410"/>
                    <a:pt x="650" y="407"/>
                  </a:cubicBezTo>
                  <a:cubicBezTo>
                    <a:pt x="648" y="406"/>
                    <a:pt x="646" y="405"/>
                    <a:pt x="643" y="405"/>
                  </a:cubicBezTo>
                  <a:cubicBezTo>
                    <a:pt x="643" y="405"/>
                    <a:pt x="643" y="405"/>
                    <a:pt x="643" y="405"/>
                  </a:cubicBezTo>
                  <a:cubicBezTo>
                    <a:pt x="644" y="405"/>
                    <a:pt x="646" y="405"/>
                    <a:pt x="647" y="405"/>
                  </a:cubicBezTo>
                  <a:cubicBezTo>
                    <a:pt x="651" y="405"/>
                    <a:pt x="654" y="406"/>
                    <a:pt x="656" y="408"/>
                  </a:cubicBezTo>
                  <a:cubicBezTo>
                    <a:pt x="658" y="409"/>
                    <a:pt x="659" y="411"/>
                    <a:pt x="660" y="413"/>
                  </a:cubicBezTo>
                  <a:cubicBezTo>
                    <a:pt x="662" y="416"/>
                    <a:pt x="664" y="419"/>
                    <a:pt x="667" y="421"/>
                  </a:cubicBezTo>
                  <a:cubicBezTo>
                    <a:pt x="671" y="423"/>
                    <a:pt x="675" y="423"/>
                    <a:pt x="678" y="423"/>
                  </a:cubicBezTo>
                  <a:cubicBezTo>
                    <a:pt x="680" y="423"/>
                    <a:pt x="681" y="423"/>
                    <a:pt x="683" y="423"/>
                  </a:cubicBezTo>
                  <a:cubicBezTo>
                    <a:pt x="684" y="423"/>
                    <a:pt x="685" y="423"/>
                    <a:pt x="686" y="423"/>
                  </a:cubicBezTo>
                  <a:cubicBezTo>
                    <a:pt x="687" y="423"/>
                    <a:pt x="687" y="423"/>
                    <a:pt x="688" y="423"/>
                  </a:cubicBezTo>
                  <a:cubicBezTo>
                    <a:pt x="689" y="423"/>
                    <a:pt x="691" y="423"/>
                    <a:pt x="693" y="423"/>
                  </a:cubicBezTo>
                  <a:cubicBezTo>
                    <a:pt x="696" y="423"/>
                    <a:pt x="700" y="423"/>
                    <a:pt x="702" y="420"/>
                  </a:cubicBezTo>
                  <a:cubicBezTo>
                    <a:pt x="702" y="419"/>
                    <a:pt x="703" y="418"/>
                    <a:pt x="702" y="415"/>
                  </a:cubicBezTo>
                  <a:cubicBezTo>
                    <a:pt x="700" y="412"/>
                    <a:pt x="697" y="410"/>
                    <a:pt x="694" y="408"/>
                  </a:cubicBezTo>
                  <a:cubicBezTo>
                    <a:pt x="693" y="407"/>
                    <a:pt x="693" y="407"/>
                    <a:pt x="693" y="407"/>
                  </a:cubicBezTo>
                  <a:cubicBezTo>
                    <a:pt x="691" y="405"/>
                    <a:pt x="690" y="403"/>
                    <a:pt x="688" y="400"/>
                  </a:cubicBezTo>
                  <a:cubicBezTo>
                    <a:pt x="686" y="397"/>
                    <a:pt x="684" y="394"/>
                    <a:pt x="681" y="392"/>
                  </a:cubicBezTo>
                  <a:cubicBezTo>
                    <a:pt x="681" y="391"/>
                    <a:pt x="681" y="391"/>
                    <a:pt x="681" y="391"/>
                  </a:cubicBezTo>
                  <a:cubicBezTo>
                    <a:pt x="676" y="386"/>
                    <a:pt x="671" y="380"/>
                    <a:pt x="667" y="374"/>
                  </a:cubicBezTo>
                  <a:cubicBezTo>
                    <a:pt x="666" y="372"/>
                    <a:pt x="665" y="371"/>
                    <a:pt x="664" y="369"/>
                  </a:cubicBezTo>
                  <a:cubicBezTo>
                    <a:pt x="661" y="366"/>
                    <a:pt x="659" y="362"/>
                    <a:pt x="657" y="359"/>
                  </a:cubicBezTo>
                  <a:cubicBezTo>
                    <a:pt x="656" y="357"/>
                    <a:pt x="656" y="355"/>
                    <a:pt x="656" y="352"/>
                  </a:cubicBezTo>
                  <a:cubicBezTo>
                    <a:pt x="656" y="351"/>
                    <a:pt x="656" y="351"/>
                    <a:pt x="656" y="351"/>
                  </a:cubicBezTo>
                  <a:cubicBezTo>
                    <a:pt x="656" y="347"/>
                    <a:pt x="656" y="337"/>
                    <a:pt x="664" y="334"/>
                  </a:cubicBezTo>
                  <a:cubicBezTo>
                    <a:pt x="664" y="333"/>
                    <a:pt x="664" y="333"/>
                    <a:pt x="664" y="333"/>
                  </a:cubicBezTo>
                  <a:cubicBezTo>
                    <a:pt x="667" y="333"/>
                    <a:pt x="670" y="331"/>
                    <a:pt x="670" y="328"/>
                  </a:cubicBezTo>
                  <a:cubicBezTo>
                    <a:pt x="671" y="324"/>
                    <a:pt x="666" y="323"/>
                    <a:pt x="663" y="323"/>
                  </a:cubicBezTo>
                  <a:cubicBezTo>
                    <a:pt x="663" y="323"/>
                    <a:pt x="663" y="323"/>
                    <a:pt x="662" y="323"/>
                  </a:cubicBezTo>
                  <a:cubicBezTo>
                    <a:pt x="661" y="322"/>
                    <a:pt x="659" y="321"/>
                    <a:pt x="657" y="318"/>
                  </a:cubicBezTo>
                  <a:cubicBezTo>
                    <a:pt x="656" y="317"/>
                    <a:pt x="655" y="316"/>
                    <a:pt x="653" y="315"/>
                  </a:cubicBezTo>
                  <a:cubicBezTo>
                    <a:pt x="652" y="315"/>
                    <a:pt x="652" y="315"/>
                    <a:pt x="652" y="314"/>
                  </a:cubicBezTo>
                  <a:cubicBezTo>
                    <a:pt x="651" y="314"/>
                    <a:pt x="650" y="314"/>
                    <a:pt x="650" y="313"/>
                  </a:cubicBezTo>
                  <a:cubicBezTo>
                    <a:pt x="650" y="313"/>
                    <a:pt x="650" y="312"/>
                    <a:pt x="650" y="312"/>
                  </a:cubicBezTo>
                  <a:cubicBezTo>
                    <a:pt x="649" y="311"/>
                    <a:pt x="649" y="310"/>
                    <a:pt x="649" y="309"/>
                  </a:cubicBezTo>
                  <a:cubicBezTo>
                    <a:pt x="648" y="307"/>
                    <a:pt x="647" y="306"/>
                    <a:pt x="646" y="305"/>
                  </a:cubicBezTo>
                  <a:cubicBezTo>
                    <a:pt x="644" y="303"/>
                    <a:pt x="642" y="302"/>
                    <a:pt x="640" y="302"/>
                  </a:cubicBezTo>
                  <a:cubicBezTo>
                    <a:pt x="640" y="301"/>
                    <a:pt x="639" y="301"/>
                    <a:pt x="639" y="301"/>
                  </a:cubicBezTo>
                  <a:cubicBezTo>
                    <a:pt x="638" y="301"/>
                    <a:pt x="638" y="302"/>
                    <a:pt x="637" y="302"/>
                  </a:cubicBezTo>
                  <a:cubicBezTo>
                    <a:pt x="637" y="302"/>
                    <a:pt x="636" y="302"/>
                    <a:pt x="636" y="302"/>
                  </a:cubicBezTo>
                  <a:cubicBezTo>
                    <a:pt x="636" y="302"/>
                    <a:pt x="636" y="302"/>
                    <a:pt x="636" y="302"/>
                  </a:cubicBezTo>
                  <a:cubicBezTo>
                    <a:pt x="636" y="302"/>
                    <a:pt x="635" y="301"/>
                    <a:pt x="635" y="301"/>
                  </a:cubicBezTo>
                  <a:cubicBezTo>
                    <a:pt x="635" y="300"/>
                    <a:pt x="635" y="299"/>
                    <a:pt x="634" y="298"/>
                  </a:cubicBezTo>
                  <a:cubicBezTo>
                    <a:pt x="631" y="293"/>
                    <a:pt x="628" y="288"/>
                    <a:pt x="624" y="282"/>
                  </a:cubicBezTo>
                  <a:cubicBezTo>
                    <a:pt x="622" y="278"/>
                    <a:pt x="619" y="274"/>
                    <a:pt x="617" y="271"/>
                  </a:cubicBezTo>
                  <a:cubicBezTo>
                    <a:pt x="617" y="270"/>
                    <a:pt x="616" y="268"/>
                    <a:pt x="616" y="267"/>
                  </a:cubicBezTo>
                  <a:cubicBezTo>
                    <a:pt x="614" y="264"/>
                    <a:pt x="613" y="260"/>
                    <a:pt x="611" y="258"/>
                  </a:cubicBezTo>
                  <a:cubicBezTo>
                    <a:pt x="610" y="257"/>
                    <a:pt x="609" y="257"/>
                    <a:pt x="608" y="256"/>
                  </a:cubicBezTo>
                  <a:cubicBezTo>
                    <a:pt x="607" y="255"/>
                    <a:pt x="606" y="255"/>
                    <a:pt x="605" y="254"/>
                  </a:cubicBezTo>
                  <a:cubicBezTo>
                    <a:pt x="603" y="252"/>
                    <a:pt x="601" y="251"/>
                    <a:pt x="599" y="249"/>
                  </a:cubicBezTo>
                  <a:cubicBezTo>
                    <a:pt x="598" y="249"/>
                    <a:pt x="597" y="249"/>
                    <a:pt x="597" y="248"/>
                  </a:cubicBezTo>
                  <a:cubicBezTo>
                    <a:pt x="595" y="248"/>
                    <a:pt x="593" y="247"/>
                    <a:pt x="592" y="246"/>
                  </a:cubicBezTo>
                  <a:cubicBezTo>
                    <a:pt x="590" y="243"/>
                    <a:pt x="587" y="243"/>
                    <a:pt x="584" y="243"/>
                  </a:cubicBezTo>
                  <a:cubicBezTo>
                    <a:pt x="584" y="243"/>
                    <a:pt x="583" y="243"/>
                    <a:pt x="582" y="243"/>
                  </a:cubicBezTo>
                  <a:cubicBezTo>
                    <a:pt x="579" y="242"/>
                    <a:pt x="575" y="241"/>
                    <a:pt x="573" y="240"/>
                  </a:cubicBezTo>
                  <a:cubicBezTo>
                    <a:pt x="571" y="240"/>
                    <a:pt x="570" y="239"/>
                    <a:pt x="569" y="239"/>
                  </a:cubicBezTo>
                  <a:cubicBezTo>
                    <a:pt x="566" y="237"/>
                    <a:pt x="563" y="236"/>
                    <a:pt x="560" y="236"/>
                  </a:cubicBezTo>
                  <a:cubicBezTo>
                    <a:pt x="559" y="236"/>
                    <a:pt x="559" y="236"/>
                    <a:pt x="559" y="236"/>
                  </a:cubicBezTo>
                  <a:cubicBezTo>
                    <a:pt x="558" y="236"/>
                    <a:pt x="558" y="236"/>
                    <a:pt x="558" y="236"/>
                  </a:cubicBezTo>
                  <a:cubicBezTo>
                    <a:pt x="557" y="236"/>
                    <a:pt x="557" y="236"/>
                    <a:pt x="556" y="235"/>
                  </a:cubicBezTo>
                  <a:cubicBezTo>
                    <a:pt x="554" y="233"/>
                    <a:pt x="552" y="232"/>
                    <a:pt x="549" y="232"/>
                  </a:cubicBezTo>
                  <a:cubicBezTo>
                    <a:pt x="548" y="232"/>
                    <a:pt x="546" y="232"/>
                    <a:pt x="544" y="231"/>
                  </a:cubicBezTo>
                  <a:cubicBezTo>
                    <a:pt x="542" y="231"/>
                    <a:pt x="539" y="231"/>
                    <a:pt x="537" y="230"/>
                  </a:cubicBezTo>
                  <a:cubicBezTo>
                    <a:pt x="536" y="230"/>
                    <a:pt x="537" y="229"/>
                    <a:pt x="537" y="228"/>
                  </a:cubicBezTo>
                  <a:cubicBezTo>
                    <a:pt x="537" y="226"/>
                    <a:pt x="538" y="225"/>
                    <a:pt x="537" y="223"/>
                  </a:cubicBezTo>
                  <a:cubicBezTo>
                    <a:pt x="537" y="219"/>
                    <a:pt x="534" y="215"/>
                    <a:pt x="531" y="212"/>
                  </a:cubicBezTo>
                  <a:cubicBezTo>
                    <a:pt x="527" y="209"/>
                    <a:pt x="525" y="206"/>
                    <a:pt x="523" y="202"/>
                  </a:cubicBezTo>
                  <a:cubicBezTo>
                    <a:pt x="523" y="201"/>
                    <a:pt x="523" y="200"/>
                    <a:pt x="523" y="199"/>
                  </a:cubicBezTo>
                  <a:cubicBezTo>
                    <a:pt x="522" y="197"/>
                    <a:pt x="522" y="196"/>
                    <a:pt x="522" y="195"/>
                  </a:cubicBezTo>
                  <a:cubicBezTo>
                    <a:pt x="522" y="193"/>
                    <a:pt x="521" y="192"/>
                    <a:pt x="520" y="190"/>
                  </a:cubicBezTo>
                  <a:cubicBezTo>
                    <a:pt x="519" y="189"/>
                    <a:pt x="519" y="189"/>
                    <a:pt x="519" y="188"/>
                  </a:cubicBezTo>
                  <a:cubicBezTo>
                    <a:pt x="516" y="183"/>
                    <a:pt x="515" y="179"/>
                    <a:pt x="515" y="174"/>
                  </a:cubicBezTo>
                  <a:cubicBezTo>
                    <a:pt x="515" y="173"/>
                    <a:pt x="515" y="173"/>
                    <a:pt x="515" y="172"/>
                  </a:cubicBezTo>
                  <a:cubicBezTo>
                    <a:pt x="515" y="170"/>
                    <a:pt x="515" y="167"/>
                    <a:pt x="514" y="165"/>
                  </a:cubicBezTo>
                  <a:cubicBezTo>
                    <a:pt x="513" y="163"/>
                    <a:pt x="511" y="161"/>
                    <a:pt x="510" y="159"/>
                  </a:cubicBezTo>
                  <a:cubicBezTo>
                    <a:pt x="509" y="157"/>
                    <a:pt x="508" y="156"/>
                    <a:pt x="507" y="155"/>
                  </a:cubicBezTo>
                  <a:cubicBezTo>
                    <a:pt x="507" y="154"/>
                    <a:pt x="506" y="152"/>
                    <a:pt x="505" y="151"/>
                  </a:cubicBezTo>
                  <a:cubicBezTo>
                    <a:pt x="503" y="149"/>
                    <a:pt x="502" y="147"/>
                    <a:pt x="501" y="144"/>
                  </a:cubicBezTo>
                  <a:cubicBezTo>
                    <a:pt x="501" y="141"/>
                    <a:pt x="500" y="138"/>
                    <a:pt x="498" y="135"/>
                  </a:cubicBezTo>
                  <a:cubicBezTo>
                    <a:pt x="497" y="132"/>
                    <a:pt x="496" y="130"/>
                    <a:pt x="496" y="127"/>
                  </a:cubicBezTo>
                  <a:cubicBezTo>
                    <a:pt x="495" y="126"/>
                    <a:pt x="495" y="125"/>
                    <a:pt x="495" y="125"/>
                  </a:cubicBezTo>
                  <a:cubicBezTo>
                    <a:pt x="495" y="123"/>
                    <a:pt x="496" y="122"/>
                    <a:pt x="495" y="120"/>
                  </a:cubicBezTo>
                  <a:cubicBezTo>
                    <a:pt x="495" y="119"/>
                    <a:pt x="494" y="118"/>
                    <a:pt x="494" y="118"/>
                  </a:cubicBezTo>
                  <a:cubicBezTo>
                    <a:pt x="494" y="117"/>
                    <a:pt x="494" y="117"/>
                    <a:pt x="494" y="116"/>
                  </a:cubicBezTo>
                  <a:cubicBezTo>
                    <a:pt x="493" y="116"/>
                    <a:pt x="493" y="115"/>
                    <a:pt x="493" y="115"/>
                  </a:cubicBezTo>
                  <a:cubicBezTo>
                    <a:pt x="493" y="113"/>
                    <a:pt x="492" y="112"/>
                    <a:pt x="491" y="110"/>
                  </a:cubicBezTo>
                  <a:cubicBezTo>
                    <a:pt x="490" y="110"/>
                    <a:pt x="490" y="110"/>
                    <a:pt x="490" y="110"/>
                  </a:cubicBezTo>
                  <a:cubicBezTo>
                    <a:pt x="489" y="108"/>
                    <a:pt x="489" y="108"/>
                    <a:pt x="488" y="106"/>
                  </a:cubicBezTo>
                  <a:cubicBezTo>
                    <a:pt x="488" y="105"/>
                    <a:pt x="488" y="105"/>
                    <a:pt x="489" y="104"/>
                  </a:cubicBezTo>
                  <a:cubicBezTo>
                    <a:pt x="489" y="103"/>
                    <a:pt x="490" y="101"/>
                    <a:pt x="490" y="99"/>
                  </a:cubicBezTo>
                  <a:cubicBezTo>
                    <a:pt x="490" y="97"/>
                    <a:pt x="488" y="95"/>
                    <a:pt x="487" y="93"/>
                  </a:cubicBezTo>
                  <a:cubicBezTo>
                    <a:pt x="487" y="93"/>
                    <a:pt x="486" y="93"/>
                    <a:pt x="486" y="92"/>
                  </a:cubicBezTo>
                  <a:cubicBezTo>
                    <a:pt x="485" y="91"/>
                    <a:pt x="485" y="88"/>
                    <a:pt x="485" y="85"/>
                  </a:cubicBezTo>
                  <a:cubicBezTo>
                    <a:pt x="485" y="84"/>
                    <a:pt x="485" y="82"/>
                    <a:pt x="485" y="80"/>
                  </a:cubicBezTo>
                  <a:cubicBezTo>
                    <a:pt x="485" y="77"/>
                    <a:pt x="485" y="76"/>
                    <a:pt x="486" y="74"/>
                  </a:cubicBezTo>
                  <a:cubicBezTo>
                    <a:pt x="487" y="72"/>
                    <a:pt x="487" y="69"/>
                    <a:pt x="486" y="66"/>
                  </a:cubicBezTo>
                  <a:cubicBezTo>
                    <a:pt x="485" y="63"/>
                    <a:pt x="484" y="61"/>
                    <a:pt x="482" y="59"/>
                  </a:cubicBezTo>
                  <a:cubicBezTo>
                    <a:pt x="482" y="59"/>
                    <a:pt x="481" y="58"/>
                    <a:pt x="481" y="57"/>
                  </a:cubicBezTo>
                  <a:cubicBezTo>
                    <a:pt x="480" y="56"/>
                    <a:pt x="480" y="55"/>
                    <a:pt x="479" y="53"/>
                  </a:cubicBezTo>
                  <a:cubicBezTo>
                    <a:pt x="479" y="52"/>
                    <a:pt x="478" y="50"/>
                    <a:pt x="477" y="48"/>
                  </a:cubicBezTo>
                  <a:cubicBezTo>
                    <a:pt x="477" y="47"/>
                    <a:pt x="476" y="46"/>
                    <a:pt x="475" y="45"/>
                  </a:cubicBezTo>
                  <a:cubicBezTo>
                    <a:pt x="475" y="45"/>
                    <a:pt x="474" y="44"/>
                    <a:pt x="474" y="43"/>
                  </a:cubicBezTo>
                  <a:cubicBezTo>
                    <a:pt x="473" y="43"/>
                    <a:pt x="473" y="43"/>
                    <a:pt x="473" y="43"/>
                  </a:cubicBezTo>
                  <a:cubicBezTo>
                    <a:pt x="472" y="40"/>
                    <a:pt x="471" y="40"/>
                    <a:pt x="468" y="39"/>
                  </a:cubicBezTo>
                  <a:cubicBezTo>
                    <a:pt x="467" y="39"/>
                    <a:pt x="466" y="39"/>
                    <a:pt x="465" y="39"/>
                  </a:cubicBezTo>
                  <a:cubicBezTo>
                    <a:pt x="464" y="39"/>
                    <a:pt x="463" y="39"/>
                    <a:pt x="462" y="39"/>
                  </a:cubicBezTo>
                  <a:cubicBezTo>
                    <a:pt x="462" y="39"/>
                    <a:pt x="462" y="39"/>
                    <a:pt x="462" y="39"/>
                  </a:cubicBezTo>
                  <a:cubicBezTo>
                    <a:pt x="460" y="39"/>
                    <a:pt x="459" y="39"/>
                    <a:pt x="458" y="36"/>
                  </a:cubicBezTo>
                  <a:cubicBezTo>
                    <a:pt x="457" y="35"/>
                    <a:pt x="457" y="35"/>
                    <a:pt x="457" y="35"/>
                  </a:cubicBezTo>
                  <a:cubicBezTo>
                    <a:pt x="454" y="32"/>
                    <a:pt x="452" y="29"/>
                    <a:pt x="450" y="26"/>
                  </a:cubicBezTo>
                  <a:cubicBezTo>
                    <a:pt x="448" y="23"/>
                    <a:pt x="446" y="21"/>
                    <a:pt x="444" y="18"/>
                  </a:cubicBezTo>
                  <a:cubicBezTo>
                    <a:pt x="440" y="14"/>
                    <a:pt x="436" y="10"/>
                    <a:pt x="434" y="6"/>
                  </a:cubicBezTo>
                  <a:cubicBezTo>
                    <a:pt x="434" y="5"/>
                    <a:pt x="433" y="4"/>
                    <a:pt x="433" y="3"/>
                  </a:cubicBezTo>
                  <a:cubicBezTo>
                    <a:pt x="431" y="0"/>
                    <a:pt x="431" y="0"/>
                    <a:pt x="431" y="0"/>
                  </a:cubicBezTo>
                  <a:cubicBezTo>
                    <a:pt x="429" y="2"/>
                    <a:pt x="429" y="2"/>
                    <a:pt x="429" y="2"/>
                  </a:cubicBezTo>
                  <a:cubicBezTo>
                    <a:pt x="428" y="3"/>
                    <a:pt x="427" y="4"/>
                    <a:pt x="426" y="5"/>
                  </a:cubicBezTo>
                  <a:cubicBezTo>
                    <a:pt x="425" y="7"/>
                    <a:pt x="425" y="9"/>
                    <a:pt x="424" y="10"/>
                  </a:cubicBezTo>
                  <a:cubicBezTo>
                    <a:pt x="424" y="12"/>
                    <a:pt x="424" y="14"/>
                    <a:pt x="421" y="16"/>
                  </a:cubicBezTo>
                  <a:cubicBezTo>
                    <a:pt x="420" y="17"/>
                    <a:pt x="420" y="18"/>
                    <a:pt x="419" y="18"/>
                  </a:cubicBezTo>
                  <a:cubicBezTo>
                    <a:pt x="417" y="19"/>
                    <a:pt x="415" y="20"/>
                    <a:pt x="414" y="23"/>
                  </a:cubicBezTo>
                  <a:cubicBezTo>
                    <a:pt x="413" y="24"/>
                    <a:pt x="413" y="25"/>
                    <a:pt x="413" y="27"/>
                  </a:cubicBezTo>
                  <a:cubicBezTo>
                    <a:pt x="412" y="29"/>
                    <a:pt x="411" y="31"/>
                    <a:pt x="410" y="33"/>
                  </a:cubicBezTo>
                  <a:cubicBezTo>
                    <a:pt x="408" y="35"/>
                    <a:pt x="407" y="36"/>
                    <a:pt x="405" y="36"/>
                  </a:cubicBezTo>
                  <a:cubicBezTo>
                    <a:pt x="403" y="37"/>
                    <a:pt x="402" y="37"/>
                    <a:pt x="401" y="38"/>
                  </a:cubicBezTo>
                  <a:cubicBezTo>
                    <a:pt x="401" y="40"/>
                    <a:pt x="401" y="41"/>
                    <a:pt x="402" y="43"/>
                  </a:cubicBezTo>
                  <a:cubicBezTo>
                    <a:pt x="403" y="46"/>
                    <a:pt x="404" y="48"/>
                    <a:pt x="406" y="50"/>
                  </a:cubicBezTo>
                  <a:cubicBezTo>
                    <a:pt x="407" y="52"/>
                    <a:pt x="408" y="54"/>
                    <a:pt x="409" y="56"/>
                  </a:cubicBezTo>
                  <a:cubicBezTo>
                    <a:pt x="410" y="56"/>
                    <a:pt x="410" y="57"/>
                    <a:pt x="411" y="58"/>
                  </a:cubicBezTo>
                  <a:cubicBezTo>
                    <a:pt x="413" y="64"/>
                    <a:pt x="417" y="71"/>
                    <a:pt x="415" y="76"/>
                  </a:cubicBezTo>
                  <a:cubicBezTo>
                    <a:pt x="414" y="78"/>
                    <a:pt x="412" y="79"/>
                    <a:pt x="410" y="80"/>
                  </a:cubicBezTo>
                  <a:cubicBezTo>
                    <a:pt x="409" y="80"/>
                    <a:pt x="408" y="81"/>
                    <a:pt x="407" y="81"/>
                  </a:cubicBezTo>
                  <a:cubicBezTo>
                    <a:pt x="405" y="83"/>
                    <a:pt x="404" y="85"/>
                    <a:pt x="402" y="87"/>
                  </a:cubicBezTo>
                  <a:cubicBezTo>
                    <a:pt x="402" y="88"/>
                    <a:pt x="402" y="88"/>
                    <a:pt x="401" y="89"/>
                  </a:cubicBezTo>
                  <a:cubicBezTo>
                    <a:pt x="399" y="92"/>
                    <a:pt x="397" y="92"/>
                    <a:pt x="394" y="92"/>
                  </a:cubicBezTo>
                  <a:cubicBezTo>
                    <a:pt x="392" y="92"/>
                    <a:pt x="392" y="92"/>
                    <a:pt x="392" y="92"/>
                  </a:cubicBezTo>
                  <a:cubicBezTo>
                    <a:pt x="390" y="92"/>
                    <a:pt x="388" y="92"/>
                    <a:pt x="386" y="93"/>
                  </a:cubicBezTo>
                  <a:cubicBezTo>
                    <a:pt x="381" y="95"/>
                    <a:pt x="375" y="102"/>
                    <a:pt x="372" y="106"/>
                  </a:cubicBezTo>
                  <a:cubicBezTo>
                    <a:pt x="369" y="109"/>
                    <a:pt x="368" y="113"/>
                    <a:pt x="366" y="117"/>
                  </a:cubicBezTo>
                  <a:cubicBezTo>
                    <a:pt x="365" y="119"/>
                    <a:pt x="365" y="122"/>
                    <a:pt x="364" y="124"/>
                  </a:cubicBezTo>
                  <a:cubicBezTo>
                    <a:pt x="360" y="131"/>
                    <a:pt x="357" y="135"/>
                    <a:pt x="351" y="137"/>
                  </a:cubicBezTo>
                  <a:cubicBezTo>
                    <a:pt x="346" y="140"/>
                    <a:pt x="344" y="143"/>
                    <a:pt x="341" y="146"/>
                  </a:cubicBezTo>
                  <a:cubicBezTo>
                    <a:pt x="340" y="148"/>
                    <a:pt x="339" y="149"/>
                    <a:pt x="338" y="151"/>
                  </a:cubicBezTo>
                  <a:cubicBezTo>
                    <a:pt x="336" y="153"/>
                    <a:pt x="334" y="154"/>
                    <a:pt x="331" y="155"/>
                  </a:cubicBezTo>
                  <a:cubicBezTo>
                    <a:pt x="328" y="156"/>
                    <a:pt x="326" y="157"/>
                    <a:pt x="324" y="160"/>
                  </a:cubicBezTo>
                  <a:cubicBezTo>
                    <a:pt x="323" y="162"/>
                    <a:pt x="322" y="164"/>
                    <a:pt x="322" y="165"/>
                  </a:cubicBezTo>
                  <a:cubicBezTo>
                    <a:pt x="321" y="166"/>
                    <a:pt x="321" y="168"/>
                    <a:pt x="321" y="169"/>
                  </a:cubicBezTo>
                  <a:cubicBezTo>
                    <a:pt x="319" y="172"/>
                    <a:pt x="317" y="174"/>
                    <a:pt x="315" y="175"/>
                  </a:cubicBezTo>
                  <a:cubicBezTo>
                    <a:pt x="315" y="175"/>
                    <a:pt x="315" y="175"/>
                    <a:pt x="315" y="175"/>
                  </a:cubicBezTo>
                  <a:cubicBezTo>
                    <a:pt x="315" y="175"/>
                    <a:pt x="315" y="175"/>
                    <a:pt x="315" y="175"/>
                  </a:cubicBezTo>
                  <a:cubicBezTo>
                    <a:pt x="314" y="176"/>
                    <a:pt x="314" y="176"/>
                    <a:pt x="313" y="177"/>
                  </a:cubicBezTo>
                  <a:cubicBezTo>
                    <a:pt x="312" y="177"/>
                    <a:pt x="312" y="177"/>
                    <a:pt x="311" y="177"/>
                  </a:cubicBezTo>
                  <a:cubicBezTo>
                    <a:pt x="310" y="177"/>
                    <a:pt x="308" y="177"/>
                    <a:pt x="307" y="176"/>
                  </a:cubicBezTo>
                  <a:cubicBezTo>
                    <a:pt x="305" y="176"/>
                    <a:pt x="304" y="176"/>
                    <a:pt x="302" y="176"/>
                  </a:cubicBezTo>
                  <a:cubicBezTo>
                    <a:pt x="302" y="176"/>
                    <a:pt x="302" y="176"/>
                    <a:pt x="302" y="176"/>
                  </a:cubicBezTo>
                  <a:cubicBezTo>
                    <a:pt x="295" y="176"/>
                    <a:pt x="294" y="181"/>
                    <a:pt x="294" y="185"/>
                  </a:cubicBezTo>
                  <a:cubicBezTo>
                    <a:pt x="293" y="186"/>
                    <a:pt x="293" y="186"/>
                    <a:pt x="293" y="186"/>
                  </a:cubicBezTo>
                  <a:cubicBezTo>
                    <a:pt x="293" y="186"/>
                    <a:pt x="293" y="186"/>
                    <a:pt x="292" y="185"/>
                  </a:cubicBezTo>
                  <a:cubicBezTo>
                    <a:pt x="291" y="185"/>
                    <a:pt x="290" y="185"/>
                    <a:pt x="289" y="185"/>
                  </a:cubicBezTo>
                  <a:cubicBezTo>
                    <a:pt x="286" y="185"/>
                    <a:pt x="282" y="187"/>
                    <a:pt x="282" y="191"/>
                  </a:cubicBezTo>
                  <a:cubicBezTo>
                    <a:pt x="281" y="192"/>
                    <a:pt x="281" y="193"/>
                    <a:pt x="280" y="194"/>
                  </a:cubicBezTo>
                  <a:cubicBezTo>
                    <a:pt x="280" y="194"/>
                    <a:pt x="279" y="195"/>
                    <a:pt x="279" y="196"/>
                  </a:cubicBezTo>
                  <a:cubicBezTo>
                    <a:pt x="278" y="198"/>
                    <a:pt x="278" y="199"/>
                    <a:pt x="278" y="200"/>
                  </a:cubicBezTo>
                  <a:cubicBezTo>
                    <a:pt x="278" y="201"/>
                    <a:pt x="278" y="202"/>
                    <a:pt x="278" y="202"/>
                  </a:cubicBezTo>
                  <a:cubicBezTo>
                    <a:pt x="277" y="204"/>
                    <a:pt x="277" y="206"/>
                    <a:pt x="277" y="208"/>
                  </a:cubicBezTo>
                  <a:cubicBezTo>
                    <a:pt x="276" y="210"/>
                    <a:pt x="276" y="212"/>
                    <a:pt x="275" y="214"/>
                  </a:cubicBezTo>
                  <a:cubicBezTo>
                    <a:pt x="275" y="217"/>
                    <a:pt x="273" y="219"/>
                    <a:pt x="270" y="221"/>
                  </a:cubicBezTo>
                  <a:cubicBezTo>
                    <a:pt x="267" y="224"/>
                    <a:pt x="266" y="226"/>
                    <a:pt x="264" y="229"/>
                  </a:cubicBezTo>
                  <a:cubicBezTo>
                    <a:pt x="264" y="230"/>
                    <a:pt x="264" y="230"/>
                    <a:pt x="264" y="230"/>
                  </a:cubicBezTo>
                  <a:cubicBezTo>
                    <a:pt x="263" y="233"/>
                    <a:pt x="261" y="235"/>
                    <a:pt x="261" y="238"/>
                  </a:cubicBezTo>
                  <a:cubicBezTo>
                    <a:pt x="261" y="240"/>
                    <a:pt x="261" y="241"/>
                    <a:pt x="261" y="242"/>
                  </a:cubicBezTo>
                  <a:cubicBezTo>
                    <a:pt x="261" y="244"/>
                    <a:pt x="261" y="245"/>
                    <a:pt x="261" y="247"/>
                  </a:cubicBezTo>
                  <a:cubicBezTo>
                    <a:pt x="261" y="248"/>
                    <a:pt x="261" y="249"/>
                    <a:pt x="261" y="251"/>
                  </a:cubicBezTo>
                  <a:cubicBezTo>
                    <a:pt x="260" y="254"/>
                    <a:pt x="260" y="256"/>
                    <a:pt x="258" y="258"/>
                  </a:cubicBezTo>
                  <a:cubicBezTo>
                    <a:pt x="258" y="258"/>
                    <a:pt x="258" y="259"/>
                    <a:pt x="258" y="259"/>
                  </a:cubicBezTo>
                  <a:cubicBezTo>
                    <a:pt x="257" y="260"/>
                    <a:pt x="255" y="262"/>
                    <a:pt x="255" y="265"/>
                  </a:cubicBezTo>
                  <a:cubicBezTo>
                    <a:pt x="256" y="267"/>
                    <a:pt x="258" y="268"/>
                    <a:pt x="259" y="269"/>
                  </a:cubicBezTo>
                  <a:cubicBezTo>
                    <a:pt x="259" y="269"/>
                    <a:pt x="259" y="270"/>
                    <a:pt x="260" y="270"/>
                  </a:cubicBezTo>
                  <a:cubicBezTo>
                    <a:pt x="260" y="270"/>
                    <a:pt x="261" y="271"/>
                    <a:pt x="261" y="272"/>
                  </a:cubicBezTo>
                  <a:cubicBezTo>
                    <a:pt x="261" y="273"/>
                    <a:pt x="262" y="273"/>
                    <a:pt x="262" y="274"/>
                  </a:cubicBezTo>
                  <a:cubicBezTo>
                    <a:pt x="263" y="276"/>
                    <a:pt x="264" y="277"/>
                    <a:pt x="265" y="279"/>
                  </a:cubicBezTo>
                  <a:cubicBezTo>
                    <a:pt x="266" y="280"/>
                    <a:pt x="266" y="280"/>
                    <a:pt x="266" y="280"/>
                  </a:cubicBezTo>
                  <a:cubicBezTo>
                    <a:pt x="267" y="281"/>
                    <a:pt x="268" y="283"/>
                    <a:pt x="270" y="284"/>
                  </a:cubicBezTo>
                  <a:cubicBezTo>
                    <a:pt x="271" y="285"/>
                    <a:pt x="272" y="287"/>
                    <a:pt x="273" y="288"/>
                  </a:cubicBezTo>
                  <a:cubicBezTo>
                    <a:pt x="274" y="289"/>
                    <a:pt x="275" y="290"/>
                    <a:pt x="275" y="291"/>
                  </a:cubicBezTo>
                  <a:cubicBezTo>
                    <a:pt x="277" y="293"/>
                    <a:pt x="279" y="296"/>
                    <a:pt x="280" y="298"/>
                  </a:cubicBezTo>
                  <a:cubicBezTo>
                    <a:pt x="280" y="299"/>
                    <a:pt x="281" y="301"/>
                    <a:pt x="281" y="303"/>
                  </a:cubicBezTo>
                  <a:cubicBezTo>
                    <a:pt x="281" y="305"/>
                    <a:pt x="281" y="307"/>
                    <a:pt x="281" y="309"/>
                  </a:cubicBezTo>
                  <a:cubicBezTo>
                    <a:pt x="282" y="312"/>
                    <a:pt x="284" y="314"/>
                    <a:pt x="286" y="316"/>
                  </a:cubicBezTo>
                  <a:cubicBezTo>
                    <a:pt x="286" y="317"/>
                    <a:pt x="287" y="317"/>
                    <a:pt x="287" y="318"/>
                  </a:cubicBezTo>
                  <a:cubicBezTo>
                    <a:pt x="287" y="318"/>
                    <a:pt x="288" y="319"/>
                    <a:pt x="289" y="321"/>
                  </a:cubicBezTo>
                  <a:cubicBezTo>
                    <a:pt x="291" y="325"/>
                    <a:pt x="293" y="329"/>
                    <a:pt x="298" y="329"/>
                  </a:cubicBezTo>
                  <a:cubicBezTo>
                    <a:pt x="300" y="329"/>
                    <a:pt x="302" y="329"/>
                    <a:pt x="303" y="327"/>
                  </a:cubicBezTo>
                  <a:cubicBezTo>
                    <a:pt x="303" y="326"/>
                    <a:pt x="304" y="326"/>
                    <a:pt x="304" y="326"/>
                  </a:cubicBezTo>
                  <a:cubicBezTo>
                    <a:pt x="304" y="326"/>
                    <a:pt x="304" y="326"/>
                    <a:pt x="304" y="327"/>
                  </a:cubicBezTo>
                  <a:cubicBezTo>
                    <a:pt x="303" y="328"/>
                    <a:pt x="303" y="329"/>
                    <a:pt x="303" y="329"/>
                  </a:cubicBezTo>
                  <a:cubicBezTo>
                    <a:pt x="302" y="331"/>
                    <a:pt x="302" y="333"/>
                    <a:pt x="301" y="334"/>
                  </a:cubicBezTo>
                  <a:cubicBezTo>
                    <a:pt x="301" y="335"/>
                    <a:pt x="301" y="335"/>
                    <a:pt x="301" y="335"/>
                  </a:cubicBezTo>
                  <a:cubicBezTo>
                    <a:pt x="300" y="338"/>
                    <a:pt x="298" y="342"/>
                    <a:pt x="298" y="346"/>
                  </a:cubicBezTo>
                  <a:cubicBezTo>
                    <a:pt x="299" y="350"/>
                    <a:pt x="301" y="355"/>
                    <a:pt x="306" y="355"/>
                  </a:cubicBezTo>
                  <a:cubicBezTo>
                    <a:pt x="307" y="355"/>
                    <a:pt x="307" y="355"/>
                    <a:pt x="308" y="355"/>
                  </a:cubicBezTo>
                  <a:cubicBezTo>
                    <a:pt x="310" y="354"/>
                    <a:pt x="312" y="353"/>
                    <a:pt x="313" y="351"/>
                  </a:cubicBezTo>
                  <a:cubicBezTo>
                    <a:pt x="313" y="351"/>
                    <a:pt x="314" y="350"/>
                    <a:pt x="314" y="350"/>
                  </a:cubicBezTo>
                  <a:cubicBezTo>
                    <a:pt x="318" y="348"/>
                    <a:pt x="320" y="345"/>
                    <a:pt x="322" y="341"/>
                  </a:cubicBezTo>
                  <a:cubicBezTo>
                    <a:pt x="324" y="338"/>
                    <a:pt x="325" y="334"/>
                    <a:pt x="327" y="330"/>
                  </a:cubicBezTo>
                  <a:cubicBezTo>
                    <a:pt x="327" y="330"/>
                    <a:pt x="327" y="330"/>
                    <a:pt x="327" y="330"/>
                  </a:cubicBezTo>
                  <a:cubicBezTo>
                    <a:pt x="328" y="333"/>
                    <a:pt x="331" y="335"/>
                    <a:pt x="335" y="336"/>
                  </a:cubicBezTo>
                  <a:cubicBezTo>
                    <a:pt x="335" y="336"/>
                    <a:pt x="336" y="336"/>
                    <a:pt x="336" y="336"/>
                  </a:cubicBezTo>
                  <a:cubicBezTo>
                    <a:pt x="340" y="336"/>
                    <a:pt x="342" y="334"/>
                    <a:pt x="344" y="331"/>
                  </a:cubicBezTo>
                  <a:cubicBezTo>
                    <a:pt x="345" y="330"/>
                    <a:pt x="346" y="328"/>
                    <a:pt x="347" y="328"/>
                  </a:cubicBezTo>
                  <a:cubicBezTo>
                    <a:pt x="347" y="328"/>
                    <a:pt x="347" y="329"/>
                    <a:pt x="347" y="329"/>
                  </a:cubicBezTo>
                  <a:cubicBezTo>
                    <a:pt x="349" y="333"/>
                    <a:pt x="350" y="335"/>
                    <a:pt x="353" y="338"/>
                  </a:cubicBezTo>
                  <a:cubicBezTo>
                    <a:pt x="356" y="343"/>
                    <a:pt x="354" y="344"/>
                    <a:pt x="354" y="345"/>
                  </a:cubicBezTo>
                  <a:cubicBezTo>
                    <a:pt x="353" y="346"/>
                    <a:pt x="352" y="346"/>
                    <a:pt x="350" y="347"/>
                  </a:cubicBezTo>
                  <a:cubicBezTo>
                    <a:pt x="349" y="347"/>
                    <a:pt x="348" y="347"/>
                    <a:pt x="347" y="348"/>
                  </a:cubicBezTo>
                  <a:cubicBezTo>
                    <a:pt x="344" y="350"/>
                    <a:pt x="342" y="352"/>
                    <a:pt x="340" y="354"/>
                  </a:cubicBezTo>
                  <a:cubicBezTo>
                    <a:pt x="340" y="355"/>
                    <a:pt x="338" y="358"/>
                    <a:pt x="339" y="360"/>
                  </a:cubicBezTo>
                  <a:cubicBezTo>
                    <a:pt x="341" y="363"/>
                    <a:pt x="344" y="363"/>
                    <a:pt x="346" y="364"/>
                  </a:cubicBezTo>
                  <a:cubicBezTo>
                    <a:pt x="347" y="364"/>
                    <a:pt x="349" y="364"/>
                    <a:pt x="350" y="364"/>
                  </a:cubicBezTo>
                  <a:cubicBezTo>
                    <a:pt x="350" y="365"/>
                    <a:pt x="348" y="366"/>
                    <a:pt x="347" y="367"/>
                  </a:cubicBezTo>
                  <a:cubicBezTo>
                    <a:pt x="346" y="367"/>
                    <a:pt x="346" y="367"/>
                    <a:pt x="346" y="367"/>
                  </a:cubicBezTo>
                  <a:cubicBezTo>
                    <a:pt x="345" y="368"/>
                    <a:pt x="344" y="369"/>
                    <a:pt x="344" y="370"/>
                  </a:cubicBezTo>
                  <a:cubicBezTo>
                    <a:pt x="342" y="372"/>
                    <a:pt x="341" y="373"/>
                    <a:pt x="340" y="374"/>
                  </a:cubicBezTo>
                  <a:cubicBezTo>
                    <a:pt x="340" y="374"/>
                    <a:pt x="339" y="374"/>
                    <a:pt x="337" y="374"/>
                  </a:cubicBezTo>
                  <a:cubicBezTo>
                    <a:pt x="337" y="374"/>
                    <a:pt x="336" y="374"/>
                    <a:pt x="335" y="374"/>
                  </a:cubicBezTo>
                  <a:cubicBezTo>
                    <a:pt x="335" y="374"/>
                    <a:pt x="334" y="374"/>
                    <a:pt x="333" y="374"/>
                  </a:cubicBezTo>
                  <a:cubicBezTo>
                    <a:pt x="331" y="374"/>
                    <a:pt x="330" y="374"/>
                    <a:pt x="329" y="375"/>
                  </a:cubicBezTo>
                  <a:cubicBezTo>
                    <a:pt x="320" y="378"/>
                    <a:pt x="323" y="387"/>
                    <a:pt x="324" y="390"/>
                  </a:cubicBezTo>
                  <a:cubicBezTo>
                    <a:pt x="324" y="392"/>
                    <a:pt x="324" y="394"/>
                    <a:pt x="324" y="396"/>
                  </a:cubicBezTo>
                  <a:cubicBezTo>
                    <a:pt x="323" y="397"/>
                    <a:pt x="323" y="398"/>
                    <a:pt x="323" y="399"/>
                  </a:cubicBezTo>
                  <a:cubicBezTo>
                    <a:pt x="323" y="403"/>
                    <a:pt x="325" y="407"/>
                    <a:pt x="326" y="409"/>
                  </a:cubicBezTo>
                  <a:cubicBezTo>
                    <a:pt x="326" y="409"/>
                    <a:pt x="326" y="409"/>
                    <a:pt x="326" y="410"/>
                  </a:cubicBezTo>
                  <a:cubicBezTo>
                    <a:pt x="328" y="412"/>
                    <a:pt x="329" y="415"/>
                    <a:pt x="332" y="416"/>
                  </a:cubicBezTo>
                  <a:cubicBezTo>
                    <a:pt x="333" y="416"/>
                    <a:pt x="334" y="416"/>
                    <a:pt x="334" y="416"/>
                  </a:cubicBezTo>
                  <a:cubicBezTo>
                    <a:pt x="334" y="416"/>
                    <a:pt x="336" y="416"/>
                    <a:pt x="336" y="416"/>
                  </a:cubicBezTo>
                  <a:cubicBezTo>
                    <a:pt x="336" y="416"/>
                    <a:pt x="336" y="416"/>
                    <a:pt x="336" y="416"/>
                  </a:cubicBezTo>
                  <a:cubicBezTo>
                    <a:pt x="337" y="416"/>
                    <a:pt x="337" y="417"/>
                    <a:pt x="337" y="418"/>
                  </a:cubicBezTo>
                  <a:cubicBezTo>
                    <a:pt x="338" y="421"/>
                    <a:pt x="338" y="422"/>
                    <a:pt x="336" y="423"/>
                  </a:cubicBezTo>
                  <a:cubicBezTo>
                    <a:pt x="334" y="426"/>
                    <a:pt x="332" y="428"/>
                    <a:pt x="330" y="430"/>
                  </a:cubicBezTo>
                  <a:cubicBezTo>
                    <a:pt x="329" y="432"/>
                    <a:pt x="329" y="432"/>
                    <a:pt x="329" y="432"/>
                  </a:cubicBezTo>
                  <a:cubicBezTo>
                    <a:pt x="329" y="433"/>
                    <a:pt x="328" y="434"/>
                    <a:pt x="327" y="435"/>
                  </a:cubicBezTo>
                  <a:cubicBezTo>
                    <a:pt x="326" y="436"/>
                    <a:pt x="325" y="438"/>
                    <a:pt x="323" y="441"/>
                  </a:cubicBezTo>
                  <a:cubicBezTo>
                    <a:pt x="323" y="441"/>
                    <a:pt x="322" y="442"/>
                    <a:pt x="322" y="443"/>
                  </a:cubicBezTo>
                  <a:cubicBezTo>
                    <a:pt x="320" y="446"/>
                    <a:pt x="319" y="448"/>
                    <a:pt x="318" y="452"/>
                  </a:cubicBezTo>
                  <a:cubicBezTo>
                    <a:pt x="318" y="455"/>
                    <a:pt x="319" y="457"/>
                    <a:pt x="321" y="458"/>
                  </a:cubicBezTo>
                  <a:cubicBezTo>
                    <a:pt x="321" y="459"/>
                    <a:pt x="321" y="459"/>
                    <a:pt x="322" y="460"/>
                  </a:cubicBezTo>
                  <a:cubicBezTo>
                    <a:pt x="322" y="460"/>
                    <a:pt x="322" y="460"/>
                    <a:pt x="322" y="461"/>
                  </a:cubicBezTo>
                  <a:cubicBezTo>
                    <a:pt x="322" y="461"/>
                    <a:pt x="322" y="462"/>
                    <a:pt x="323" y="463"/>
                  </a:cubicBezTo>
                  <a:cubicBezTo>
                    <a:pt x="324" y="464"/>
                    <a:pt x="325" y="465"/>
                    <a:pt x="325" y="465"/>
                  </a:cubicBezTo>
                  <a:cubicBezTo>
                    <a:pt x="326" y="466"/>
                    <a:pt x="326" y="466"/>
                    <a:pt x="326" y="466"/>
                  </a:cubicBezTo>
                  <a:cubicBezTo>
                    <a:pt x="327" y="467"/>
                    <a:pt x="327" y="467"/>
                    <a:pt x="328" y="468"/>
                  </a:cubicBezTo>
                  <a:cubicBezTo>
                    <a:pt x="328" y="469"/>
                    <a:pt x="329" y="470"/>
                    <a:pt x="329" y="471"/>
                  </a:cubicBezTo>
                  <a:cubicBezTo>
                    <a:pt x="330" y="471"/>
                    <a:pt x="330" y="472"/>
                    <a:pt x="331" y="473"/>
                  </a:cubicBezTo>
                  <a:cubicBezTo>
                    <a:pt x="331" y="473"/>
                    <a:pt x="332" y="474"/>
                    <a:pt x="332" y="475"/>
                  </a:cubicBezTo>
                  <a:cubicBezTo>
                    <a:pt x="332" y="475"/>
                    <a:pt x="330" y="474"/>
                    <a:pt x="330" y="474"/>
                  </a:cubicBezTo>
                  <a:cubicBezTo>
                    <a:pt x="329" y="474"/>
                    <a:pt x="328" y="474"/>
                    <a:pt x="327" y="474"/>
                  </a:cubicBezTo>
                  <a:cubicBezTo>
                    <a:pt x="325" y="474"/>
                    <a:pt x="323" y="474"/>
                    <a:pt x="321" y="476"/>
                  </a:cubicBezTo>
                  <a:cubicBezTo>
                    <a:pt x="320" y="476"/>
                    <a:pt x="319" y="476"/>
                    <a:pt x="318" y="477"/>
                  </a:cubicBezTo>
                  <a:cubicBezTo>
                    <a:pt x="317" y="477"/>
                    <a:pt x="315" y="477"/>
                    <a:pt x="314" y="478"/>
                  </a:cubicBezTo>
                  <a:cubicBezTo>
                    <a:pt x="311" y="480"/>
                    <a:pt x="310" y="483"/>
                    <a:pt x="310" y="487"/>
                  </a:cubicBezTo>
                  <a:cubicBezTo>
                    <a:pt x="310" y="489"/>
                    <a:pt x="312" y="491"/>
                    <a:pt x="313" y="493"/>
                  </a:cubicBezTo>
                  <a:cubicBezTo>
                    <a:pt x="313" y="493"/>
                    <a:pt x="314" y="493"/>
                    <a:pt x="314" y="494"/>
                  </a:cubicBezTo>
                  <a:cubicBezTo>
                    <a:pt x="314" y="494"/>
                    <a:pt x="315" y="495"/>
                    <a:pt x="315" y="495"/>
                  </a:cubicBezTo>
                  <a:cubicBezTo>
                    <a:pt x="315" y="496"/>
                    <a:pt x="316" y="497"/>
                    <a:pt x="316" y="497"/>
                  </a:cubicBezTo>
                  <a:cubicBezTo>
                    <a:pt x="317" y="498"/>
                    <a:pt x="317" y="498"/>
                    <a:pt x="318" y="499"/>
                  </a:cubicBezTo>
                  <a:cubicBezTo>
                    <a:pt x="318" y="499"/>
                    <a:pt x="319" y="499"/>
                    <a:pt x="319" y="500"/>
                  </a:cubicBezTo>
                  <a:cubicBezTo>
                    <a:pt x="319" y="500"/>
                    <a:pt x="320" y="501"/>
                    <a:pt x="320" y="502"/>
                  </a:cubicBezTo>
                  <a:cubicBezTo>
                    <a:pt x="321" y="504"/>
                    <a:pt x="321" y="505"/>
                    <a:pt x="322" y="506"/>
                  </a:cubicBezTo>
                  <a:cubicBezTo>
                    <a:pt x="323" y="507"/>
                    <a:pt x="323" y="508"/>
                    <a:pt x="324" y="509"/>
                  </a:cubicBezTo>
                  <a:cubicBezTo>
                    <a:pt x="324" y="510"/>
                    <a:pt x="324" y="510"/>
                    <a:pt x="324" y="510"/>
                  </a:cubicBezTo>
                  <a:cubicBezTo>
                    <a:pt x="325" y="510"/>
                    <a:pt x="325" y="510"/>
                    <a:pt x="325" y="510"/>
                  </a:cubicBezTo>
                  <a:cubicBezTo>
                    <a:pt x="327" y="511"/>
                    <a:pt x="329" y="512"/>
                    <a:pt x="332" y="512"/>
                  </a:cubicBezTo>
                  <a:cubicBezTo>
                    <a:pt x="335" y="512"/>
                    <a:pt x="338" y="512"/>
                    <a:pt x="340" y="514"/>
                  </a:cubicBezTo>
                  <a:cubicBezTo>
                    <a:pt x="343" y="517"/>
                    <a:pt x="344" y="523"/>
                    <a:pt x="344" y="528"/>
                  </a:cubicBezTo>
                  <a:cubicBezTo>
                    <a:pt x="345" y="531"/>
                    <a:pt x="346" y="534"/>
                    <a:pt x="346" y="536"/>
                  </a:cubicBezTo>
                  <a:cubicBezTo>
                    <a:pt x="347" y="539"/>
                    <a:pt x="349" y="541"/>
                    <a:pt x="350" y="544"/>
                  </a:cubicBezTo>
                  <a:cubicBezTo>
                    <a:pt x="351" y="547"/>
                    <a:pt x="353" y="551"/>
                    <a:pt x="354" y="555"/>
                  </a:cubicBezTo>
                  <a:cubicBezTo>
                    <a:pt x="356" y="560"/>
                    <a:pt x="359" y="561"/>
                    <a:pt x="363" y="562"/>
                  </a:cubicBezTo>
                  <a:cubicBezTo>
                    <a:pt x="365" y="562"/>
                    <a:pt x="368" y="563"/>
                    <a:pt x="369" y="565"/>
                  </a:cubicBezTo>
                  <a:cubicBezTo>
                    <a:pt x="371" y="568"/>
                    <a:pt x="370" y="574"/>
                    <a:pt x="367" y="577"/>
                  </a:cubicBezTo>
                  <a:cubicBezTo>
                    <a:pt x="366" y="578"/>
                    <a:pt x="364" y="579"/>
                    <a:pt x="363" y="579"/>
                  </a:cubicBezTo>
                  <a:cubicBezTo>
                    <a:pt x="362" y="579"/>
                    <a:pt x="362" y="578"/>
                    <a:pt x="361" y="578"/>
                  </a:cubicBezTo>
                  <a:cubicBezTo>
                    <a:pt x="360" y="577"/>
                    <a:pt x="359" y="576"/>
                    <a:pt x="359" y="575"/>
                  </a:cubicBezTo>
                  <a:cubicBezTo>
                    <a:pt x="358" y="573"/>
                    <a:pt x="357" y="572"/>
                    <a:pt x="355" y="571"/>
                  </a:cubicBezTo>
                  <a:cubicBezTo>
                    <a:pt x="354" y="570"/>
                    <a:pt x="353" y="570"/>
                    <a:pt x="351" y="570"/>
                  </a:cubicBezTo>
                  <a:cubicBezTo>
                    <a:pt x="350" y="570"/>
                    <a:pt x="349" y="570"/>
                    <a:pt x="348" y="570"/>
                  </a:cubicBezTo>
                  <a:cubicBezTo>
                    <a:pt x="347" y="571"/>
                    <a:pt x="346" y="571"/>
                    <a:pt x="345" y="571"/>
                  </a:cubicBezTo>
                  <a:cubicBezTo>
                    <a:pt x="345" y="571"/>
                    <a:pt x="344" y="571"/>
                    <a:pt x="344" y="571"/>
                  </a:cubicBezTo>
                  <a:cubicBezTo>
                    <a:pt x="342" y="570"/>
                    <a:pt x="340" y="570"/>
                    <a:pt x="339" y="570"/>
                  </a:cubicBezTo>
                  <a:cubicBezTo>
                    <a:pt x="337" y="569"/>
                    <a:pt x="336" y="569"/>
                    <a:pt x="335" y="569"/>
                  </a:cubicBezTo>
                  <a:cubicBezTo>
                    <a:pt x="332" y="569"/>
                    <a:pt x="330" y="572"/>
                    <a:pt x="328" y="575"/>
                  </a:cubicBezTo>
                  <a:cubicBezTo>
                    <a:pt x="327" y="576"/>
                    <a:pt x="326" y="578"/>
                    <a:pt x="325" y="579"/>
                  </a:cubicBezTo>
                  <a:cubicBezTo>
                    <a:pt x="322" y="585"/>
                    <a:pt x="318" y="592"/>
                    <a:pt x="319" y="597"/>
                  </a:cubicBezTo>
                  <a:cubicBezTo>
                    <a:pt x="320" y="603"/>
                    <a:pt x="325" y="604"/>
                    <a:pt x="330" y="605"/>
                  </a:cubicBezTo>
                  <a:cubicBezTo>
                    <a:pt x="333" y="605"/>
                    <a:pt x="336" y="606"/>
                    <a:pt x="338" y="608"/>
                  </a:cubicBezTo>
                  <a:cubicBezTo>
                    <a:pt x="340" y="610"/>
                    <a:pt x="339" y="611"/>
                    <a:pt x="336" y="615"/>
                  </a:cubicBezTo>
                  <a:cubicBezTo>
                    <a:pt x="334" y="617"/>
                    <a:pt x="332" y="620"/>
                    <a:pt x="331" y="623"/>
                  </a:cubicBezTo>
                  <a:cubicBezTo>
                    <a:pt x="331" y="624"/>
                    <a:pt x="331" y="624"/>
                    <a:pt x="331" y="624"/>
                  </a:cubicBezTo>
                  <a:cubicBezTo>
                    <a:pt x="332" y="625"/>
                    <a:pt x="332" y="625"/>
                    <a:pt x="332" y="625"/>
                  </a:cubicBezTo>
                  <a:cubicBezTo>
                    <a:pt x="332" y="626"/>
                    <a:pt x="333" y="626"/>
                    <a:pt x="333" y="627"/>
                  </a:cubicBezTo>
                  <a:cubicBezTo>
                    <a:pt x="333" y="629"/>
                    <a:pt x="329" y="633"/>
                    <a:pt x="327" y="635"/>
                  </a:cubicBezTo>
                  <a:cubicBezTo>
                    <a:pt x="325" y="637"/>
                    <a:pt x="324" y="638"/>
                    <a:pt x="324" y="639"/>
                  </a:cubicBezTo>
                  <a:cubicBezTo>
                    <a:pt x="322" y="643"/>
                    <a:pt x="321" y="646"/>
                    <a:pt x="323" y="648"/>
                  </a:cubicBezTo>
                  <a:cubicBezTo>
                    <a:pt x="323" y="648"/>
                    <a:pt x="324" y="649"/>
                    <a:pt x="325" y="649"/>
                  </a:cubicBezTo>
                  <a:cubicBezTo>
                    <a:pt x="326" y="649"/>
                    <a:pt x="327" y="649"/>
                    <a:pt x="329" y="648"/>
                  </a:cubicBezTo>
                  <a:cubicBezTo>
                    <a:pt x="329" y="648"/>
                    <a:pt x="330" y="648"/>
                    <a:pt x="331" y="648"/>
                  </a:cubicBezTo>
                  <a:cubicBezTo>
                    <a:pt x="331" y="648"/>
                    <a:pt x="332" y="647"/>
                    <a:pt x="333" y="647"/>
                  </a:cubicBezTo>
                  <a:cubicBezTo>
                    <a:pt x="336" y="647"/>
                    <a:pt x="339" y="648"/>
                    <a:pt x="340" y="650"/>
                  </a:cubicBezTo>
                  <a:cubicBezTo>
                    <a:pt x="341" y="651"/>
                    <a:pt x="341" y="652"/>
                    <a:pt x="340" y="653"/>
                  </a:cubicBezTo>
                  <a:cubicBezTo>
                    <a:pt x="339" y="657"/>
                    <a:pt x="329" y="660"/>
                    <a:pt x="324" y="661"/>
                  </a:cubicBezTo>
                  <a:cubicBezTo>
                    <a:pt x="324" y="662"/>
                    <a:pt x="323" y="662"/>
                    <a:pt x="323" y="662"/>
                  </a:cubicBezTo>
                  <a:cubicBezTo>
                    <a:pt x="322" y="662"/>
                    <a:pt x="322" y="662"/>
                    <a:pt x="321" y="663"/>
                  </a:cubicBezTo>
                  <a:cubicBezTo>
                    <a:pt x="317" y="664"/>
                    <a:pt x="312" y="665"/>
                    <a:pt x="313" y="671"/>
                  </a:cubicBezTo>
                  <a:cubicBezTo>
                    <a:pt x="313" y="676"/>
                    <a:pt x="319" y="679"/>
                    <a:pt x="324" y="681"/>
                  </a:cubicBezTo>
                  <a:cubicBezTo>
                    <a:pt x="325" y="681"/>
                    <a:pt x="326" y="682"/>
                    <a:pt x="327" y="682"/>
                  </a:cubicBezTo>
                  <a:cubicBezTo>
                    <a:pt x="339" y="688"/>
                    <a:pt x="341" y="693"/>
                    <a:pt x="341" y="695"/>
                  </a:cubicBezTo>
                  <a:cubicBezTo>
                    <a:pt x="342" y="700"/>
                    <a:pt x="337" y="707"/>
                    <a:pt x="333" y="712"/>
                  </a:cubicBezTo>
                  <a:cubicBezTo>
                    <a:pt x="333" y="713"/>
                    <a:pt x="332" y="713"/>
                    <a:pt x="331" y="714"/>
                  </a:cubicBezTo>
                  <a:cubicBezTo>
                    <a:pt x="326" y="721"/>
                    <a:pt x="327" y="728"/>
                    <a:pt x="328" y="737"/>
                  </a:cubicBezTo>
                  <a:cubicBezTo>
                    <a:pt x="329" y="739"/>
                    <a:pt x="329" y="741"/>
                    <a:pt x="329" y="743"/>
                  </a:cubicBezTo>
                  <a:cubicBezTo>
                    <a:pt x="329" y="745"/>
                    <a:pt x="329" y="748"/>
                    <a:pt x="330" y="750"/>
                  </a:cubicBezTo>
                  <a:cubicBezTo>
                    <a:pt x="331" y="754"/>
                    <a:pt x="333" y="759"/>
                    <a:pt x="335" y="763"/>
                  </a:cubicBezTo>
                  <a:cubicBezTo>
                    <a:pt x="335" y="764"/>
                    <a:pt x="335" y="764"/>
                    <a:pt x="335" y="764"/>
                  </a:cubicBezTo>
                  <a:cubicBezTo>
                    <a:pt x="338" y="769"/>
                    <a:pt x="343" y="772"/>
                    <a:pt x="348" y="772"/>
                  </a:cubicBezTo>
                  <a:cubicBezTo>
                    <a:pt x="349" y="772"/>
                    <a:pt x="349" y="772"/>
                    <a:pt x="349" y="772"/>
                  </a:cubicBezTo>
                  <a:cubicBezTo>
                    <a:pt x="357" y="773"/>
                    <a:pt x="360" y="773"/>
                    <a:pt x="365" y="780"/>
                  </a:cubicBezTo>
                  <a:cubicBezTo>
                    <a:pt x="367" y="782"/>
                    <a:pt x="370" y="784"/>
                    <a:pt x="373" y="786"/>
                  </a:cubicBezTo>
                  <a:cubicBezTo>
                    <a:pt x="376" y="787"/>
                    <a:pt x="379" y="789"/>
                    <a:pt x="380" y="792"/>
                  </a:cubicBezTo>
                  <a:cubicBezTo>
                    <a:pt x="382" y="795"/>
                    <a:pt x="382" y="801"/>
                    <a:pt x="382" y="807"/>
                  </a:cubicBezTo>
                  <a:cubicBezTo>
                    <a:pt x="382" y="809"/>
                    <a:pt x="382" y="811"/>
                    <a:pt x="382" y="812"/>
                  </a:cubicBezTo>
                  <a:cubicBezTo>
                    <a:pt x="382" y="815"/>
                    <a:pt x="382" y="818"/>
                    <a:pt x="382" y="820"/>
                  </a:cubicBezTo>
                  <a:cubicBezTo>
                    <a:pt x="382" y="823"/>
                    <a:pt x="382" y="825"/>
                    <a:pt x="382" y="827"/>
                  </a:cubicBezTo>
                  <a:cubicBezTo>
                    <a:pt x="382" y="835"/>
                    <a:pt x="382" y="835"/>
                    <a:pt x="382" y="835"/>
                  </a:cubicBezTo>
                  <a:cubicBezTo>
                    <a:pt x="387" y="829"/>
                    <a:pt x="387" y="829"/>
                    <a:pt x="387" y="829"/>
                  </a:cubicBezTo>
                  <a:cubicBezTo>
                    <a:pt x="388" y="828"/>
                    <a:pt x="388" y="827"/>
                    <a:pt x="389" y="827"/>
                  </a:cubicBezTo>
                  <a:cubicBezTo>
                    <a:pt x="391" y="824"/>
                    <a:pt x="394" y="821"/>
                    <a:pt x="396" y="819"/>
                  </a:cubicBezTo>
                  <a:cubicBezTo>
                    <a:pt x="399" y="817"/>
                    <a:pt x="401" y="815"/>
                    <a:pt x="404" y="814"/>
                  </a:cubicBezTo>
                  <a:cubicBezTo>
                    <a:pt x="403" y="815"/>
                    <a:pt x="402" y="816"/>
                    <a:pt x="401" y="817"/>
                  </a:cubicBezTo>
                  <a:cubicBezTo>
                    <a:pt x="401" y="818"/>
                    <a:pt x="400" y="818"/>
                    <a:pt x="400" y="818"/>
                  </a:cubicBezTo>
                  <a:cubicBezTo>
                    <a:pt x="395" y="823"/>
                    <a:pt x="389" y="830"/>
                    <a:pt x="385" y="837"/>
                  </a:cubicBezTo>
                  <a:cubicBezTo>
                    <a:pt x="384" y="839"/>
                    <a:pt x="383" y="840"/>
                    <a:pt x="383" y="841"/>
                  </a:cubicBezTo>
                  <a:cubicBezTo>
                    <a:pt x="381" y="843"/>
                    <a:pt x="380" y="846"/>
                    <a:pt x="378" y="848"/>
                  </a:cubicBezTo>
                  <a:cubicBezTo>
                    <a:pt x="378" y="849"/>
                    <a:pt x="377" y="849"/>
                    <a:pt x="376" y="850"/>
                  </a:cubicBezTo>
                  <a:cubicBezTo>
                    <a:pt x="376" y="851"/>
                    <a:pt x="375" y="851"/>
                    <a:pt x="375" y="852"/>
                  </a:cubicBezTo>
                  <a:cubicBezTo>
                    <a:pt x="374" y="852"/>
                    <a:pt x="374" y="852"/>
                    <a:pt x="374" y="853"/>
                  </a:cubicBezTo>
                  <a:cubicBezTo>
                    <a:pt x="373" y="853"/>
                    <a:pt x="372" y="854"/>
                    <a:pt x="372" y="854"/>
                  </a:cubicBezTo>
                  <a:cubicBezTo>
                    <a:pt x="369" y="855"/>
                    <a:pt x="367" y="855"/>
                    <a:pt x="364" y="858"/>
                  </a:cubicBezTo>
                  <a:cubicBezTo>
                    <a:pt x="363" y="859"/>
                    <a:pt x="363" y="859"/>
                    <a:pt x="363" y="859"/>
                  </a:cubicBezTo>
                  <a:cubicBezTo>
                    <a:pt x="360" y="861"/>
                    <a:pt x="357" y="864"/>
                    <a:pt x="356" y="867"/>
                  </a:cubicBezTo>
                  <a:cubicBezTo>
                    <a:pt x="355" y="868"/>
                    <a:pt x="354" y="869"/>
                    <a:pt x="354" y="870"/>
                  </a:cubicBezTo>
                  <a:cubicBezTo>
                    <a:pt x="353" y="872"/>
                    <a:pt x="352" y="873"/>
                    <a:pt x="351" y="874"/>
                  </a:cubicBezTo>
                  <a:cubicBezTo>
                    <a:pt x="351" y="874"/>
                    <a:pt x="350" y="875"/>
                    <a:pt x="350" y="875"/>
                  </a:cubicBezTo>
                  <a:cubicBezTo>
                    <a:pt x="349" y="875"/>
                    <a:pt x="348" y="876"/>
                    <a:pt x="347" y="877"/>
                  </a:cubicBezTo>
                  <a:cubicBezTo>
                    <a:pt x="346" y="878"/>
                    <a:pt x="344" y="880"/>
                    <a:pt x="343" y="882"/>
                  </a:cubicBezTo>
                  <a:cubicBezTo>
                    <a:pt x="343" y="883"/>
                    <a:pt x="343" y="884"/>
                    <a:pt x="343" y="885"/>
                  </a:cubicBezTo>
                  <a:cubicBezTo>
                    <a:pt x="342" y="886"/>
                    <a:pt x="342" y="887"/>
                    <a:pt x="342" y="887"/>
                  </a:cubicBezTo>
                  <a:cubicBezTo>
                    <a:pt x="342" y="888"/>
                    <a:pt x="342" y="888"/>
                    <a:pt x="341" y="889"/>
                  </a:cubicBezTo>
                  <a:cubicBezTo>
                    <a:pt x="340" y="890"/>
                    <a:pt x="339" y="892"/>
                    <a:pt x="339" y="894"/>
                  </a:cubicBezTo>
                  <a:cubicBezTo>
                    <a:pt x="339" y="896"/>
                    <a:pt x="339" y="897"/>
                    <a:pt x="339" y="899"/>
                  </a:cubicBezTo>
                  <a:cubicBezTo>
                    <a:pt x="339" y="900"/>
                    <a:pt x="340" y="901"/>
                    <a:pt x="340" y="901"/>
                  </a:cubicBezTo>
                  <a:cubicBezTo>
                    <a:pt x="340" y="904"/>
                    <a:pt x="340" y="906"/>
                    <a:pt x="341" y="908"/>
                  </a:cubicBezTo>
                  <a:cubicBezTo>
                    <a:pt x="342" y="912"/>
                    <a:pt x="341" y="913"/>
                    <a:pt x="341" y="914"/>
                  </a:cubicBezTo>
                  <a:cubicBezTo>
                    <a:pt x="341" y="914"/>
                    <a:pt x="340" y="914"/>
                    <a:pt x="339" y="914"/>
                  </a:cubicBezTo>
                  <a:cubicBezTo>
                    <a:pt x="338" y="914"/>
                    <a:pt x="336" y="914"/>
                    <a:pt x="335" y="914"/>
                  </a:cubicBezTo>
                  <a:cubicBezTo>
                    <a:pt x="335" y="914"/>
                    <a:pt x="334" y="913"/>
                    <a:pt x="334" y="913"/>
                  </a:cubicBezTo>
                  <a:cubicBezTo>
                    <a:pt x="333" y="913"/>
                    <a:pt x="332" y="913"/>
                    <a:pt x="331" y="912"/>
                  </a:cubicBezTo>
                  <a:cubicBezTo>
                    <a:pt x="330" y="912"/>
                    <a:pt x="330" y="912"/>
                    <a:pt x="329" y="912"/>
                  </a:cubicBezTo>
                  <a:cubicBezTo>
                    <a:pt x="329" y="912"/>
                    <a:pt x="328" y="912"/>
                    <a:pt x="327" y="912"/>
                  </a:cubicBezTo>
                  <a:cubicBezTo>
                    <a:pt x="327" y="912"/>
                    <a:pt x="326" y="912"/>
                    <a:pt x="326" y="912"/>
                  </a:cubicBezTo>
                  <a:cubicBezTo>
                    <a:pt x="325" y="912"/>
                    <a:pt x="325" y="912"/>
                    <a:pt x="325" y="912"/>
                  </a:cubicBezTo>
                  <a:cubicBezTo>
                    <a:pt x="321" y="912"/>
                    <a:pt x="318" y="913"/>
                    <a:pt x="315" y="915"/>
                  </a:cubicBezTo>
                  <a:cubicBezTo>
                    <a:pt x="312" y="917"/>
                    <a:pt x="310" y="918"/>
                    <a:pt x="307" y="919"/>
                  </a:cubicBezTo>
                  <a:cubicBezTo>
                    <a:pt x="306" y="919"/>
                    <a:pt x="305" y="919"/>
                    <a:pt x="305" y="919"/>
                  </a:cubicBezTo>
                  <a:cubicBezTo>
                    <a:pt x="304" y="919"/>
                    <a:pt x="303" y="919"/>
                    <a:pt x="302" y="918"/>
                  </a:cubicBezTo>
                  <a:cubicBezTo>
                    <a:pt x="301" y="918"/>
                    <a:pt x="301" y="918"/>
                    <a:pt x="300" y="918"/>
                  </a:cubicBezTo>
                  <a:cubicBezTo>
                    <a:pt x="299" y="918"/>
                    <a:pt x="298" y="918"/>
                    <a:pt x="298" y="918"/>
                  </a:cubicBezTo>
                  <a:cubicBezTo>
                    <a:pt x="297" y="918"/>
                    <a:pt x="297" y="917"/>
                    <a:pt x="296" y="917"/>
                  </a:cubicBezTo>
                  <a:cubicBezTo>
                    <a:pt x="295" y="916"/>
                    <a:pt x="295" y="916"/>
                    <a:pt x="294" y="916"/>
                  </a:cubicBezTo>
                  <a:cubicBezTo>
                    <a:pt x="293" y="915"/>
                    <a:pt x="292" y="914"/>
                    <a:pt x="291" y="914"/>
                  </a:cubicBezTo>
                  <a:cubicBezTo>
                    <a:pt x="290" y="913"/>
                    <a:pt x="289" y="912"/>
                    <a:pt x="288" y="912"/>
                  </a:cubicBezTo>
                  <a:cubicBezTo>
                    <a:pt x="284" y="910"/>
                    <a:pt x="280" y="908"/>
                    <a:pt x="276" y="908"/>
                  </a:cubicBezTo>
                  <a:cubicBezTo>
                    <a:pt x="274" y="908"/>
                    <a:pt x="272" y="908"/>
                    <a:pt x="270" y="908"/>
                  </a:cubicBezTo>
                  <a:cubicBezTo>
                    <a:pt x="268" y="908"/>
                    <a:pt x="266" y="908"/>
                    <a:pt x="264" y="908"/>
                  </a:cubicBezTo>
                  <a:cubicBezTo>
                    <a:pt x="263" y="908"/>
                    <a:pt x="262" y="908"/>
                    <a:pt x="261" y="908"/>
                  </a:cubicBezTo>
                  <a:cubicBezTo>
                    <a:pt x="258" y="908"/>
                    <a:pt x="256" y="908"/>
                    <a:pt x="253" y="907"/>
                  </a:cubicBezTo>
                  <a:cubicBezTo>
                    <a:pt x="251" y="906"/>
                    <a:pt x="249" y="906"/>
                    <a:pt x="246" y="906"/>
                  </a:cubicBezTo>
                  <a:cubicBezTo>
                    <a:pt x="244" y="906"/>
                    <a:pt x="242" y="906"/>
                    <a:pt x="240" y="907"/>
                  </a:cubicBezTo>
                  <a:cubicBezTo>
                    <a:pt x="240" y="907"/>
                    <a:pt x="239" y="907"/>
                    <a:pt x="238" y="907"/>
                  </a:cubicBezTo>
                  <a:cubicBezTo>
                    <a:pt x="237" y="908"/>
                    <a:pt x="236" y="908"/>
                    <a:pt x="236" y="908"/>
                  </a:cubicBezTo>
                  <a:cubicBezTo>
                    <a:pt x="235" y="908"/>
                    <a:pt x="235" y="908"/>
                    <a:pt x="235" y="908"/>
                  </a:cubicBezTo>
                  <a:cubicBezTo>
                    <a:pt x="233" y="908"/>
                    <a:pt x="233" y="908"/>
                    <a:pt x="233" y="908"/>
                  </a:cubicBezTo>
                  <a:cubicBezTo>
                    <a:pt x="231" y="908"/>
                    <a:pt x="230" y="908"/>
                    <a:pt x="228" y="909"/>
                  </a:cubicBezTo>
                  <a:cubicBezTo>
                    <a:pt x="227" y="909"/>
                    <a:pt x="226" y="910"/>
                    <a:pt x="225" y="910"/>
                  </a:cubicBezTo>
                  <a:cubicBezTo>
                    <a:pt x="225" y="911"/>
                    <a:pt x="224" y="911"/>
                    <a:pt x="224" y="911"/>
                  </a:cubicBezTo>
                  <a:cubicBezTo>
                    <a:pt x="223" y="912"/>
                    <a:pt x="222" y="912"/>
                    <a:pt x="221" y="912"/>
                  </a:cubicBezTo>
                  <a:cubicBezTo>
                    <a:pt x="220" y="912"/>
                    <a:pt x="220" y="912"/>
                    <a:pt x="220" y="912"/>
                  </a:cubicBezTo>
                  <a:cubicBezTo>
                    <a:pt x="219" y="912"/>
                    <a:pt x="218" y="912"/>
                    <a:pt x="216" y="912"/>
                  </a:cubicBezTo>
                  <a:cubicBezTo>
                    <a:pt x="215" y="912"/>
                    <a:pt x="213" y="911"/>
                    <a:pt x="211" y="911"/>
                  </a:cubicBezTo>
                  <a:cubicBezTo>
                    <a:pt x="211" y="911"/>
                    <a:pt x="210" y="911"/>
                    <a:pt x="209" y="912"/>
                  </a:cubicBezTo>
                  <a:cubicBezTo>
                    <a:pt x="206" y="912"/>
                    <a:pt x="204" y="912"/>
                    <a:pt x="202" y="913"/>
                  </a:cubicBezTo>
                  <a:cubicBezTo>
                    <a:pt x="200" y="913"/>
                    <a:pt x="199" y="914"/>
                    <a:pt x="197" y="914"/>
                  </a:cubicBezTo>
                  <a:cubicBezTo>
                    <a:pt x="192" y="915"/>
                    <a:pt x="191" y="918"/>
                    <a:pt x="191" y="920"/>
                  </a:cubicBezTo>
                  <a:cubicBezTo>
                    <a:pt x="191" y="921"/>
                    <a:pt x="191" y="922"/>
                    <a:pt x="191" y="923"/>
                  </a:cubicBezTo>
                  <a:cubicBezTo>
                    <a:pt x="190" y="923"/>
                    <a:pt x="190" y="924"/>
                    <a:pt x="190" y="924"/>
                  </a:cubicBezTo>
                  <a:cubicBezTo>
                    <a:pt x="188" y="926"/>
                    <a:pt x="186" y="928"/>
                    <a:pt x="189" y="933"/>
                  </a:cubicBezTo>
                  <a:cubicBezTo>
                    <a:pt x="191" y="935"/>
                    <a:pt x="192" y="936"/>
                    <a:pt x="191" y="939"/>
                  </a:cubicBezTo>
                  <a:cubicBezTo>
                    <a:pt x="191" y="941"/>
                    <a:pt x="190" y="942"/>
                    <a:pt x="189" y="944"/>
                  </a:cubicBezTo>
                  <a:cubicBezTo>
                    <a:pt x="188" y="944"/>
                    <a:pt x="187" y="945"/>
                    <a:pt x="187" y="946"/>
                  </a:cubicBezTo>
                  <a:cubicBezTo>
                    <a:pt x="186" y="948"/>
                    <a:pt x="183" y="952"/>
                    <a:pt x="180" y="954"/>
                  </a:cubicBezTo>
                  <a:cubicBezTo>
                    <a:pt x="179" y="955"/>
                    <a:pt x="178" y="955"/>
                    <a:pt x="177" y="955"/>
                  </a:cubicBezTo>
                  <a:cubicBezTo>
                    <a:pt x="176" y="955"/>
                    <a:pt x="175" y="955"/>
                    <a:pt x="174" y="955"/>
                  </a:cubicBezTo>
                  <a:cubicBezTo>
                    <a:pt x="173" y="955"/>
                    <a:pt x="172" y="954"/>
                    <a:pt x="171" y="954"/>
                  </a:cubicBezTo>
                  <a:cubicBezTo>
                    <a:pt x="170" y="955"/>
                    <a:pt x="170" y="955"/>
                    <a:pt x="170" y="955"/>
                  </a:cubicBezTo>
                  <a:cubicBezTo>
                    <a:pt x="168" y="955"/>
                    <a:pt x="167" y="954"/>
                    <a:pt x="165" y="954"/>
                  </a:cubicBezTo>
                  <a:cubicBezTo>
                    <a:pt x="163" y="953"/>
                    <a:pt x="161" y="952"/>
                    <a:pt x="159" y="952"/>
                  </a:cubicBezTo>
                  <a:cubicBezTo>
                    <a:pt x="153" y="952"/>
                    <a:pt x="152" y="957"/>
                    <a:pt x="151" y="960"/>
                  </a:cubicBezTo>
                  <a:cubicBezTo>
                    <a:pt x="151" y="961"/>
                    <a:pt x="151" y="961"/>
                    <a:pt x="151" y="962"/>
                  </a:cubicBezTo>
                  <a:cubicBezTo>
                    <a:pt x="150" y="964"/>
                    <a:pt x="150" y="966"/>
                    <a:pt x="150" y="968"/>
                  </a:cubicBezTo>
                  <a:cubicBezTo>
                    <a:pt x="150" y="969"/>
                    <a:pt x="150" y="971"/>
                    <a:pt x="149" y="972"/>
                  </a:cubicBezTo>
                  <a:cubicBezTo>
                    <a:pt x="149" y="974"/>
                    <a:pt x="149" y="974"/>
                    <a:pt x="149" y="974"/>
                  </a:cubicBezTo>
                  <a:cubicBezTo>
                    <a:pt x="149" y="977"/>
                    <a:pt x="148" y="979"/>
                    <a:pt x="149" y="983"/>
                  </a:cubicBezTo>
                  <a:cubicBezTo>
                    <a:pt x="150" y="985"/>
                    <a:pt x="150" y="987"/>
                    <a:pt x="150" y="989"/>
                  </a:cubicBezTo>
                  <a:cubicBezTo>
                    <a:pt x="150" y="990"/>
                    <a:pt x="150" y="991"/>
                    <a:pt x="150" y="992"/>
                  </a:cubicBezTo>
                  <a:cubicBezTo>
                    <a:pt x="150" y="993"/>
                    <a:pt x="150" y="993"/>
                    <a:pt x="150" y="993"/>
                  </a:cubicBezTo>
                  <a:cubicBezTo>
                    <a:pt x="151" y="997"/>
                    <a:pt x="151" y="997"/>
                    <a:pt x="149" y="999"/>
                  </a:cubicBezTo>
                  <a:cubicBezTo>
                    <a:pt x="148" y="999"/>
                    <a:pt x="148" y="999"/>
                    <a:pt x="148" y="999"/>
                  </a:cubicBezTo>
                  <a:cubicBezTo>
                    <a:pt x="146" y="1001"/>
                    <a:pt x="143" y="1003"/>
                    <a:pt x="140" y="1006"/>
                  </a:cubicBezTo>
                  <a:cubicBezTo>
                    <a:pt x="139" y="1007"/>
                    <a:pt x="138" y="1009"/>
                    <a:pt x="138" y="1010"/>
                  </a:cubicBezTo>
                  <a:cubicBezTo>
                    <a:pt x="137" y="1012"/>
                    <a:pt x="137" y="1013"/>
                    <a:pt x="135" y="1014"/>
                  </a:cubicBezTo>
                  <a:cubicBezTo>
                    <a:pt x="134" y="1014"/>
                    <a:pt x="133" y="1015"/>
                    <a:pt x="132" y="1016"/>
                  </a:cubicBezTo>
                  <a:cubicBezTo>
                    <a:pt x="131" y="1017"/>
                    <a:pt x="131" y="1017"/>
                    <a:pt x="131" y="1017"/>
                  </a:cubicBezTo>
                  <a:cubicBezTo>
                    <a:pt x="130" y="1018"/>
                    <a:pt x="130" y="1018"/>
                    <a:pt x="129" y="1018"/>
                  </a:cubicBezTo>
                  <a:cubicBezTo>
                    <a:pt x="128" y="1019"/>
                    <a:pt x="126" y="1019"/>
                    <a:pt x="125" y="1021"/>
                  </a:cubicBezTo>
                  <a:cubicBezTo>
                    <a:pt x="123" y="1023"/>
                    <a:pt x="123" y="1026"/>
                    <a:pt x="124" y="1028"/>
                  </a:cubicBezTo>
                  <a:cubicBezTo>
                    <a:pt x="124" y="1031"/>
                    <a:pt x="124" y="1033"/>
                    <a:pt x="123" y="1033"/>
                  </a:cubicBezTo>
                  <a:cubicBezTo>
                    <a:pt x="121" y="1035"/>
                    <a:pt x="118" y="1035"/>
                    <a:pt x="116" y="1035"/>
                  </a:cubicBezTo>
                  <a:cubicBezTo>
                    <a:pt x="115" y="1035"/>
                    <a:pt x="115" y="1036"/>
                    <a:pt x="114" y="1036"/>
                  </a:cubicBezTo>
                  <a:cubicBezTo>
                    <a:pt x="113" y="1036"/>
                    <a:pt x="112" y="1036"/>
                    <a:pt x="111" y="1036"/>
                  </a:cubicBezTo>
                  <a:cubicBezTo>
                    <a:pt x="111" y="1036"/>
                    <a:pt x="110" y="1036"/>
                    <a:pt x="110" y="1036"/>
                  </a:cubicBezTo>
                  <a:cubicBezTo>
                    <a:pt x="108" y="1036"/>
                    <a:pt x="106" y="1036"/>
                    <a:pt x="104" y="1039"/>
                  </a:cubicBezTo>
                  <a:cubicBezTo>
                    <a:pt x="103" y="1041"/>
                    <a:pt x="103" y="1043"/>
                    <a:pt x="103" y="1045"/>
                  </a:cubicBezTo>
                  <a:cubicBezTo>
                    <a:pt x="103" y="1045"/>
                    <a:pt x="103" y="1045"/>
                    <a:pt x="102" y="1045"/>
                  </a:cubicBezTo>
                  <a:cubicBezTo>
                    <a:pt x="102" y="1045"/>
                    <a:pt x="102" y="1045"/>
                    <a:pt x="101" y="1045"/>
                  </a:cubicBezTo>
                  <a:cubicBezTo>
                    <a:pt x="101" y="1045"/>
                    <a:pt x="100" y="1045"/>
                    <a:pt x="99" y="1045"/>
                  </a:cubicBezTo>
                  <a:cubicBezTo>
                    <a:pt x="99" y="1045"/>
                    <a:pt x="98" y="1044"/>
                    <a:pt x="97" y="1044"/>
                  </a:cubicBezTo>
                  <a:cubicBezTo>
                    <a:pt x="93" y="1044"/>
                    <a:pt x="92" y="1046"/>
                    <a:pt x="91" y="1048"/>
                  </a:cubicBezTo>
                  <a:cubicBezTo>
                    <a:pt x="90" y="1050"/>
                    <a:pt x="90" y="1052"/>
                    <a:pt x="91" y="1054"/>
                  </a:cubicBezTo>
                  <a:cubicBezTo>
                    <a:pt x="91" y="1055"/>
                    <a:pt x="91" y="1056"/>
                    <a:pt x="91" y="1056"/>
                  </a:cubicBezTo>
                  <a:cubicBezTo>
                    <a:pt x="90" y="1058"/>
                    <a:pt x="90" y="1059"/>
                    <a:pt x="90" y="1060"/>
                  </a:cubicBezTo>
                  <a:cubicBezTo>
                    <a:pt x="90" y="1062"/>
                    <a:pt x="90" y="1063"/>
                    <a:pt x="89" y="1065"/>
                  </a:cubicBezTo>
                  <a:cubicBezTo>
                    <a:pt x="88" y="1067"/>
                    <a:pt x="87" y="1070"/>
                    <a:pt x="86" y="1071"/>
                  </a:cubicBezTo>
                  <a:cubicBezTo>
                    <a:pt x="85" y="1072"/>
                    <a:pt x="85" y="1072"/>
                    <a:pt x="83" y="1072"/>
                  </a:cubicBezTo>
                  <a:cubicBezTo>
                    <a:pt x="83" y="1075"/>
                    <a:pt x="83" y="1075"/>
                    <a:pt x="83" y="1075"/>
                  </a:cubicBezTo>
                  <a:cubicBezTo>
                    <a:pt x="83" y="1072"/>
                    <a:pt x="83" y="1072"/>
                    <a:pt x="83" y="1072"/>
                  </a:cubicBezTo>
                  <a:cubicBezTo>
                    <a:pt x="82" y="1072"/>
                    <a:pt x="80" y="1072"/>
                    <a:pt x="78" y="1073"/>
                  </a:cubicBezTo>
                  <a:cubicBezTo>
                    <a:pt x="74" y="1075"/>
                    <a:pt x="74" y="1079"/>
                    <a:pt x="74" y="1082"/>
                  </a:cubicBezTo>
                  <a:cubicBezTo>
                    <a:pt x="74" y="1084"/>
                    <a:pt x="73" y="1086"/>
                    <a:pt x="73" y="1087"/>
                  </a:cubicBezTo>
                  <a:cubicBezTo>
                    <a:pt x="72" y="1088"/>
                    <a:pt x="70" y="1089"/>
                    <a:pt x="68" y="1091"/>
                  </a:cubicBezTo>
                  <a:cubicBezTo>
                    <a:pt x="67" y="1091"/>
                    <a:pt x="66" y="1092"/>
                    <a:pt x="65" y="1092"/>
                  </a:cubicBezTo>
                  <a:cubicBezTo>
                    <a:pt x="63" y="1094"/>
                    <a:pt x="61" y="1096"/>
                    <a:pt x="60" y="1098"/>
                  </a:cubicBezTo>
                  <a:cubicBezTo>
                    <a:pt x="59" y="1099"/>
                    <a:pt x="59" y="1099"/>
                    <a:pt x="58" y="1100"/>
                  </a:cubicBezTo>
                  <a:cubicBezTo>
                    <a:pt x="56" y="1103"/>
                    <a:pt x="53" y="1105"/>
                    <a:pt x="51" y="1107"/>
                  </a:cubicBezTo>
                  <a:cubicBezTo>
                    <a:pt x="50" y="1107"/>
                    <a:pt x="49" y="1108"/>
                    <a:pt x="47" y="1108"/>
                  </a:cubicBezTo>
                  <a:cubicBezTo>
                    <a:pt x="46" y="1108"/>
                    <a:pt x="44" y="1108"/>
                    <a:pt x="42" y="1109"/>
                  </a:cubicBezTo>
                  <a:cubicBezTo>
                    <a:pt x="41" y="1109"/>
                    <a:pt x="41" y="1110"/>
                    <a:pt x="40" y="1110"/>
                  </a:cubicBezTo>
                  <a:cubicBezTo>
                    <a:pt x="40" y="1111"/>
                    <a:pt x="39" y="1111"/>
                    <a:pt x="39" y="1111"/>
                  </a:cubicBezTo>
                  <a:cubicBezTo>
                    <a:pt x="38" y="1111"/>
                    <a:pt x="37" y="1111"/>
                    <a:pt x="36" y="1110"/>
                  </a:cubicBezTo>
                  <a:cubicBezTo>
                    <a:pt x="36" y="1110"/>
                    <a:pt x="35" y="1110"/>
                    <a:pt x="34" y="1110"/>
                  </a:cubicBezTo>
                  <a:cubicBezTo>
                    <a:pt x="33" y="1109"/>
                    <a:pt x="32" y="1109"/>
                    <a:pt x="30" y="1109"/>
                  </a:cubicBezTo>
                  <a:cubicBezTo>
                    <a:pt x="28" y="1109"/>
                    <a:pt x="27" y="1110"/>
                    <a:pt x="25" y="1111"/>
                  </a:cubicBezTo>
                  <a:cubicBezTo>
                    <a:pt x="24" y="1111"/>
                    <a:pt x="22" y="1112"/>
                    <a:pt x="21" y="1113"/>
                  </a:cubicBezTo>
                  <a:cubicBezTo>
                    <a:pt x="19" y="1114"/>
                    <a:pt x="18" y="1115"/>
                    <a:pt x="16" y="1116"/>
                  </a:cubicBezTo>
                  <a:cubicBezTo>
                    <a:pt x="12" y="1118"/>
                    <a:pt x="7" y="1120"/>
                    <a:pt x="5" y="1126"/>
                  </a:cubicBezTo>
                  <a:cubicBezTo>
                    <a:pt x="4" y="1127"/>
                    <a:pt x="4" y="1129"/>
                    <a:pt x="4" y="1130"/>
                  </a:cubicBezTo>
                  <a:cubicBezTo>
                    <a:pt x="4" y="1131"/>
                    <a:pt x="4" y="1132"/>
                    <a:pt x="4" y="1133"/>
                  </a:cubicBezTo>
                  <a:cubicBezTo>
                    <a:pt x="4" y="1133"/>
                    <a:pt x="3" y="1134"/>
                    <a:pt x="3" y="1134"/>
                  </a:cubicBezTo>
                  <a:cubicBezTo>
                    <a:pt x="3" y="1134"/>
                    <a:pt x="2" y="1135"/>
                    <a:pt x="2" y="1136"/>
                  </a:cubicBezTo>
                  <a:cubicBezTo>
                    <a:pt x="0" y="1138"/>
                    <a:pt x="1" y="1141"/>
                    <a:pt x="2" y="1143"/>
                  </a:cubicBezTo>
                  <a:cubicBezTo>
                    <a:pt x="4" y="1147"/>
                    <a:pt x="10" y="1148"/>
                    <a:pt x="12" y="1148"/>
                  </a:cubicBezTo>
                  <a:cubicBezTo>
                    <a:pt x="13" y="1148"/>
                    <a:pt x="15" y="1148"/>
                    <a:pt x="16" y="1148"/>
                  </a:cubicBezTo>
                  <a:cubicBezTo>
                    <a:pt x="20" y="1148"/>
                    <a:pt x="22" y="1147"/>
                    <a:pt x="25" y="1146"/>
                  </a:cubicBezTo>
                  <a:cubicBezTo>
                    <a:pt x="29" y="1144"/>
                    <a:pt x="30" y="1139"/>
                    <a:pt x="31" y="1136"/>
                  </a:cubicBezTo>
                  <a:cubicBezTo>
                    <a:pt x="31" y="1135"/>
                    <a:pt x="31" y="1135"/>
                    <a:pt x="31" y="1135"/>
                  </a:cubicBezTo>
                  <a:cubicBezTo>
                    <a:pt x="32" y="1132"/>
                    <a:pt x="32" y="1131"/>
                    <a:pt x="33" y="1131"/>
                  </a:cubicBezTo>
                  <a:cubicBezTo>
                    <a:pt x="33" y="1131"/>
                    <a:pt x="33" y="1131"/>
                    <a:pt x="33" y="1131"/>
                  </a:cubicBezTo>
                  <a:cubicBezTo>
                    <a:pt x="34" y="1131"/>
                    <a:pt x="36" y="1131"/>
                    <a:pt x="37" y="1132"/>
                  </a:cubicBezTo>
                  <a:cubicBezTo>
                    <a:pt x="38" y="1132"/>
                    <a:pt x="38" y="1133"/>
                    <a:pt x="38" y="1133"/>
                  </a:cubicBezTo>
                  <a:cubicBezTo>
                    <a:pt x="39" y="1133"/>
                    <a:pt x="39" y="1134"/>
                    <a:pt x="40" y="1134"/>
                  </a:cubicBezTo>
                  <a:cubicBezTo>
                    <a:pt x="42" y="1136"/>
                    <a:pt x="45" y="1136"/>
                    <a:pt x="47" y="1136"/>
                  </a:cubicBezTo>
                  <a:cubicBezTo>
                    <a:pt x="48" y="1136"/>
                    <a:pt x="48" y="1136"/>
                    <a:pt x="49" y="1136"/>
                  </a:cubicBezTo>
                  <a:cubicBezTo>
                    <a:pt x="49" y="1136"/>
                    <a:pt x="50" y="1136"/>
                    <a:pt x="51" y="1136"/>
                  </a:cubicBezTo>
                  <a:cubicBezTo>
                    <a:pt x="51" y="1136"/>
                    <a:pt x="51" y="1136"/>
                    <a:pt x="51" y="1136"/>
                  </a:cubicBezTo>
                  <a:cubicBezTo>
                    <a:pt x="54" y="1136"/>
                    <a:pt x="57" y="1138"/>
                    <a:pt x="58" y="1140"/>
                  </a:cubicBezTo>
                  <a:cubicBezTo>
                    <a:pt x="59" y="1141"/>
                    <a:pt x="59" y="1142"/>
                    <a:pt x="59" y="1143"/>
                  </a:cubicBezTo>
                  <a:cubicBezTo>
                    <a:pt x="59" y="1144"/>
                    <a:pt x="59" y="1144"/>
                    <a:pt x="59" y="1144"/>
                  </a:cubicBezTo>
                  <a:cubicBezTo>
                    <a:pt x="59" y="1145"/>
                    <a:pt x="60" y="1146"/>
                    <a:pt x="60" y="1147"/>
                  </a:cubicBezTo>
                  <a:cubicBezTo>
                    <a:pt x="60" y="1148"/>
                    <a:pt x="61" y="1149"/>
                    <a:pt x="61" y="1149"/>
                  </a:cubicBezTo>
                  <a:cubicBezTo>
                    <a:pt x="61" y="1153"/>
                    <a:pt x="62" y="1155"/>
                    <a:pt x="64" y="1159"/>
                  </a:cubicBezTo>
                  <a:cubicBezTo>
                    <a:pt x="64" y="1159"/>
                    <a:pt x="64" y="1159"/>
                    <a:pt x="64" y="1159"/>
                  </a:cubicBezTo>
                  <a:cubicBezTo>
                    <a:pt x="65" y="1161"/>
                    <a:pt x="67" y="1163"/>
                    <a:pt x="70" y="1163"/>
                  </a:cubicBezTo>
                  <a:cubicBezTo>
                    <a:pt x="70" y="1163"/>
                    <a:pt x="71" y="1163"/>
                    <a:pt x="71" y="1163"/>
                  </a:cubicBezTo>
                  <a:cubicBezTo>
                    <a:pt x="76" y="1162"/>
                    <a:pt x="77" y="1159"/>
                    <a:pt x="77" y="1157"/>
                  </a:cubicBezTo>
                  <a:cubicBezTo>
                    <a:pt x="78" y="1156"/>
                    <a:pt x="78" y="1155"/>
                    <a:pt x="79" y="1155"/>
                  </a:cubicBezTo>
                  <a:cubicBezTo>
                    <a:pt x="79" y="1154"/>
                    <a:pt x="80" y="1154"/>
                    <a:pt x="81" y="1154"/>
                  </a:cubicBezTo>
                  <a:cubicBezTo>
                    <a:pt x="82" y="1154"/>
                    <a:pt x="84" y="1153"/>
                    <a:pt x="86" y="1153"/>
                  </a:cubicBezTo>
                  <a:cubicBezTo>
                    <a:pt x="88" y="1151"/>
                    <a:pt x="88" y="1149"/>
                    <a:pt x="88" y="1148"/>
                  </a:cubicBezTo>
                  <a:cubicBezTo>
                    <a:pt x="88" y="1148"/>
                    <a:pt x="88" y="1148"/>
                    <a:pt x="88" y="1148"/>
                  </a:cubicBezTo>
                  <a:cubicBezTo>
                    <a:pt x="88" y="1148"/>
                    <a:pt x="89" y="1148"/>
                    <a:pt x="89" y="1148"/>
                  </a:cubicBezTo>
                  <a:cubicBezTo>
                    <a:pt x="90" y="1147"/>
                    <a:pt x="92" y="1146"/>
                    <a:pt x="92" y="1143"/>
                  </a:cubicBezTo>
                  <a:cubicBezTo>
                    <a:pt x="93" y="1140"/>
                    <a:pt x="91" y="1137"/>
                    <a:pt x="89" y="1135"/>
                  </a:cubicBezTo>
                  <a:cubicBezTo>
                    <a:pt x="88" y="1134"/>
                    <a:pt x="87" y="1134"/>
                    <a:pt x="87" y="1134"/>
                  </a:cubicBezTo>
                  <a:cubicBezTo>
                    <a:pt x="86" y="1134"/>
                    <a:pt x="86" y="1134"/>
                    <a:pt x="86" y="1133"/>
                  </a:cubicBezTo>
                  <a:cubicBezTo>
                    <a:pt x="86" y="1133"/>
                    <a:pt x="86" y="1132"/>
                    <a:pt x="87" y="1131"/>
                  </a:cubicBezTo>
                  <a:cubicBezTo>
                    <a:pt x="89" y="1130"/>
                    <a:pt x="91" y="1128"/>
                    <a:pt x="91" y="1124"/>
                  </a:cubicBezTo>
                  <a:cubicBezTo>
                    <a:pt x="91" y="1124"/>
                    <a:pt x="91" y="1123"/>
                    <a:pt x="91" y="1123"/>
                  </a:cubicBezTo>
                  <a:cubicBezTo>
                    <a:pt x="93" y="1125"/>
                    <a:pt x="95" y="1126"/>
                    <a:pt x="96" y="1126"/>
                  </a:cubicBezTo>
                  <a:cubicBezTo>
                    <a:pt x="97" y="1126"/>
                    <a:pt x="97" y="1126"/>
                    <a:pt x="98" y="1126"/>
                  </a:cubicBezTo>
                  <a:cubicBezTo>
                    <a:pt x="101" y="1126"/>
                    <a:pt x="102" y="1124"/>
                    <a:pt x="103" y="1122"/>
                  </a:cubicBezTo>
                  <a:cubicBezTo>
                    <a:pt x="103" y="1122"/>
                    <a:pt x="103" y="1122"/>
                    <a:pt x="103" y="1122"/>
                  </a:cubicBezTo>
                  <a:cubicBezTo>
                    <a:pt x="104" y="1120"/>
                    <a:pt x="105" y="1119"/>
                    <a:pt x="106" y="1118"/>
                  </a:cubicBezTo>
                  <a:cubicBezTo>
                    <a:pt x="107" y="1117"/>
                    <a:pt x="108" y="1116"/>
                    <a:pt x="109" y="1116"/>
                  </a:cubicBezTo>
                  <a:cubicBezTo>
                    <a:pt x="110" y="1115"/>
                    <a:pt x="110" y="1115"/>
                    <a:pt x="110" y="1115"/>
                  </a:cubicBezTo>
                  <a:cubicBezTo>
                    <a:pt x="112" y="1115"/>
                    <a:pt x="113" y="1114"/>
                    <a:pt x="114" y="1112"/>
                  </a:cubicBezTo>
                  <a:cubicBezTo>
                    <a:pt x="115" y="1112"/>
                    <a:pt x="115" y="1111"/>
                    <a:pt x="115" y="1111"/>
                  </a:cubicBezTo>
                  <a:cubicBezTo>
                    <a:pt x="115" y="1111"/>
                    <a:pt x="115" y="1112"/>
                    <a:pt x="116" y="1112"/>
                  </a:cubicBezTo>
                  <a:cubicBezTo>
                    <a:pt x="117" y="1113"/>
                    <a:pt x="118" y="1114"/>
                    <a:pt x="120" y="1114"/>
                  </a:cubicBezTo>
                  <a:cubicBezTo>
                    <a:pt x="122" y="1114"/>
                    <a:pt x="123" y="1112"/>
                    <a:pt x="125" y="1111"/>
                  </a:cubicBezTo>
                  <a:cubicBezTo>
                    <a:pt x="127" y="1108"/>
                    <a:pt x="127" y="1106"/>
                    <a:pt x="127" y="1103"/>
                  </a:cubicBezTo>
                  <a:cubicBezTo>
                    <a:pt x="127" y="1102"/>
                    <a:pt x="127" y="1102"/>
                    <a:pt x="127" y="1102"/>
                  </a:cubicBezTo>
                  <a:cubicBezTo>
                    <a:pt x="127" y="1101"/>
                    <a:pt x="127" y="1100"/>
                    <a:pt x="128" y="1099"/>
                  </a:cubicBezTo>
                  <a:cubicBezTo>
                    <a:pt x="128" y="1098"/>
                    <a:pt x="129" y="1096"/>
                    <a:pt x="129" y="1094"/>
                  </a:cubicBezTo>
                  <a:cubicBezTo>
                    <a:pt x="129" y="1094"/>
                    <a:pt x="129" y="1093"/>
                    <a:pt x="129" y="1093"/>
                  </a:cubicBezTo>
                  <a:cubicBezTo>
                    <a:pt x="129" y="1091"/>
                    <a:pt x="129" y="1091"/>
                    <a:pt x="129" y="1091"/>
                  </a:cubicBezTo>
                  <a:cubicBezTo>
                    <a:pt x="130" y="1090"/>
                    <a:pt x="130" y="1090"/>
                    <a:pt x="131" y="1090"/>
                  </a:cubicBezTo>
                  <a:cubicBezTo>
                    <a:pt x="133" y="1090"/>
                    <a:pt x="135" y="1091"/>
                    <a:pt x="136" y="1091"/>
                  </a:cubicBezTo>
                  <a:cubicBezTo>
                    <a:pt x="136" y="1092"/>
                    <a:pt x="136" y="1092"/>
                    <a:pt x="136" y="1092"/>
                  </a:cubicBezTo>
                  <a:cubicBezTo>
                    <a:pt x="137" y="1092"/>
                    <a:pt x="139" y="1093"/>
                    <a:pt x="141" y="1093"/>
                  </a:cubicBezTo>
                  <a:cubicBezTo>
                    <a:pt x="141" y="1093"/>
                    <a:pt x="142" y="1093"/>
                    <a:pt x="142" y="1093"/>
                  </a:cubicBezTo>
                  <a:cubicBezTo>
                    <a:pt x="144" y="1093"/>
                    <a:pt x="145" y="1093"/>
                    <a:pt x="147" y="1093"/>
                  </a:cubicBezTo>
                  <a:cubicBezTo>
                    <a:pt x="148" y="1093"/>
                    <a:pt x="150" y="1093"/>
                    <a:pt x="152" y="1093"/>
                  </a:cubicBezTo>
                  <a:cubicBezTo>
                    <a:pt x="156" y="1093"/>
                    <a:pt x="159" y="1093"/>
                    <a:pt x="162" y="1092"/>
                  </a:cubicBezTo>
                  <a:cubicBezTo>
                    <a:pt x="164" y="1091"/>
                    <a:pt x="166" y="1090"/>
                    <a:pt x="168" y="1088"/>
                  </a:cubicBezTo>
                  <a:cubicBezTo>
                    <a:pt x="170" y="1087"/>
                    <a:pt x="171" y="1086"/>
                    <a:pt x="173" y="1086"/>
                  </a:cubicBezTo>
                  <a:cubicBezTo>
                    <a:pt x="173" y="1086"/>
                    <a:pt x="173" y="1086"/>
                    <a:pt x="174" y="1086"/>
                  </a:cubicBezTo>
                  <a:cubicBezTo>
                    <a:pt x="176" y="1086"/>
                    <a:pt x="179" y="1087"/>
                    <a:pt x="182" y="1088"/>
                  </a:cubicBezTo>
                  <a:cubicBezTo>
                    <a:pt x="184" y="1088"/>
                    <a:pt x="186" y="1088"/>
                    <a:pt x="188" y="1089"/>
                  </a:cubicBezTo>
                  <a:cubicBezTo>
                    <a:pt x="189" y="1089"/>
                    <a:pt x="190" y="1089"/>
                    <a:pt x="190" y="1090"/>
                  </a:cubicBezTo>
                  <a:cubicBezTo>
                    <a:pt x="191" y="1090"/>
                    <a:pt x="192" y="1091"/>
                    <a:pt x="194" y="1091"/>
                  </a:cubicBezTo>
                  <a:cubicBezTo>
                    <a:pt x="194" y="1091"/>
                    <a:pt x="195" y="1091"/>
                    <a:pt x="195" y="1091"/>
                  </a:cubicBezTo>
                  <a:cubicBezTo>
                    <a:pt x="198" y="1091"/>
                    <a:pt x="201" y="1089"/>
                    <a:pt x="202" y="1086"/>
                  </a:cubicBezTo>
                  <a:cubicBezTo>
                    <a:pt x="202" y="1085"/>
                    <a:pt x="202" y="1085"/>
                    <a:pt x="203" y="1084"/>
                  </a:cubicBezTo>
                  <a:cubicBezTo>
                    <a:pt x="203" y="1085"/>
                    <a:pt x="204" y="1087"/>
                    <a:pt x="205" y="1088"/>
                  </a:cubicBezTo>
                  <a:cubicBezTo>
                    <a:pt x="206" y="1089"/>
                    <a:pt x="206" y="1089"/>
                    <a:pt x="207" y="1090"/>
                  </a:cubicBezTo>
                  <a:cubicBezTo>
                    <a:pt x="209" y="1093"/>
                    <a:pt x="212" y="1098"/>
                    <a:pt x="217" y="1098"/>
                  </a:cubicBezTo>
                  <a:cubicBezTo>
                    <a:pt x="218" y="1098"/>
                    <a:pt x="219" y="1098"/>
                    <a:pt x="219" y="1098"/>
                  </a:cubicBezTo>
                  <a:cubicBezTo>
                    <a:pt x="221" y="1098"/>
                    <a:pt x="222" y="1097"/>
                    <a:pt x="223" y="1096"/>
                  </a:cubicBezTo>
                  <a:cubicBezTo>
                    <a:pt x="224" y="1096"/>
                    <a:pt x="225" y="1095"/>
                    <a:pt x="226" y="1095"/>
                  </a:cubicBezTo>
                  <a:cubicBezTo>
                    <a:pt x="226" y="1095"/>
                    <a:pt x="226" y="1095"/>
                    <a:pt x="226" y="1095"/>
                  </a:cubicBezTo>
                  <a:cubicBezTo>
                    <a:pt x="228" y="1095"/>
                    <a:pt x="230" y="1096"/>
                    <a:pt x="232" y="1097"/>
                  </a:cubicBezTo>
                  <a:cubicBezTo>
                    <a:pt x="235" y="1099"/>
                    <a:pt x="237" y="1100"/>
                    <a:pt x="238" y="1102"/>
                  </a:cubicBezTo>
                  <a:cubicBezTo>
                    <a:pt x="239" y="1107"/>
                    <a:pt x="242" y="1110"/>
                    <a:pt x="245" y="1112"/>
                  </a:cubicBezTo>
                  <a:cubicBezTo>
                    <a:pt x="247" y="1113"/>
                    <a:pt x="250" y="1113"/>
                    <a:pt x="253" y="1113"/>
                  </a:cubicBezTo>
                  <a:cubicBezTo>
                    <a:pt x="255" y="1113"/>
                    <a:pt x="257" y="1113"/>
                    <a:pt x="259" y="1113"/>
                  </a:cubicBezTo>
                  <a:cubicBezTo>
                    <a:pt x="262" y="1112"/>
                    <a:pt x="267" y="1112"/>
                    <a:pt x="269" y="1106"/>
                  </a:cubicBezTo>
                  <a:cubicBezTo>
                    <a:pt x="270" y="1104"/>
                    <a:pt x="270" y="1102"/>
                    <a:pt x="271" y="1099"/>
                  </a:cubicBezTo>
                  <a:cubicBezTo>
                    <a:pt x="271" y="1097"/>
                    <a:pt x="271" y="1096"/>
                    <a:pt x="271" y="1094"/>
                  </a:cubicBezTo>
                  <a:cubicBezTo>
                    <a:pt x="272" y="1092"/>
                    <a:pt x="274" y="1090"/>
                    <a:pt x="277" y="1088"/>
                  </a:cubicBezTo>
                  <a:cubicBezTo>
                    <a:pt x="278" y="1088"/>
                    <a:pt x="278" y="1088"/>
                    <a:pt x="278" y="1088"/>
                  </a:cubicBezTo>
                  <a:cubicBezTo>
                    <a:pt x="278" y="1088"/>
                    <a:pt x="278" y="1088"/>
                    <a:pt x="279" y="1088"/>
                  </a:cubicBezTo>
                  <a:cubicBezTo>
                    <a:pt x="280" y="1087"/>
                    <a:pt x="283" y="1085"/>
                    <a:pt x="284" y="1083"/>
                  </a:cubicBezTo>
                  <a:cubicBezTo>
                    <a:pt x="284" y="1082"/>
                    <a:pt x="284" y="1080"/>
                    <a:pt x="284" y="1079"/>
                  </a:cubicBezTo>
                  <a:cubicBezTo>
                    <a:pt x="284" y="1079"/>
                    <a:pt x="284" y="1078"/>
                    <a:pt x="284" y="1078"/>
                  </a:cubicBezTo>
                  <a:cubicBezTo>
                    <a:pt x="284" y="1078"/>
                    <a:pt x="284" y="1077"/>
                    <a:pt x="285" y="1077"/>
                  </a:cubicBezTo>
                  <a:cubicBezTo>
                    <a:pt x="286" y="1076"/>
                    <a:pt x="287" y="1075"/>
                    <a:pt x="287" y="1073"/>
                  </a:cubicBezTo>
                  <a:cubicBezTo>
                    <a:pt x="287" y="1071"/>
                    <a:pt x="286" y="1069"/>
                    <a:pt x="282" y="1069"/>
                  </a:cubicBezTo>
                  <a:cubicBezTo>
                    <a:pt x="282" y="1069"/>
                    <a:pt x="282" y="1069"/>
                    <a:pt x="282" y="1069"/>
                  </a:cubicBezTo>
                  <a:cubicBezTo>
                    <a:pt x="282" y="1069"/>
                    <a:pt x="281" y="1069"/>
                    <a:pt x="281" y="1069"/>
                  </a:cubicBezTo>
                  <a:cubicBezTo>
                    <a:pt x="281" y="1069"/>
                    <a:pt x="281" y="1068"/>
                    <a:pt x="281" y="1068"/>
                  </a:cubicBezTo>
                  <a:cubicBezTo>
                    <a:pt x="281" y="1067"/>
                    <a:pt x="282" y="1066"/>
                    <a:pt x="282" y="1066"/>
                  </a:cubicBezTo>
                  <a:cubicBezTo>
                    <a:pt x="283" y="1065"/>
                    <a:pt x="283" y="1064"/>
                    <a:pt x="284" y="1063"/>
                  </a:cubicBezTo>
                  <a:cubicBezTo>
                    <a:pt x="285" y="1061"/>
                    <a:pt x="285" y="1059"/>
                    <a:pt x="285" y="1058"/>
                  </a:cubicBezTo>
                  <a:cubicBezTo>
                    <a:pt x="285" y="1056"/>
                    <a:pt x="285" y="1055"/>
                    <a:pt x="285" y="1054"/>
                  </a:cubicBezTo>
                  <a:cubicBezTo>
                    <a:pt x="285" y="1052"/>
                    <a:pt x="284" y="1051"/>
                    <a:pt x="285" y="1049"/>
                  </a:cubicBezTo>
                  <a:cubicBezTo>
                    <a:pt x="285" y="1048"/>
                    <a:pt x="286" y="1045"/>
                    <a:pt x="287" y="1044"/>
                  </a:cubicBezTo>
                  <a:cubicBezTo>
                    <a:pt x="288" y="1043"/>
                    <a:pt x="288" y="1043"/>
                    <a:pt x="288" y="1043"/>
                  </a:cubicBezTo>
                  <a:cubicBezTo>
                    <a:pt x="288" y="1042"/>
                    <a:pt x="289" y="1041"/>
                    <a:pt x="289" y="1040"/>
                  </a:cubicBezTo>
                  <a:cubicBezTo>
                    <a:pt x="290" y="1039"/>
                    <a:pt x="290" y="1038"/>
                    <a:pt x="291" y="1037"/>
                  </a:cubicBezTo>
                  <a:cubicBezTo>
                    <a:pt x="292" y="1036"/>
                    <a:pt x="292" y="1036"/>
                    <a:pt x="292" y="1036"/>
                  </a:cubicBezTo>
                  <a:cubicBezTo>
                    <a:pt x="292" y="1034"/>
                    <a:pt x="293" y="1033"/>
                    <a:pt x="294" y="1031"/>
                  </a:cubicBezTo>
                  <a:cubicBezTo>
                    <a:pt x="295" y="1033"/>
                    <a:pt x="296" y="1034"/>
                    <a:pt x="299" y="1034"/>
                  </a:cubicBezTo>
                  <a:cubicBezTo>
                    <a:pt x="300" y="1034"/>
                    <a:pt x="300" y="1034"/>
                    <a:pt x="301" y="1034"/>
                  </a:cubicBezTo>
                  <a:cubicBezTo>
                    <a:pt x="304" y="1033"/>
                    <a:pt x="306" y="1031"/>
                    <a:pt x="307" y="1029"/>
                  </a:cubicBezTo>
                  <a:cubicBezTo>
                    <a:pt x="308" y="1028"/>
                    <a:pt x="308" y="1028"/>
                    <a:pt x="308" y="1028"/>
                  </a:cubicBezTo>
                  <a:cubicBezTo>
                    <a:pt x="310" y="1026"/>
                    <a:pt x="312" y="1025"/>
                    <a:pt x="314" y="1023"/>
                  </a:cubicBezTo>
                  <a:cubicBezTo>
                    <a:pt x="314" y="1023"/>
                    <a:pt x="314" y="1023"/>
                    <a:pt x="314" y="1023"/>
                  </a:cubicBezTo>
                  <a:cubicBezTo>
                    <a:pt x="317" y="1022"/>
                    <a:pt x="318" y="1021"/>
                    <a:pt x="321" y="1021"/>
                  </a:cubicBezTo>
                  <a:cubicBezTo>
                    <a:pt x="327" y="1020"/>
                    <a:pt x="333" y="1018"/>
                    <a:pt x="339" y="1016"/>
                  </a:cubicBezTo>
                  <a:cubicBezTo>
                    <a:pt x="340" y="1015"/>
                    <a:pt x="341" y="1015"/>
                    <a:pt x="343" y="1015"/>
                  </a:cubicBezTo>
                  <a:cubicBezTo>
                    <a:pt x="345" y="1015"/>
                    <a:pt x="347" y="1014"/>
                    <a:pt x="349" y="1014"/>
                  </a:cubicBezTo>
                  <a:cubicBezTo>
                    <a:pt x="350" y="1013"/>
                    <a:pt x="351" y="1013"/>
                    <a:pt x="352" y="1013"/>
                  </a:cubicBezTo>
                  <a:cubicBezTo>
                    <a:pt x="356" y="1011"/>
                    <a:pt x="359" y="1010"/>
                    <a:pt x="362" y="1010"/>
                  </a:cubicBezTo>
                  <a:cubicBezTo>
                    <a:pt x="364" y="1010"/>
                    <a:pt x="365" y="1010"/>
                    <a:pt x="366" y="1010"/>
                  </a:cubicBezTo>
                  <a:cubicBezTo>
                    <a:pt x="367" y="1010"/>
                    <a:pt x="367" y="1010"/>
                    <a:pt x="368" y="1010"/>
                  </a:cubicBezTo>
                  <a:cubicBezTo>
                    <a:pt x="369" y="1011"/>
                    <a:pt x="370" y="1011"/>
                    <a:pt x="371" y="1011"/>
                  </a:cubicBezTo>
                  <a:cubicBezTo>
                    <a:pt x="371" y="1011"/>
                    <a:pt x="372" y="1012"/>
                    <a:pt x="373" y="1012"/>
                  </a:cubicBezTo>
                  <a:cubicBezTo>
                    <a:pt x="374" y="1012"/>
                    <a:pt x="375" y="1013"/>
                    <a:pt x="376" y="1013"/>
                  </a:cubicBezTo>
                  <a:cubicBezTo>
                    <a:pt x="378" y="1014"/>
                    <a:pt x="380" y="1014"/>
                    <a:pt x="381" y="1014"/>
                  </a:cubicBezTo>
                  <a:cubicBezTo>
                    <a:pt x="383" y="1014"/>
                    <a:pt x="384" y="1014"/>
                    <a:pt x="386" y="1015"/>
                  </a:cubicBezTo>
                  <a:cubicBezTo>
                    <a:pt x="386" y="1016"/>
                    <a:pt x="386" y="1016"/>
                    <a:pt x="387" y="1017"/>
                  </a:cubicBezTo>
                  <a:cubicBezTo>
                    <a:pt x="387" y="1018"/>
                    <a:pt x="388" y="1019"/>
                    <a:pt x="389" y="1020"/>
                  </a:cubicBezTo>
                  <a:cubicBezTo>
                    <a:pt x="392" y="1023"/>
                    <a:pt x="396" y="1025"/>
                    <a:pt x="400" y="1027"/>
                  </a:cubicBezTo>
                  <a:cubicBezTo>
                    <a:pt x="402" y="1028"/>
                    <a:pt x="403" y="1029"/>
                    <a:pt x="404" y="1029"/>
                  </a:cubicBezTo>
                  <a:cubicBezTo>
                    <a:pt x="405" y="1030"/>
                    <a:pt x="405" y="1030"/>
                    <a:pt x="406" y="1031"/>
                  </a:cubicBezTo>
                  <a:cubicBezTo>
                    <a:pt x="408" y="1031"/>
                    <a:pt x="408" y="1032"/>
                    <a:pt x="408" y="1033"/>
                  </a:cubicBezTo>
                  <a:cubicBezTo>
                    <a:pt x="409" y="1034"/>
                    <a:pt x="409" y="1037"/>
                    <a:pt x="413" y="1037"/>
                  </a:cubicBezTo>
                  <a:cubicBezTo>
                    <a:pt x="414" y="1037"/>
                    <a:pt x="415" y="1037"/>
                    <a:pt x="416" y="1035"/>
                  </a:cubicBezTo>
                  <a:cubicBezTo>
                    <a:pt x="417" y="1034"/>
                    <a:pt x="417" y="1033"/>
                    <a:pt x="418" y="1032"/>
                  </a:cubicBezTo>
                  <a:cubicBezTo>
                    <a:pt x="418" y="1031"/>
                    <a:pt x="419" y="1030"/>
                    <a:pt x="420" y="1029"/>
                  </a:cubicBezTo>
                  <a:cubicBezTo>
                    <a:pt x="421" y="1027"/>
                    <a:pt x="423" y="1027"/>
                    <a:pt x="426" y="1027"/>
                  </a:cubicBezTo>
                  <a:cubicBezTo>
                    <a:pt x="427" y="1027"/>
                    <a:pt x="428" y="1027"/>
                    <a:pt x="430" y="1027"/>
                  </a:cubicBezTo>
                  <a:cubicBezTo>
                    <a:pt x="431" y="1027"/>
                    <a:pt x="433" y="1028"/>
                    <a:pt x="434" y="1028"/>
                  </a:cubicBezTo>
                  <a:cubicBezTo>
                    <a:pt x="435" y="1028"/>
                    <a:pt x="435" y="1028"/>
                    <a:pt x="436" y="1028"/>
                  </a:cubicBezTo>
                  <a:cubicBezTo>
                    <a:pt x="438" y="1028"/>
                    <a:pt x="441" y="1027"/>
                    <a:pt x="443" y="1027"/>
                  </a:cubicBezTo>
                  <a:cubicBezTo>
                    <a:pt x="444" y="1027"/>
                    <a:pt x="444" y="1027"/>
                    <a:pt x="444" y="1027"/>
                  </a:cubicBezTo>
                  <a:cubicBezTo>
                    <a:pt x="445" y="1027"/>
                    <a:pt x="446" y="1027"/>
                    <a:pt x="447" y="1027"/>
                  </a:cubicBezTo>
                  <a:cubicBezTo>
                    <a:pt x="450" y="1027"/>
                    <a:pt x="451" y="1027"/>
                    <a:pt x="453" y="1028"/>
                  </a:cubicBezTo>
                  <a:cubicBezTo>
                    <a:pt x="454" y="1028"/>
                    <a:pt x="455" y="1029"/>
                    <a:pt x="456" y="1030"/>
                  </a:cubicBezTo>
                  <a:cubicBezTo>
                    <a:pt x="458" y="1032"/>
                    <a:pt x="460" y="1033"/>
                    <a:pt x="463" y="1034"/>
                  </a:cubicBezTo>
                  <a:cubicBezTo>
                    <a:pt x="464" y="1034"/>
                    <a:pt x="465" y="1034"/>
                    <a:pt x="466" y="1034"/>
                  </a:cubicBezTo>
                  <a:cubicBezTo>
                    <a:pt x="469" y="1034"/>
                    <a:pt x="472" y="1033"/>
                    <a:pt x="475" y="1032"/>
                  </a:cubicBezTo>
                  <a:cubicBezTo>
                    <a:pt x="475" y="1032"/>
                    <a:pt x="476" y="1032"/>
                    <a:pt x="477" y="1032"/>
                  </a:cubicBezTo>
                  <a:cubicBezTo>
                    <a:pt x="478" y="1031"/>
                    <a:pt x="479" y="1031"/>
                    <a:pt x="480" y="1030"/>
                  </a:cubicBezTo>
                  <a:cubicBezTo>
                    <a:pt x="481" y="1030"/>
                    <a:pt x="482" y="1029"/>
                    <a:pt x="482" y="1028"/>
                  </a:cubicBezTo>
                  <a:cubicBezTo>
                    <a:pt x="483" y="1027"/>
                    <a:pt x="483" y="1027"/>
                    <a:pt x="483" y="1027"/>
                  </a:cubicBezTo>
                  <a:cubicBezTo>
                    <a:pt x="484" y="1026"/>
                    <a:pt x="485" y="1024"/>
                    <a:pt x="485" y="1021"/>
                  </a:cubicBezTo>
                  <a:cubicBezTo>
                    <a:pt x="485" y="1017"/>
                    <a:pt x="483" y="1015"/>
                    <a:pt x="481" y="1013"/>
                  </a:cubicBezTo>
                  <a:cubicBezTo>
                    <a:pt x="479" y="1012"/>
                    <a:pt x="477" y="1011"/>
                    <a:pt x="476" y="1011"/>
                  </a:cubicBezTo>
                  <a:cubicBezTo>
                    <a:pt x="476" y="1011"/>
                    <a:pt x="476" y="1011"/>
                    <a:pt x="476" y="1011"/>
                  </a:cubicBezTo>
                  <a:cubicBezTo>
                    <a:pt x="475" y="1011"/>
                    <a:pt x="474" y="1011"/>
                    <a:pt x="473" y="1010"/>
                  </a:cubicBezTo>
                  <a:cubicBezTo>
                    <a:pt x="473" y="1010"/>
                    <a:pt x="473" y="1010"/>
                    <a:pt x="473" y="1010"/>
                  </a:cubicBezTo>
                  <a:cubicBezTo>
                    <a:pt x="472" y="1010"/>
                    <a:pt x="471" y="1010"/>
                    <a:pt x="470" y="1010"/>
                  </a:cubicBezTo>
                  <a:cubicBezTo>
                    <a:pt x="470" y="1010"/>
                    <a:pt x="470" y="1010"/>
                    <a:pt x="470" y="1010"/>
                  </a:cubicBezTo>
                  <a:cubicBezTo>
                    <a:pt x="470" y="1009"/>
                    <a:pt x="469" y="1008"/>
                    <a:pt x="469" y="1008"/>
                  </a:cubicBezTo>
                  <a:cubicBezTo>
                    <a:pt x="470" y="1008"/>
                    <a:pt x="470" y="1007"/>
                    <a:pt x="471" y="1007"/>
                  </a:cubicBezTo>
                  <a:cubicBezTo>
                    <a:pt x="471" y="1007"/>
                    <a:pt x="471" y="1007"/>
                    <a:pt x="471" y="1007"/>
                  </a:cubicBezTo>
                  <a:cubicBezTo>
                    <a:pt x="472" y="1007"/>
                    <a:pt x="473" y="1008"/>
                    <a:pt x="474" y="1009"/>
                  </a:cubicBezTo>
                  <a:cubicBezTo>
                    <a:pt x="475" y="1009"/>
                    <a:pt x="476" y="1010"/>
                    <a:pt x="477" y="1011"/>
                  </a:cubicBezTo>
                  <a:cubicBezTo>
                    <a:pt x="479" y="1011"/>
                    <a:pt x="480" y="1011"/>
                    <a:pt x="482" y="1011"/>
                  </a:cubicBezTo>
                  <a:cubicBezTo>
                    <a:pt x="483" y="1011"/>
                    <a:pt x="483" y="1011"/>
                    <a:pt x="484" y="1011"/>
                  </a:cubicBezTo>
                  <a:cubicBezTo>
                    <a:pt x="486" y="1011"/>
                    <a:pt x="487" y="1010"/>
                    <a:pt x="488" y="1009"/>
                  </a:cubicBezTo>
                  <a:cubicBezTo>
                    <a:pt x="489" y="1008"/>
                    <a:pt x="490" y="1008"/>
                    <a:pt x="490" y="1007"/>
                  </a:cubicBezTo>
                  <a:cubicBezTo>
                    <a:pt x="492" y="1006"/>
                    <a:pt x="494" y="1006"/>
                    <a:pt x="496" y="1006"/>
                  </a:cubicBezTo>
                  <a:cubicBezTo>
                    <a:pt x="498" y="1006"/>
                    <a:pt x="499" y="1006"/>
                    <a:pt x="501" y="1006"/>
                  </a:cubicBezTo>
                  <a:cubicBezTo>
                    <a:pt x="503" y="1005"/>
                    <a:pt x="505" y="1004"/>
                    <a:pt x="506" y="1004"/>
                  </a:cubicBezTo>
                  <a:cubicBezTo>
                    <a:pt x="508" y="1003"/>
                    <a:pt x="510" y="1002"/>
                    <a:pt x="511" y="1002"/>
                  </a:cubicBezTo>
                  <a:cubicBezTo>
                    <a:pt x="511" y="1002"/>
                    <a:pt x="511" y="1002"/>
                    <a:pt x="511" y="1002"/>
                  </a:cubicBezTo>
                  <a:cubicBezTo>
                    <a:pt x="513" y="1002"/>
                    <a:pt x="515" y="1003"/>
                    <a:pt x="517" y="1004"/>
                  </a:cubicBezTo>
                  <a:cubicBezTo>
                    <a:pt x="519" y="1004"/>
                    <a:pt x="521" y="1005"/>
                    <a:pt x="523" y="1005"/>
                  </a:cubicBezTo>
                  <a:cubicBezTo>
                    <a:pt x="523" y="1006"/>
                    <a:pt x="525" y="1006"/>
                    <a:pt x="527" y="1006"/>
                  </a:cubicBezTo>
                  <a:cubicBezTo>
                    <a:pt x="528" y="1006"/>
                    <a:pt x="529" y="1006"/>
                    <a:pt x="529" y="1005"/>
                  </a:cubicBezTo>
                  <a:cubicBezTo>
                    <a:pt x="528" y="1007"/>
                    <a:pt x="526" y="1008"/>
                    <a:pt x="525" y="1010"/>
                  </a:cubicBezTo>
                  <a:cubicBezTo>
                    <a:pt x="523" y="1012"/>
                    <a:pt x="522" y="1015"/>
                    <a:pt x="524" y="1017"/>
                  </a:cubicBezTo>
                  <a:cubicBezTo>
                    <a:pt x="524" y="1018"/>
                    <a:pt x="525" y="1019"/>
                    <a:pt x="527" y="1019"/>
                  </a:cubicBezTo>
                  <a:cubicBezTo>
                    <a:pt x="528" y="1019"/>
                    <a:pt x="529" y="1018"/>
                    <a:pt x="530" y="1018"/>
                  </a:cubicBezTo>
                  <a:cubicBezTo>
                    <a:pt x="531" y="1018"/>
                    <a:pt x="532" y="1018"/>
                    <a:pt x="533" y="1018"/>
                  </a:cubicBezTo>
                  <a:cubicBezTo>
                    <a:pt x="533" y="1018"/>
                    <a:pt x="533" y="1018"/>
                    <a:pt x="533" y="1018"/>
                  </a:cubicBezTo>
                  <a:cubicBezTo>
                    <a:pt x="536" y="1018"/>
                    <a:pt x="539" y="1019"/>
                    <a:pt x="542" y="1022"/>
                  </a:cubicBezTo>
                  <a:cubicBezTo>
                    <a:pt x="544" y="1023"/>
                    <a:pt x="546" y="1025"/>
                    <a:pt x="549" y="1026"/>
                  </a:cubicBezTo>
                  <a:cubicBezTo>
                    <a:pt x="551" y="1027"/>
                    <a:pt x="551" y="1027"/>
                    <a:pt x="551" y="1027"/>
                  </a:cubicBezTo>
                  <a:cubicBezTo>
                    <a:pt x="552" y="1028"/>
                    <a:pt x="553" y="1029"/>
                    <a:pt x="554" y="1030"/>
                  </a:cubicBezTo>
                  <a:cubicBezTo>
                    <a:pt x="555" y="1030"/>
                    <a:pt x="556" y="1031"/>
                    <a:pt x="557" y="1032"/>
                  </a:cubicBezTo>
                  <a:cubicBezTo>
                    <a:pt x="559" y="1034"/>
                    <a:pt x="562" y="1034"/>
                    <a:pt x="564" y="1034"/>
                  </a:cubicBezTo>
                  <a:cubicBezTo>
                    <a:pt x="570" y="1034"/>
                    <a:pt x="575" y="1031"/>
                    <a:pt x="577" y="1026"/>
                  </a:cubicBezTo>
                  <a:cubicBezTo>
                    <a:pt x="578" y="1024"/>
                    <a:pt x="578" y="1023"/>
                    <a:pt x="578" y="1021"/>
                  </a:cubicBezTo>
                  <a:cubicBezTo>
                    <a:pt x="579" y="1017"/>
                    <a:pt x="580" y="1015"/>
                    <a:pt x="583" y="1014"/>
                  </a:cubicBezTo>
                  <a:cubicBezTo>
                    <a:pt x="587" y="1013"/>
                    <a:pt x="589" y="1011"/>
                    <a:pt x="590" y="1009"/>
                  </a:cubicBezTo>
                  <a:cubicBezTo>
                    <a:pt x="591" y="1005"/>
                    <a:pt x="589" y="1001"/>
                    <a:pt x="587" y="997"/>
                  </a:cubicBezTo>
                  <a:cubicBezTo>
                    <a:pt x="585" y="994"/>
                    <a:pt x="585" y="994"/>
                    <a:pt x="585" y="994"/>
                  </a:cubicBezTo>
                  <a:cubicBezTo>
                    <a:pt x="585" y="994"/>
                    <a:pt x="582" y="996"/>
                    <a:pt x="582" y="996"/>
                  </a:cubicBezTo>
                  <a:cubicBezTo>
                    <a:pt x="581" y="995"/>
                    <a:pt x="581" y="995"/>
                    <a:pt x="579" y="995"/>
                  </a:cubicBezTo>
                  <a:cubicBezTo>
                    <a:pt x="579" y="994"/>
                    <a:pt x="579" y="994"/>
                    <a:pt x="578" y="994"/>
                  </a:cubicBezTo>
                  <a:cubicBezTo>
                    <a:pt x="578" y="994"/>
                    <a:pt x="577" y="994"/>
                    <a:pt x="577" y="994"/>
                  </a:cubicBezTo>
                  <a:cubicBezTo>
                    <a:pt x="576" y="995"/>
                    <a:pt x="576" y="995"/>
                    <a:pt x="576" y="995"/>
                  </a:cubicBezTo>
                  <a:cubicBezTo>
                    <a:pt x="575" y="995"/>
                    <a:pt x="575" y="995"/>
                    <a:pt x="575" y="995"/>
                  </a:cubicBezTo>
                  <a:cubicBezTo>
                    <a:pt x="572" y="994"/>
                    <a:pt x="569" y="993"/>
                    <a:pt x="567" y="992"/>
                  </a:cubicBezTo>
                  <a:cubicBezTo>
                    <a:pt x="567" y="992"/>
                    <a:pt x="566" y="991"/>
                    <a:pt x="565" y="991"/>
                  </a:cubicBezTo>
                  <a:cubicBezTo>
                    <a:pt x="563" y="989"/>
                    <a:pt x="561" y="988"/>
                    <a:pt x="558" y="988"/>
                  </a:cubicBezTo>
                  <a:cubicBezTo>
                    <a:pt x="558" y="988"/>
                    <a:pt x="558" y="988"/>
                    <a:pt x="558" y="988"/>
                  </a:cubicBezTo>
                  <a:cubicBezTo>
                    <a:pt x="557" y="988"/>
                    <a:pt x="554" y="989"/>
                    <a:pt x="552" y="990"/>
                  </a:cubicBezTo>
                  <a:cubicBezTo>
                    <a:pt x="551" y="990"/>
                    <a:pt x="550" y="991"/>
                    <a:pt x="550" y="992"/>
                  </a:cubicBezTo>
                  <a:cubicBezTo>
                    <a:pt x="550" y="992"/>
                    <a:pt x="550" y="992"/>
                    <a:pt x="550" y="992"/>
                  </a:cubicBezTo>
                  <a:cubicBezTo>
                    <a:pt x="548" y="993"/>
                    <a:pt x="548" y="993"/>
                    <a:pt x="548" y="993"/>
                  </a:cubicBezTo>
                  <a:cubicBezTo>
                    <a:pt x="548" y="995"/>
                    <a:pt x="548" y="995"/>
                    <a:pt x="548" y="995"/>
                  </a:cubicBezTo>
                  <a:cubicBezTo>
                    <a:pt x="548" y="996"/>
                    <a:pt x="547" y="997"/>
                    <a:pt x="546" y="999"/>
                  </a:cubicBezTo>
                  <a:cubicBezTo>
                    <a:pt x="546" y="999"/>
                    <a:pt x="546" y="999"/>
                    <a:pt x="546" y="1000"/>
                  </a:cubicBezTo>
                  <a:cubicBezTo>
                    <a:pt x="545" y="1000"/>
                    <a:pt x="545" y="1000"/>
                    <a:pt x="545" y="1000"/>
                  </a:cubicBezTo>
                  <a:cubicBezTo>
                    <a:pt x="542" y="1000"/>
                    <a:pt x="540" y="1001"/>
                    <a:pt x="537" y="1002"/>
                  </a:cubicBezTo>
                  <a:cubicBezTo>
                    <a:pt x="536" y="1003"/>
                    <a:pt x="536" y="1003"/>
                    <a:pt x="536" y="1003"/>
                  </a:cubicBezTo>
                  <a:cubicBezTo>
                    <a:pt x="534" y="1003"/>
                    <a:pt x="533" y="1004"/>
                    <a:pt x="531" y="1005"/>
                  </a:cubicBezTo>
                  <a:cubicBezTo>
                    <a:pt x="532" y="1003"/>
                    <a:pt x="533" y="1002"/>
                    <a:pt x="533" y="1001"/>
                  </a:cubicBezTo>
                  <a:cubicBezTo>
                    <a:pt x="533" y="1000"/>
                    <a:pt x="533" y="1000"/>
                    <a:pt x="533" y="1000"/>
                  </a:cubicBezTo>
                  <a:cubicBezTo>
                    <a:pt x="534" y="999"/>
                    <a:pt x="535" y="998"/>
                    <a:pt x="536" y="998"/>
                  </a:cubicBezTo>
                  <a:cubicBezTo>
                    <a:pt x="537" y="998"/>
                    <a:pt x="537" y="998"/>
                    <a:pt x="537" y="998"/>
                  </a:cubicBezTo>
                  <a:cubicBezTo>
                    <a:pt x="540" y="997"/>
                    <a:pt x="541" y="996"/>
                    <a:pt x="544" y="994"/>
                  </a:cubicBezTo>
                  <a:cubicBezTo>
                    <a:pt x="548" y="990"/>
                    <a:pt x="552" y="988"/>
                    <a:pt x="557" y="985"/>
                  </a:cubicBezTo>
                  <a:cubicBezTo>
                    <a:pt x="557" y="985"/>
                    <a:pt x="557" y="985"/>
                    <a:pt x="558" y="985"/>
                  </a:cubicBezTo>
                  <a:cubicBezTo>
                    <a:pt x="559" y="985"/>
                    <a:pt x="561" y="984"/>
                    <a:pt x="562" y="981"/>
                  </a:cubicBezTo>
                  <a:cubicBezTo>
                    <a:pt x="562" y="981"/>
                    <a:pt x="562" y="981"/>
                    <a:pt x="562" y="981"/>
                  </a:cubicBezTo>
                  <a:cubicBezTo>
                    <a:pt x="562" y="981"/>
                    <a:pt x="562" y="981"/>
                    <a:pt x="562" y="981"/>
                  </a:cubicBezTo>
                  <a:cubicBezTo>
                    <a:pt x="563" y="982"/>
                    <a:pt x="563" y="982"/>
                    <a:pt x="563" y="982"/>
                  </a:cubicBezTo>
                  <a:cubicBezTo>
                    <a:pt x="564" y="982"/>
                    <a:pt x="564" y="983"/>
                    <a:pt x="564" y="983"/>
                  </a:cubicBezTo>
                  <a:cubicBezTo>
                    <a:pt x="566" y="984"/>
                    <a:pt x="566" y="984"/>
                    <a:pt x="566" y="984"/>
                  </a:cubicBezTo>
                  <a:cubicBezTo>
                    <a:pt x="567" y="985"/>
                    <a:pt x="568" y="986"/>
                    <a:pt x="569" y="987"/>
                  </a:cubicBezTo>
                  <a:cubicBezTo>
                    <a:pt x="570" y="987"/>
                    <a:pt x="570" y="987"/>
                    <a:pt x="571" y="988"/>
                  </a:cubicBezTo>
                  <a:cubicBezTo>
                    <a:pt x="571" y="988"/>
                    <a:pt x="572" y="988"/>
                    <a:pt x="572" y="988"/>
                  </a:cubicBezTo>
                  <a:cubicBezTo>
                    <a:pt x="572" y="988"/>
                    <a:pt x="572" y="988"/>
                    <a:pt x="572" y="988"/>
                  </a:cubicBezTo>
                  <a:cubicBezTo>
                    <a:pt x="573" y="989"/>
                    <a:pt x="574" y="990"/>
                    <a:pt x="574" y="990"/>
                  </a:cubicBezTo>
                  <a:cubicBezTo>
                    <a:pt x="575" y="990"/>
                    <a:pt x="576" y="991"/>
                    <a:pt x="578" y="991"/>
                  </a:cubicBezTo>
                  <a:cubicBezTo>
                    <a:pt x="579" y="991"/>
                    <a:pt x="580" y="990"/>
                    <a:pt x="582" y="990"/>
                  </a:cubicBezTo>
                  <a:cubicBezTo>
                    <a:pt x="583" y="990"/>
                    <a:pt x="584" y="990"/>
                    <a:pt x="585" y="990"/>
                  </a:cubicBezTo>
                  <a:cubicBezTo>
                    <a:pt x="585" y="990"/>
                    <a:pt x="585" y="990"/>
                    <a:pt x="585" y="990"/>
                  </a:cubicBezTo>
                  <a:cubicBezTo>
                    <a:pt x="585" y="990"/>
                    <a:pt x="585" y="990"/>
                    <a:pt x="586" y="990"/>
                  </a:cubicBezTo>
                  <a:cubicBezTo>
                    <a:pt x="588" y="990"/>
                    <a:pt x="590" y="990"/>
                    <a:pt x="591" y="989"/>
                  </a:cubicBezTo>
                  <a:cubicBezTo>
                    <a:pt x="594" y="988"/>
                    <a:pt x="594" y="985"/>
                    <a:pt x="595" y="984"/>
                  </a:cubicBezTo>
                  <a:cubicBezTo>
                    <a:pt x="595" y="983"/>
                    <a:pt x="595" y="983"/>
                    <a:pt x="595" y="983"/>
                  </a:cubicBezTo>
                  <a:cubicBezTo>
                    <a:pt x="596" y="981"/>
                    <a:pt x="597" y="979"/>
                    <a:pt x="599" y="979"/>
                  </a:cubicBezTo>
                  <a:cubicBezTo>
                    <a:pt x="600" y="979"/>
                    <a:pt x="600" y="980"/>
                    <a:pt x="601" y="980"/>
                  </a:cubicBezTo>
                  <a:cubicBezTo>
                    <a:pt x="601" y="980"/>
                    <a:pt x="602" y="981"/>
                    <a:pt x="603" y="982"/>
                  </a:cubicBezTo>
                  <a:cubicBezTo>
                    <a:pt x="603" y="982"/>
                    <a:pt x="604" y="983"/>
                    <a:pt x="605" y="984"/>
                  </a:cubicBezTo>
                  <a:cubicBezTo>
                    <a:pt x="605" y="984"/>
                    <a:pt x="605" y="984"/>
                    <a:pt x="606" y="984"/>
                  </a:cubicBezTo>
                  <a:cubicBezTo>
                    <a:pt x="606" y="984"/>
                    <a:pt x="606" y="984"/>
                    <a:pt x="606" y="984"/>
                  </a:cubicBezTo>
                  <a:cubicBezTo>
                    <a:pt x="604" y="986"/>
                    <a:pt x="604" y="988"/>
                    <a:pt x="604" y="989"/>
                  </a:cubicBezTo>
                  <a:cubicBezTo>
                    <a:pt x="605" y="992"/>
                    <a:pt x="608" y="994"/>
                    <a:pt x="611" y="995"/>
                  </a:cubicBezTo>
                  <a:cubicBezTo>
                    <a:pt x="611" y="995"/>
                    <a:pt x="612" y="995"/>
                    <a:pt x="613" y="996"/>
                  </a:cubicBezTo>
                  <a:cubicBezTo>
                    <a:pt x="615" y="997"/>
                    <a:pt x="618" y="998"/>
                    <a:pt x="620" y="998"/>
                  </a:cubicBezTo>
                  <a:cubicBezTo>
                    <a:pt x="622" y="998"/>
                    <a:pt x="625" y="998"/>
                    <a:pt x="627" y="994"/>
                  </a:cubicBezTo>
                  <a:cubicBezTo>
                    <a:pt x="628" y="992"/>
                    <a:pt x="629" y="990"/>
                    <a:pt x="631" y="989"/>
                  </a:cubicBezTo>
                  <a:cubicBezTo>
                    <a:pt x="632" y="989"/>
                    <a:pt x="633" y="988"/>
                    <a:pt x="634" y="987"/>
                  </a:cubicBezTo>
                  <a:cubicBezTo>
                    <a:pt x="635" y="986"/>
                    <a:pt x="636" y="985"/>
                    <a:pt x="638" y="985"/>
                  </a:cubicBezTo>
                  <a:cubicBezTo>
                    <a:pt x="641" y="984"/>
                    <a:pt x="644" y="984"/>
                    <a:pt x="647" y="984"/>
                  </a:cubicBezTo>
                  <a:cubicBezTo>
                    <a:pt x="649" y="984"/>
                    <a:pt x="649" y="984"/>
                    <a:pt x="649" y="984"/>
                  </a:cubicBezTo>
                  <a:cubicBezTo>
                    <a:pt x="651" y="984"/>
                    <a:pt x="654" y="984"/>
                    <a:pt x="656" y="984"/>
                  </a:cubicBezTo>
                  <a:cubicBezTo>
                    <a:pt x="659" y="983"/>
                    <a:pt x="662" y="983"/>
                    <a:pt x="665" y="983"/>
                  </a:cubicBezTo>
                  <a:cubicBezTo>
                    <a:pt x="669" y="983"/>
                    <a:pt x="673" y="983"/>
                    <a:pt x="677" y="982"/>
                  </a:cubicBezTo>
                  <a:cubicBezTo>
                    <a:pt x="678" y="982"/>
                    <a:pt x="679" y="982"/>
                    <a:pt x="680" y="982"/>
                  </a:cubicBezTo>
                  <a:cubicBezTo>
                    <a:pt x="681" y="981"/>
                    <a:pt x="683" y="981"/>
                    <a:pt x="685" y="980"/>
                  </a:cubicBezTo>
                  <a:cubicBezTo>
                    <a:pt x="686" y="980"/>
                    <a:pt x="687" y="979"/>
                    <a:pt x="688" y="979"/>
                  </a:cubicBezTo>
                  <a:cubicBezTo>
                    <a:pt x="689" y="978"/>
                    <a:pt x="689" y="978"/>
                    <a:pt x="690" y="978"/>
                  </a:cubicBezTo>
                  <a:cubicBezTo>
                    <a:pt x="693" y="977"/>
                    <a:pt x="696" y="977"/>
                    <a:pt x="698" y="977"/>
                  </a:cubicBezTo>
                  <a:cubicBezTo>
                    <a:pt x="699" y="977"/>
                    <a:pt x="700" y="977"/>
                    <a:pt x="701" y="977"/>
                  </a:cubicBezTo>
                  <a:cubicBezTo>
                    <a:pt x="702" y="977"/>
                    <a:pt x="702" y="977"/>
                    <a:pt x="702" y="977"/>
                  </a:cubicBezTo>
                  <a:cubicBezTo>
                    <a:pt x="706" y="977"/>
                    <a:pt x="709" y="978"/>
                    <a:pt x="712" y="979"/>
                  </a:cubicBezTo>
                  <a:cubicBezTo>
                    <a:pt x="714" y="979"/>
                    <a:pt x="716" y="980"/>
                    <a:pt x="719" y="981"/>
                  </a:cubicBezTo>
                  <a:cubicBezTo>
                    <a:pt x="721" y="981"/>
                    <a:pt x="723" y="982"/>
                    <a:pt x="725" y="983"/>
                  </a:cubicBezTo>
                  <a:cubicBezTo>
                    <a:pt x="729" y="984"/>
                    <a:pt x="732" y="986"/>
                    <a:pt x="736" y="986"/>
                  </a:cubicBezTo>
                  <a:cubicBezTo>
                    <a:pt x="737" y="986"/>
                    <a:pt x="737" y="986"/>
                    <a:pt x="737" y="986"/>
                  </a:cubicBezTo>
                  <a:cubicBezTo>
                    <a:pt x="740" y="986"/>
                    <a:pt x="742" y="986"/>
                    <a:pt x="744" y="987"/>
                  </a:cubicBezTo>
                  <a:cubicBezTo>
                    <a:pt x="746" y="988"/>
                    <a:pt x="748" y="989"/>
                    <a:pt x="750" y="989"/>
                  </a:cubicBezTo>
                  <a:cubicBezTo>
                    <a:pt x="751" y="989"/>
                    <a:pt x="753" y="988"/>
                    <a:pt x="754" y="988"/>
                  </a:cubicBezTo>
                  <a:cubicBezTo>
                    <a:pt x="758" y="986"/>
                    <a:pt x="759" y="982"/>
                    <a:pt x="761" y="979"/>
                  </a:cubicBezTo>
                  <a:cubicBezTo>
                    <a:pt x="762" y="978"/>
                    <a:pt x="762" y="977"/>
                    <a:pt x="763" y="976"/>
                  </a:cubicBezTo>
                  <a:cubicBezTo>
                    <a:pt x="765" y="973"/>
                    <a:pt x="769" y="971"/>
                    <a:pt x="774" y="969"/>
                  </a:cubicBezTo>
                  <a:cubicBezTo>
                    <a:pt x="776" y="968"/>
                    <a:pt x="777" y="968"/>
                    <a:pt x="779" y="968"/>
                  </a:cubicBezTo>
                  <a:cubicBezTo>
                    <a:pt x="780" y="968"/>
                    <a:pt x="782" y="968"/>
                    <a:pt x="784" y="968"/>
                  </a:cubicBezTo>
                  <a:cubicBezTo>
                    <a:pt x="785" y="967"/>
                    <a:pt x="786" y="967"/>
                    <a:pt x="787" y="967"/>
                  </a:cubicBezTo>
                  <a:cubicBezTo>
                    <a:pt x="789" y="967"/>
                    <a:pt x="791" y="967"/>
                    <a:pt x="794" y="966"/>
                  </a:cubicBezTo>
                  <a:cubicBezTo>
                    <a:pt x="796" y="965"/>
                    <a:pt x="799" y="963"/>
                    <a:pt x="802" y="961"/>
                  </a:cubicBezTo>
                  <a:cubicBezTo>
                    <a:pt x="804" y="958"/>
                    <a:pt x="807" y="955"/>
                    <a:pt x="810" y="953"/>
                  </a:cubicBezTo>
                  <a:cubicBezTo>
                    <a:pt x="812" y="951"/>
                    <a:pt x="814" y="950"/>
                    <a:pt x="815" y="949"/>
                  </a:cubicBezTo>
                  <a:cubicBezTo>
                    <a:pt x="817" y="947"/>
                    <a:pt x="819" y="946"/>
                    <a:pt x="821" y="946"/>
                  </a:cubicBezTo>
                  <a:cubicBezTo>
                    <a:pt x="824" y="946"/>
                    <a:pt x="826" y="947"/>
                    <a:pt x="828" y="947"/>
                  </a:cubicBezTo>
                  <a:cubicBezTo>
                    <a:pt x="829" y="948"/>
                    <a:pt x="831" y="948"/>
                    <a:pt x="832" y="948"/>
                  </a:cubicBezTo>
                  <a:cubicBezTo>
                    <a:pt x="833" y="949"/>
                    <a:pt x="833" y="949"/>
                    <a:pt x="834" y="949"/>
                  </a:cubicBezTo>
                  <a:cubicBezTo>
                    <a:pt x="836" y="949"/>
                    <a:pt x="838" y="948"/>
                    <a:pt x="839" y="947"/>
                  </a:cubicBezTo>
                  <a:cubicBezTo>
                    <a:pt x="841" y="944"/>
                    <a:pt x="841" y="940"/>
                    <a:pt x="841" y="937"/>
                  </a:cubicBezTo>
                  <a:cubicBezTo>
                    <a:pt x="841" y="932"/>
                    <a:pt x="845" y="926"/>
                    <a:pt x="849" y="923"/>
                  </a:cubicBezTo>
                  <a:cubicBezTo>
                    <a:pt x="852" y="920"/>
                    <a:pt x="855" y="919"/>
                    <a:pt x="858" y="917"/>
                  </a:cubicBezTo>
                  <a:cubicBezTo>
                    <a:pt x="861" y="916"/>
                    <a:pt x="861" y="916"/>
                    <a:pt x="861" y="916"/>
                  </a:cubicBezTo>
                  <a:cubicBezTo>
                    <a:pt x="862" y="915"/>
                    <a:pt x="864" y="914"/>
                    <a:pt x="866" y="913"/>
                  </a:cubicBezTo>
                  <a:cubicBezTo>
                    <a:pt x="872" y="910"/>
                    <a:pt x="878" y="907"/>
                    <a:pt x="883" y="902"/>
                  </a:cubicBezTo>
                  <a:cubicBezTo>
                    <a:pt x="890" y="895"/>
                    <a:pt x="893" y="884"/>
                    <a:pt x="890" y="875"/>
                  </a:cubicBezTo>
                  <a:cubicBezTo>
                    <a:pt x="890" y="873"/>
                    <a:pt x="889" y="872"/>
                    <a:pt x="889" y="870"/>
                  </a:cubicBezTo>
                  <a:cubicBezTo>
                    <a:pt x="888" y="868"/>
                    <a:pt x="887" y="866"/>
                    <a:pt x="887" y="864"/>
                  </a:cubicBezTo>
                  <a:cubicBezTo>
                    <a:pt x="887" y="863"/>
                    <a:pt x="888" y="861"/>
                    <a:pt x="889" y="860"/>
                  </a:cubicBezTo>
                  <a:cubicBezTo>
                    <a:pt x="890" y="858"/>
                    <a:pt x="891" y="856"/>
                    <a:pt x="892" y="854"/>
                  </a:cubicBezTo>
                  <a:cubicBezTo>
                    <a:pt x="893" y="852"/>
                    <a:pt x="893" y="850"/>
                    <a:pt x="892" y="849"/>
                  </a:cubicBezTo>
                  <a:cubicBezTo>
                    <a:pt x="891" y="848"/>
                    <a:pt x="890" y="847"/>
                    <a:pt x="887" y="847"/>
                  </a:cubicBezTo>
                  <a:cubicBezTo>
                    <a:pt x="885" y="847"/>
                    <a:pt x="883" y="847"/>
                    <a:pt x="881" y="848"/>
                  </a:cubicBezTo>
                  <a:cubicBezTo>
                    <a:pt x="881" y="848"/>
                    <a:pt x="880" y="848"/>
                    <a:pt x="880" y="848"/>
                  </a:cubicBezTo>
                  <a:cubicBezTo>
                    <a:pt x="879" y="848"/>
                    <a:pt x="878" y="848"/>
                    <a:pt x="877" y="848"/>
                  </a:cubicBezTo>
                  <a:cubicBezTo>
                    <a:pt x="876" y="848"/>
                    <a:pt x="874" y="848"/>
                    <a:pt x="873" y="848"/>
                  </a:cubicBezTo>
                  <a:cubicBezTo>
                    <a:pt x="871" y="848"/>
                    <a:pt x="870" y="848"/>
                    <a:pt x="868" y="847"/>
                  </a:cubicBezTo>
                  <a:cubicBezTo>
                    <a:pt x="868" y="847"/>
                    <a:pt x="868" y="847"/>
                    <a:pt x="868" y="847"/>
                  </a:cubicBezTo>
                  <a:cubicBezTo>
                    <a:pt x="867" y="847"/>
                    <a:pt x="865" y="848"/>
                    <a:pt x="864" y="848"/>
                  </a:cubicBezTo>
                  <a:cubicBezTo>
                    <a:pt x="863" y="848"/>
                    <a:pt x="863" y="848"/>
                    <a:pt x="862" y="848"/>
                  </a:cubicBezTo>
                  <a:cubicBezTo>
                    <a:pt x="861" y="848"/>
                    <a:pt x="859" y="849"/>
                    <a:pt x="858" y="849"/>
                  </a:cubicBezTo>
                  <a:cubicBezTo>
                    <a:pt x="857" y="849"/>
                    <a:pt x="856" y="849"/>
                    <a:pt x="855" y="849"/>
                  </a:cubicBezTo>
                  <a:cubicBezTo>
                    <a:pt x="852" y="849"/>
                    <a:pt x="849" y="850"/>
                    <a:pt x="847" y="851"/>
                  </a:cubicBezTo>
                  <a:cubicBezTo>
                    <a:pt x="846" y="851"/>
                    <a:pt x="846" y="851"/>
                    <a:pt x="845" y="852"/>
                  </a:cubicBezTo>
                  <a:cubicBezTo>
                    <a:pt x="844" y="852"/>
                    <a:pt x="843" y="852"/>
                    <a:pt x="842" y="852"/>
                  </a:cubicBezTo>
                  <a:cubicBezTo>
                    <a:pt x="839" y="853"/>
                    <a:pt x="837" y="854"/>
                    <a:pt x="834" y="856"/>
                  </a:cubicBezTo>
                  <a:cubicBezTo>
                    <a:pt x="831" y="858"/>
                    <a:pt x="829" y="860"/>
                    <a:pt x="826" y="860"/>
                  </a:cubicBezTo>
                  <a:cubicBezTo>
                    <a:pt x="825" y="860"/>
                    <a:pt x="825" y="860"/>
                    <a:pt x="825" y="860"/>
                  </a:cubicBezTo>
                  <a:cubicBezTo>
                    <a:pt x="827" y="859"/>
                    <a:pt x="829" y="857"/>
                    <a:pt x="830" y="854"/>
                  </a:cubicBezTo>
                  <a:cubicBezTo>
                    <a:pt x="830" y="852"/>
                    <a:pt x="830" y="849"/>
                    <a:pt x="828" y="847"/>
                  </a:cubicBezTo>
                  <a:cubicBezTo>
                    <a:pt x="825" y="843"/>
                    <a:pt x="821" y="842"/>
                    <a:pt x="815" y="842"/>
                  </a:cubicBezTo>
                  <a:cubicBezTo>
                    <a:pt x="814" y="842"/>
                    <a:pt x="812" y="842"/>
                    <a:pt x="812" y="842"/>
                  </a:cubicBezTo>
                  <a:cubicBezTo>
                    <a:pt x="810" y="842"/>
                    <a:pt x="805" y="842"/>
                    <a:pt x="802" y="844"/>
                  </a:cubicBezTo>
                  <a:cubicBezTo>
                    <a:pt x="803" y="843"/>
                    <a:pt x="803" y="842"/>
                    <a:pt x="803" y="841"/>
                  </a:cubicBezTo>
                  <a:cubicBezTo>
                    <a:pt x="804" y="840"/>
                    <a:pt x="804" y="839"/>
                    <a:pt x="803" y="838"/>
                  </a:cubicBezTo>
                  <a:cubicBezTo>
                    <a:pt x="802" y="837"/>
                    <a:pt x="801" y="835"/>
                    <a:pt x="786" y="834"/>
                  </a:cubicBezTo>
                  <a:cubicBezTo>
                    <a:pt x="785" y="834"/>
                    <a:pt x="784" y="834"/>
                    <a:pt x="783" y="834"/>
                  </a:cubicBezTo>
                  <a:cubicBezTo>
                    <a:pt x="781" y="834"/>
                    <a:pt x="779" y="834"/>
                    <a:pt x="778" y="835"/>
                  </a:cubicBezTo>
                  <a:cubicBezTo>
                    <a:pt x="780" y="833"/>
                    <a:pt x="784" y="832"/>
                    <a:pt x="786" y="831"/>
                  </a:cubicBezTo>
                  <a:cubicBezTo>
                    <a:pt x="790" y="829"/>
                    <a:pt x="793" y="829"/>
                    <a:pt x="796" y="829"/>
                  </a:cubicBezTo>
                  <a:cubicBezTo>
                    <a:pt x="797" y="829"/>
                    <a:pt x="799" y="829"/>
                    <a:pt x="800" y="829"/>
                  </a:cubicBezTo>
                  <a:cubicBezTo>
                    <a:pt x="801" y="830"/>
                    <a:pt x="802" y="830"/>
                    <a:pt x="804" y="830"/>
                  </a:cubicBezTo>
                  <a:cubicBezTo>
                    <a:pt x="808" y="830"/>
                    <a:pt x="813" y="827"/>
                    <a:pt x="816" y="823"/>
                  </a:cubicBezTo>
                  <a:cubicBezTo>
                    <a:pt x="816" y="822"/>
                    <a:pt x="817" y="822"/>
                    <a:pt x="818" y="821"/>
                  </a:cubicBezTo>
                  <a:cubicBezTo>
                    <a:pt x="819" y="820"/>
                    <a:pt x="819" y="819"/>
                    <a:pt x="820" y="819"/>
                  </a:cubicBezTo>
                  <a:cubicBezTo>
                    <a:pt x="822" y="817"/>
                    <a:pt x="823" y="814"/>
                    <a:pt x="823" y="812"/>
                  </a:cubicBezTo>
                  <a:cubicBezTo>
                    <a:pt x="824" y="812"/>
                    <a:pt x="824" y="811"/>
                    <a:pt x="824" y="810"/>
                  </a:cubicBezTo>
                  <a:cubicBezTo>
                    <a:pt x="825" y="808"/>
                    <a:pt x="825" y="806"/>
                    <a:pt x="825" y="804"/>
                  </a:cubicBezTo>
                  <a:cubicBezTo>
                    <a:pt x="824" y="803"/>
                    <a:pt x="824" y="803"/>
                    <a:pt x="824" y="802"/>
                  </a:cubicBezTo>
                  <a:cubicBezTo>
                    <a:pt x="824" y="801"/>
                    <a:pt x="824" y="800"/>
                    <a:pt x="824" y="799"/>
                  </a:cubicBezTo>
                  <a:cubicBezTo>
                    <a:pt x="825" y="798"/>
                    <a:pt x="825" y="796"/>
                    <a:pt x="824" y="793"/>
                  </a:cubicBezTo>
                  <a:cubicBezTo>
                    <a:pt x="823" y="790"/>
                    <a:pt x="822" y="787"/>
                    <a:pt x="818" y="787"/>
                  </a:cubicBezTo>
                  <a:cubicBezTo>
                    <a:pt x="817" y="787"/>
                    <a:pt x="816" y="788"/>
                    <a:pt x="815" y="788"/>
                  </a:cubicBezTo>
                  <a:cubicBezTo>
                    <a:pt x="813" y="788"/>
                    <a:pt x="810" y="789"/>
                    <a:pt x="808" y="790"/>
                  </a:cubicBezTo>
                  <a:cubicBezTo>
                    <a:pt x="806" y="791"/>
                    <a:pt x="803" y="792"/>
                    <a:pt x="801" y="792"/>
                  </a:cubicBezTo>
                  <a:cubicBezTo>
                    <a:pt x="801" y="792"/>
                    <a:pt x="800" y="791"/>
                    <a:pt x="799" y="791"/>
                  </a:cubicBezTo>
                  <a:cubicBezTo>
                    <a:pt x="799" y="791"/>
                    <a:pt x="797" y="791"/>
                    <a:pt x="797" y="789"/>
                  </a:cubicBezTo>
                  <a:cubicBezTo>
                    <a:pt x="798" y="788"/>
                    <a:pt x="800" y="788"/>
                    <a:pt x="801" y="787"/>
                  </a:cubicBezTo>
                  <a:cubicBezTo>
                    <a:pt x="805" y="785"/>
                    <a:pt x="810" y="783"/>
                    <a:pt x="815" y="780"/>
                  </a:cubicBezTo>
                  <a:cubicBezTo>
                    <a:pt x="816" y="779"/>
                    <a:pt x="817" y="778"/>
                    <a:pt x="817" y="778"/>
                  </a:cubicBezTo>
                  <a:cubicBezTo>
                    <a:pt x="819" y="777"/>
                    <a:pt x="821" y="775"/>
                    <a:pt x="823" y="774"/>
                  </a:cubicBezTo>
                  <a:cubicBezTo>
                    <a:pt x="824" y="773"/>
                    <a:pt x="824" y="772"/>
                    <a:pt x="825" y="771"/>
                  </a:cubicBezTo>
                  <a:cubicBezTo>
                    <a:pt x="826" y="771"/>
                    <a:pt x="827" y="769"/>
                    <a:pt x="827" y="769"/>
                  </a:cubicBezTo>
                  <a:cubicBezTo>
                    <a:pt x="828" y="770"/>
                    <a:pt x="829" y="771"/>
                    <a:pt x="830" y="773"/>
                  </a:cubicBezTo>
                  <a:cubicBezTo>
                    <a:pt x="832" y="776"/>
                    <a:pt x="833" y="780"/>
                    <a:pt x="838" y="780"/>
                  </a:cubicBezTo>
                  <a:cubicBezTo>
                    <a:pt x="839" y="780"/>
                    <a:pt x="841" y="779"/>
                    <a:pt x="842" y="779"/>
                  </a:cubicBezTo>
                  <a:cubicBezTo>
                    <a:pt x="849" y="775"/>
                    <a:pt x="854" y="771"/>
                    <a:pt x="859" y="767"/>
                  </a:cubicBezTo>
                  <a:cubicBezTo>
                    <a:pt x="861" y="765"/>
                    <a:pt x="863" y="762"/>
                    <a:pt x="864" y="759"/>
                  </a:cubicBezTo>
                  <a:cubicBezTo>
                    <a:pt x="865" y="757"/>
                    <a:pt x="866" y="756"/>
                    <a:pt x="865" y="754"/>
                  </a:cubicBezTo>
                  <a:cubicBezTo>
                    <a:pt x="864" y="752"/>
                    <a:pt x="862" y="750"/>
                    <a:pt x="859" y="750"/>
                  </a:cubicBezTo>
                  <a:cubicBezTo>
                    <a:pt x="859" y="750"/>
                    <a:pt x="859" y="750"/>
                    <a:pt x="858" y="750"/>
                  </a:cubicBezTo>
                  <a:cubicBezTo>
                    <a:pt x="859" y="749"/>
                    <a:pt x="859" y="749"/>
                    <a:pt x="859" y="749"/>
                  </a:cubicBezTo>
                  <a:cubicBezTo>
                    <a:pt x="861" y="747"/>
                    <a:pt x="863" y="744"/>
                    <a:pt x="864" y="742"/>
                  </a:cubicBezTo>
                  <a:cubicBezTo>
                    <a:pt x="864" y="742"/>
                    <a:pt x="865" y="742"/>
                    <a:pt x="865" y="742"/>
                  </a:cubicBezTo>
                  <a:cubicBezTo>
                    <a:pt x="866" y="743"/>
                    <a:pt x="866" y="743"/>
                    <a:pt x="867" y="743"/>
                  </a:cubicBezTo>
                  <a:cubicBezTo>
                    <a:pt x="867" y="743"/>
                    <a:pt x="867" y="743"/>
                    <a:pt x="867" y="743"/>
                  </a:cubicBezTo>
                  <a:cubicBezTo>
                    <a:pt x="870" y="743"/>
                    <a:pt x="872" y="739"/>
                    <a:pt x="874" y="736"/>
                  </a:cubicBezTo>
                  <a:cubicBezTo>
                    <a:pt x="874" y="736"/>
                    <a:pt x="875" y="735"/>
                    <a:pt x="875" y="735"/>
                  </a:cubicBezTo>
                  <a:cubicBezTo>
                    <a:pt x="876" y="732"/>
                    <a:pt x="878" y="730"/>
                    <a:pt x="879" y="728"/>
                  </a:cubicBezTo>
                  <a:cubicBezTo>
                    <a:pt x="880" y="727"/>
                    <a:pt x="880" y="725"/>
                    <a:pt x="881" y="724"/>
                  </a:cubicBezTo>
                  <a:cubicBezTo>
                    <a:pt x="884" y="720"/>
                    <a:pt x="887" y="717"/>
                    <a:pt x="893" y="714"/>
                  </a:cubicBezTo>
                  <a:cubicBezTo>
                    <a:pt x="896" y="712"/>
                    <a:pt x="898" y="710"/>
                    <a:pt x="898" y="707"/>
                  </a:cubicBezTo>
                  <a:cubicBezTo>
                    <a:pt x="899" y="703"/>
                    <a:pt x="899" y="700"/>
                    <a:pt x="899" y="696"/>
                  </a:cubicBezTo>
                  <a:cubicBezTo>
                    <a:pt x="899" y="694"/>
                    <a:pt x="899" y="693"/>
                    <a:pt x="899" y="691"/>
                  </a:cubicBezTo>
                  <a:cubicBezTo>
                    <a:pt x="899" y="688"/>
                    <a:pt x="899" y="688"/>
                    <a:pt x="899" y="688"/>
                  </a:cubicBezTo>
                  <a:cubicBezTo>
                    <a:pt x="900" y="684"/>
                    <a:pt x="900" y="680"/>
                    <a:pt x="899" y="675"/>
                  </a:cubicBezTo>
                  <a:cubicBezTo>
                    <a:pt x="899" y="672"/>
                    <a:pt x="901" y="669"/>
                    <a:pt x="903" y="665"/>
                  </a:cubicBezTo>
                  <a:cubicBezTo>
                    <a:pt x="904" y="664"/>
                    <a:pt x="904" y="663"/>
                    <a:pt x="905" y="662"/>
                  </a:cubicBezTo>
                  <a:cubicBezTo>
                    <a:pt x="906" y="660"/>
                    <a:pt x="906" y="657"/>
                    <a:pt x="907" y="654"/>
                  </a:cubicBezTo>
                  <a:cubicBezTo>
                    <a:pt x="907" y="653"/>
                    <a:pt x="907" y="653"/>
                    <a:pt x="907" y="653"/>
                  </a:cubicBezTo>
                  <a:cubicBezTo>
                    <a:pt x="907" y="652"/>
                    <a:pt x="908" y="650"/>
                    <a:pt x="908" y="649"/>
                  </a:cubicBezTo>
                  <a:cubicBezTo>
                    <a:pt x="909" y="647"/>
                    <a:pt x="909" y="645"/>
                    <a:pt x="910" y="644"/>
                  </a:cubicBezTo>
                  <a:cubicBezTo>
                    <a:pt x="910" y="642"/>
                    <a:pt x="910" y="641"/>
                    <a:pt x="910" y="639"/>
                  </a:cubicBezTo>
                  <a:cubicBezTo>
                    <a:pt x="911" y="637"/>
                    <a:pt x="911" y="635"/>
                    <a:pt x="911" y="633"/>
                  </a:cubicBezTo>
                  <a:cubicBezTo>
                    <a:pt x="912" y="633"/>
                    <a:pt x="912" y="633"/>
                    <a:pt x="912" y="633"/>
                  </a:cubicBezTo>
                  <a:cubicBezTo>
                    <a:pt x="913" y="631"/>
                    <a:pt x="913" y="628"/>
                    <a:pt x="912" y="625"/>
                  </a:cubicBezTo>
                  <a:close/>
                  <a:moveTo>
                    <a:pt x="800" y="853"/>
                  </a:moveTo>
                  <a:cubicBezTo>
                    <a:pt x="799" y="853"/>
                    <a:pt x="798" y="853"/>
                    <a:pt x="797" y="853"/>
                  </a:cubicBezTo>
                  <a:cubicBezTo>
                    <a:pt x="795" y="853"/>
                    <a:pt x="794" y="853"/>
                    <a:pt x="792" y="853"/>
                  </a:cubicBezTo>
                  <a:cubicBezTo>
                    <a:pt x="792" y="853"/>
                    <a:pt x="791" y="853"/>
                    <a:pt x="791" y="853"/>
                  </a:cubicBezTo>
                  <a:cubicBezTo>
                    <a:pt x="789" y="853"/>
                    <a:pt x="788" y="853"/>
                    <a:pt x="786" y="853"/>
                  </a:cubicBezTo>
                  <a:cubicBezTo>
                    <a:pt x="785" y="853"/>
                    <a:pt x="785" y="853"/>
                    <a:pt x="785" y="853"/>
                  </a:cubicBezTo>
                  <a:cubicBezTo>
                    <a:pt x="785" y="852"/>
                    <a:pt x="786" y="851"/>
                    <a:pt x="787" y="850"/>
                  </a:cubicBezTo>
                  <a:cubicBezTo>
                    <a:pt x="788" y="849"/>
                    <a:pt x="788" y="849"/>
                    <a:pt x="788" y="849"/>
                  </a:cubicBezTo>
                  <a:cubicBezTo>
                    <a:pt x="789" y="849"/>
                    <a:pt x="790" y="848"/>
                    <a:pt x="791" y="848"/>
                  </a:cubicBezTo>
                  <a:cubicBezTo>
                    <a:pt x="791" y="848"/>
                    <a:pt x="791" y="848"/>
                    <a:pt x="791" y="848"/>
                  </a:cubicBezTo>
                  <a:cubicBezTo>
                    <a:pt x="791" y="848"/>
                    <a:pt x="791" y="848"/>
                    <a:pt x="792" y="848"/>
                  </a:cubicBezTo>
                  <a:cubicBezTo>
                    <a:pt x="792" y="848"/>
                    <a:pt x="793" y="848"/>
                    <a:pt x="794" y="848"/>
                  </a:cubicBezTo>
                  <a:cubicBezTo>
                    <a:pt x="794" y="848"/>
                    <a:pt x="794" y="848"/>
                    <a:pt x="794" y="848"/>
                  </a:cubicBezTo>
                  <a:cubicBezTo>
                    <a:pt x="796" y="848"/>
                    <a:pt x="798" y="847"/>
                    <a:pt x="799" y="846"/>
                  </a:cubicBezTo>
                  <a:cubicBezTo>
                    <a:pt x="799" y="847"/>
                    <a:pt x="799" y="847"/>
                    <a:pt x="799" y="848"/>
                  </a:cubicBezTo>
                  <a:cubicBezTo>
                    <a:pt x="798" y="850"/>
                    <a:pt x="799" y="852"/>
                    <a:pt x="800" y="853"/>
                  </a:cubicBezTo>
                  <a:close/>
                  <a:moveTo>
                    <a:pt x="635" y="407"/>
                  </a:moveTo>
                  <a:cubicBezTo>
                    <a:pt x="634" y="408"/>
                    <a:pt x="633" y="409"/>
                    <a:pt x="632" y="409"/>
                  </a:cubicBezTo>
                  <a:cubicBezTo>
                    <a:pt x="631" y="410"/>
                    <a:pt x="630" y="410"/>
                    <a:pt x="629" y="411"/>
                  </a:cubicBezTo>
                  <a:cubicBezTo>
                    <a:pt x="627" y="412"/>
                    <a:pt x="625" y="412"/>
                    <a:pt x="623" y="412"/>
                  </a:cubicBezTo>
                  <a:cubicBezTo>
                    <a:pt x="620" y="412"/>
                    <a:pt x="618" y="411"/>
                    <a:pt x="616" y="409"/>
                  </a:cubicBezTo>
                  <a:cubicBezTo>
                    <a:pt x="616" y="409"/>
                    <a:pt x="617" y="409"/>
                    <a:pt x="617" y="410"/>
                  </a:cubicBezTo>
                  <a:cubicBezTo>
                    <a:pt x="618" y="410"/>
                    <a:pt x="619" y="410"/>
                    <a:pt x="619" y="410"/>
                  </a:cubicBezTo>
                  <a:cubicBezTo>
                    <a:pt x="620" y="410"/>
                    <a:pt x="621" y="410"/>
                    <a:pt x="622" y="410"/>
                  </a:cubicBezTo>
                  <a:cubicBezTo>
                    <a:pt x="627" y="410"/>
                    <a:pt x="631" y="409"/>
                    <a:pt x="635" y="407"/>
                  </a:cubicBezTo>
                  <a:close/>
                  <a:moveTo>
                    <a:pt x="337" y="487"/>
                  </a:moveTo>
                  <a:cubicBezTo>
                    <a:pt x="337" y="488"/>
                    <a:pt x="337" y="488"/>
                    <a:pt x="337" y="488"/>
                  </a:cubicBezTo>
                  <a:cubicBezTo>
                    <a:pt x="338" y="489"/>
                    <a:pt x="339" y="490"/>
                    <a:pt x="340" y="491"/>
                  </a:cubicBezTo>
                  <a:cubicBezTo>
                    <a:pt x="341" y="492"/>
                    <a:pt x="343" y="494"/>
                    <a:pt x="345" y="496"/>
                  </a:cubicBezTo>
                  <a:cubicBezTo>
                    <a:pt x="347" y="498"/>
                    <a:pt x="350" y="500"/>
                    <a:pt x="353" y="500"/>
                  </a:cubicBezTo>
                  <a:cubicBezTo>
                    <a:pt x="351" y="501"/>
                    <a:pt x="349" y="501"/>
                    <a:pt x="348" y="501"/>
                  </a:cubicBezTo>
                  <a:cubicBezTo>
                    <a:pt x="348" y="501"/>
                    <a:pt x="347" y="501"/>
                    <a:pt x="347" y="501"/>
                  </a:cubicBezTo>
                  <a:cubicBezTo>
                    <a:pt x="346" y="501"/>
                    <a:pt x="344" y="497"/>
                    <a:pt x="342" y="494"/>
                  </a:cubicBezTo>
                  <a:cubicBezTo>
                    <a:pt x="341" y="493"/>
                    <a:pt x="340" y="492"/>
                    <a:pt x="339" y="491"/>
                  </a:cubicBezTo>
                  <a:cubicBezTo>
                    <a:pt x="339" y="490"/>
                    <a:pt x="338" y="489"/>
                    <a:pt x="337" y="487"/>
                  </a:cubicBezTo>
                  <a:close/>
                </a:path>
              </a:pathLst>
            </a:custGeom>
            <a:grpFill/>
            <a:ln w="3175" cap="rnd">
              <a:solidFill>
                <a:schemeClr val="tx1"/>
              </a:solidFill>
            </a:ln>
          </p:spPr>
          <p:txBody>
            <a:bodyPr vert="horz" wrap="square" lIns="91440" tIns="45720" rIns="91440" bIns="45720" numCol="1" anchor="t" anchorCtr="0" compatLnSpc="1">
              <a:prstTxWarp prst="textNoShape">
                <a:avLst/>
              </a:prstTxWarp>
            </a:bodyPr>
            <a:lstStyle/>
            <a:p>
              <a:endParaRPr lang="en-US" sz="1800"/>
            </a:p>
          </p:txBody>
        </p:sp>
      </p:grpSp>
      <p:sp>
        <p:nvSpPr>
          <p:cNvPr id="34" name="Rectangle 33"/>
          <p:cNvSpPr/>
          <p:nvPr/>
        </p:nvSpPr>
        <p:spPr>
          <a:xfrm>
            <a:off x="5750238" y="1196049"/>
            <a:ext cx="6081206" cy="4524315"/>
          </a:xfrm>
          <a:prstGeom prst="rect">
            <a:avLst/>
          </a:prstGeom>
        </p:spPr>
        <p:txBody>
          <a:bodyPr wrap="square" lIns="73152" tIns="0" rIns="0" bIns="0">
            <a:spAutoFit/>
          </a:bodyPr>
          <a:lstStyle/>
          <a:p>
            <a:pPr marL="285750" indent="-285750">
              <a:lnSpc>
                <a:spcPct val="90000"/>
              </a:lnSpc>
              <a:buFont typeface="Arial" panose="020B0604020202020204" pitchFamily="34" charset="0"/>
              <a:buChar char="•"/>
            </a:pPr>
            <a:r>
              <a:rPr lang="en-GB" sz="2000" dirty="0">
                <a:solidFill>
                  <a:srgbClr val="002060"/>
                </a:solidFill>
              </a:rPr>
              <a:t>People living in </a:t>
            </a:r>
            <a:r>
              <a:rPr lang="en-GB" sz="2000" b="1" u="sng" dirty="0">
                <a:solidFill>
                  <a:schemeClr val="folHlink"/>
                </a:solidFill>
              </a:rPr>
              <a:t>private households</a:t>
            </a:r>
            <a:r>
              <a:rPr lang="en-GB" sz="2000" dirty="0">
                <a:solidFill>
                  <a:schemeClr val="bg1"/>
                </a:solidFill>
              </a:rPr>
              <a:t> </a:t>
            </a:r>
            <a:r>
              <a:rPr lang="en-GB" sz="2000" dirty="0">
                <a:solidFill>
                  <a:srgbClr val="002060"/>
                </a:solidFill>
              </a:rPr>
              <a:t>and nurses in </a:t>
            </a:r>
            <a:r>
              <a:rPr lang="en-GB" sz="2000" b="1" u="sng" dirty="0">
                <a:solidFill>
                  <a:schemeClr val="folHlink"/>
                </a:solidFill>
              </a:rPr>
              <a:t>NHS accommodation</a:t>
            </a:r>
          </a:p>
          <a:p>
            <a:pPr marL="285750" indent="-285750">
              <a:lnSpc>
                <a:spcPct val="90000"/>
              </a:lnSpc>
              <a:buFont typeface="Arial" panose="020B0604020202020204" pitchFamily="34" charset="0"/>
              <a:buChar char="•"/>
            </a:pPr>
            <a:r>
              <a:rPr lang="en-GB" sz="2000" dirty="0">
                <a:solidFill>
                  <a:srgbClr val="002060"/>
                </a:solidFill>
              </a:rPr>
              <a:t>Students in halls of residence or boarding schools should be included at their parents address</a:t>
            </a:r>
          </a:p>
          <a:p>
            <a:pPr marL="285750" indent="-285750">
              <a:lnSpc>
                <a:spcPct val="90000"/>
              </a:lnSpc>
              <a:buFont typeface="Arial" panose="020B0604020202020204" pitchFamily="34" charset="0"/>
              <a:buChar char="•"/>
            </a:pPr>
            <a:endParaRPr lang="en-GB" sz="2000" dirty="0">
              <a:solidFill>
                <a:schemeClr val="bg1"/>
              </a:solidFill>
            </a:endParaRPr>
          </a:p>
          <a:p>
            <a:pPr marL="285750" indent="-285750">
              <a:lnSpc>
                <a:spcPct val="90000"/>
              </a:lnSpc>
              <a:buFont typeface="Arial" panose="020B0604020202020204" pitchFamily="34" charset="0"/>
              <a:buChar char="•"/>
            </a:pPr>
            <a:r>
              <a:rPr lang="en-GB" sz="2000" dirty="0">
                <a:solidFill>
                  <a:srgbClr val="002060"/>
                </a:solidFill>
                <a:sym typeface="Symbol" pitchFamily="18" charset="2"/>
              </a:rPr>
              <a:t>The</a:t>
            </a:r>
            <a:r>
              <a:rPr lang="en-GB" sz="2000" dirty="0">
                <a:solidFill>
                  <a:schemeClr val="bg1"/>
                </a:solidFill>
                <a:sym typeface="Symbol" pitchFamily="18" charset="2"/>
              </a:rPr>
              <a:t> </a:t>
            </a:r>
            <a:r>
              <a:rPr lang="en-GB" sz="2000" b="1" u="sng" dirty="0">
                <a:solidFill>
                  <a:schemeClr val="folHlink"/>
                </a:solidFill>
                <a:sym typeface="Symbol" pitchFamily="18" charset="2"/>
              </a:rPr>
              <a:t>Postcode Address File</a:t>
            </a:r>
            <a:r>
              <a:rPr lang="en-GB" sz="2000" dirty="0">
                <a:solidFill>
                  <a:schemeClr val="bg1"/>
                </a:solidFill>
                <a:sym typeface="Symbol" pitchFamily="18" charset="2"/>
              </a:rPr>
              <a:t> </a:t>
            </a:r>
            <a:r>
              <a:rPr lang="en-GB" sz="2000" dirty="0">
                <a:solidFill>
                  <a:srgbClr val="002060"/>
                </a:solidFill>
                <a:sym typeface="Symbol" pitchFamily="18" charset="2"/>
              </a:rPr>
              <a:t>(PAF) is the main sampling frame</a:t>
            </a:r>
          </a:p>
          <a:p>
            <a:pPr marL="285750" indent="-285750">
              <a:lnSpc>
                <a:spcPct val="90000"/>
              </a:lnSpc>
              <a:buFont typeface="Arial" panose="020B0604020202020204" pitchFamily="34" charset="0"/>
              <a:buChar char="•"/>
            </a:pPr>
            <a:r>
              <a:rPr lang="en-GB" sz="2000" dirty="0">
                <a:solidFill>
                  <a:srgbClr val="002060"/>
                </a:solidFill>
                <a:sym typeface="Symbol" pitchFamily="18" charset="2"/>
              </a:rPr>
              <a:t>NHS sampling frame and the Telephone Directory also used</a:t>
            </a:r>
          </a:p>
          <a:p>
            <a:pPr marL="285750" indent="-285750">
              <a:lnSpc>
                <a:spcPct val="90000"/>
              </a:lnSpc>
              <a:buFont typeface="Arial" panose="020B0604020202020204" pitchFamily="34" charset="0"/>
              <a:buChar char="•"/>
            </a:pPr>
            <a:endParaRPr lang="en-GB" sz="2000" dirty="0">
              <a:solidFill>
                <a:srgbClr val="002060"/>
              </a:solidFill>
            </a:endParaRPr>
          </a:p>
          <a:p>
            <a:pPr marL="285750" indent="-285750">
              <a:lnSpc>
                <a:spcPct val="90000"/>
              </a:lnSpc>
              <a:buFont typeface="Arial" panose="020B0604020202020204" pitchFamily="34" charset="0"/>
              <a:buChar char="•"/>
            </a:pPr>
            <a:r>
              <a:rPr lang="en-GB" sz="2000" dirty="0">
                <a:solidFill>
                  <a:srgbClr val="002060"/>
                </a:solidFill>
              </a:rPr>
              <a:t>Other communal establishments are excluded from the sample</a:t>
            </a:r>
          </a:p>
          <a:p>
            <a:pPr marL="285750" indent="-285750">
              <a:lnSpc>
                <a:spcPct val="90000"/>
              </a:lnSpc>
              <a:buFont typeface="Arial" panose="020B0604020202020204" pitchFamily="34" charset="0"/>
              <a:buChar char="•"/>
            </a:pPr>
            <a:endParaRPr lang="en-GB" sz="2000" dirty="0">
              <a:solidFill>
                <a:srgbClr val="002060"/>
              </a:solidFill>
              <a:sym typeface="Symbol" pitchFamily="18" charset="2"/>
            </a:endParaRPr>
          </a:p>
          <a:p>
            <a:pPr marL="285750" indent="-285750">
              <a:buFont typeface="Arial" panose="020B0604020202020204" pitchFamily="34" charset="0"/>
              <a:buChar char="•"/>
            </a:pPr>
            <a:r>
              <a:rPr lang="en-GB" sz="2000" dirty="0">
                <a:solidFill>
                  <a:srgbClr val="002060"/>
                </a:solidFill>
              </a:rPr>
              <a:t>Random sample, stratified by postcode</a:t>
            </a:r>
          </a:p>
          <a:p>
            <a:pPr marL="285750" indent="-285750">
              <a:buFont typeface="Arial" panose="020B0604020202020204" pitchFamily="34" charset="0"/>
              <a:buChar char="•"/>
            </a:pPr>
            <a:r>
              <a:rPr lang="en-GB" sz="2000" dirty="0">
                <a:solidFill>
                  <a:srgbClr val="002060"/>
                </a:solidFill>
              </a:rPr>
              <a:t>Representative of the whole UK population (with a few exceptions)</a:t>
            </a:r>
          </a:p>
        </p:txBody>
      </p:sp>
      <p:sp>
        <p:nvSpPr>
          <p:cNvPr id="44" name="Title 43">
            <a:extLst>
              <a:ext uri="{FF2B5EF4-FFF2-40B4-BE49-F238E27FC236}">
                <a16:creationId xmlns:a16="http://schemas.microsoft.com/office/drawing/2014/main" id="{77C3A0EA-2AFF-4568-8C73-E06894FEA2D2}"/>
              </a:ext>
            </a:extLst>
          </p:cNvPr>
          <p:cNvSpPr>
            <a:spLocks noGrp="1"/>
          </p:cNvSpPr>
          <p:nvPr>
            <p:ph type="title"/>
          </p:nvPr>
        </p:nvSpPr>
        <p:spPr>
          <a:xfrm>
            <a:off x="838200" y="586370"/>
            <a:ext cx="10515600" cy="467820"/>
          </a:xfrm>
        </p:spPr>
        <p:txBody>
          <a:bodyPr/>
          <a:lstStyle/>
          <a:p>
            <a:r>
              <a:rPr lang="en-GB" dirty="0"/>
              <a:t>Overall Sample Design</a:t>
            </a:r>
          </a:p>
        </p:txBody>
      </p:sp>
    </p:spTree>
    <p:extLst>
      <p:ext uri="{BB962C8B-B14F-4D97-AF65-F5344CB8AC3E}">
        <p14:creationId xmlns:p14="http://schemas.microsoft.com/office/powerpoint/2010/main" val="25470597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BE65C8E-86B4-47B4-BB2A-60B0DFA221CD}"/>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A9375EF3-A84C-4542-8D0B-BE8585CC3DF4}"/>
              </a:ext>
            </a:extLst>
          </p:cNvPr>
          <p:cNvSpPr>
            <a:spLocks noGrp="1"/>
          </p:cNvSpPr>
          <p:nvPr>
            <p:ph type="title"/>
          </p:nvPr>
        </p:nvSpPr>
        <p:spPr/>
        <p:txBody>
          <a:bodyPr/>
          <a:lstStyle/>
          <a:p>
            <a:r>
              <a:rPr lang="en-GB" dirty="0"/>
              <a:t>LFS Household level data</a:t>
            </a:r>
          </a:p>
        </p:txBody>
      </p:sp>
      <p:sp>
        <p:nvSpPr>
          <p:cNvPr id="5" name="Content Placeholder 3">
            <a:extLst>
              <a:ext uri="{FF2B5EF4-FFF2-40B4-BE49-F238E27FC236}">
                <a16:creationId xmlns:a16="http://schemas.microsoft.com/office/drawing/2014/main" id="{7263DA35-5D85-4A19-BAB1-8C26444E5473}"/>
              </a:ext>
            </a:extLst>
          </p:cNvPr>
          <p:cNvSpPr>
            <a:spLocks noGrp="1"/>
          </p:cNvSpPr>
          <p:nvPr>
            <p:ph idx="1"/>
          </p:nvPr>
        </p:nvSpPr>
        <p:spPr>
          <a:xfrm>
            <a:off x="856343" y="1160176"/>
            <a:ext cx="10515600" cy="5446748"/>
          </a:xfrm>
        </p:spPr>
        <p:txBody>
          <a:bodyPr/>
          <a:lstStyle/>
          <a:p>
            <a:r>
              <a:rPr lang="en-GB" sz="2200" b="1" dirty="0"/>
              <a:t>Purpose</a:t>
            </a:r>
            <a:r>
              <a:rPr lang="en-GB" sz="2200" dirty="0"/>
              <a:t> 	</a:t>
            </a:r>
            <a:r>
              <a:rPr lang="en-GB" sz="2200" dirty="0">
                <a:sym typeface="Wingdings" panose="05000000000000000000" pitchFamily="2" charset="2"/>
              </a:rPr>
              <a:t></a:t>
            </a:r>
            <a:r>
              <a:rPr lang="en-GB" sz="2200" dirty="0"/>
              <a:t> household/family level analysis at a national or regional level</a:t>
            </a:r>
          </a:p>
          <a:p>
            <a:r>
              <a:rPr lang="en-GB" sz="2200" b="1" dirty="0"/>
              <a:t>Frequency</a:t>
            </a:r>
            <a:r>
              <a:rPr lang="en-GB" sz="2200" dirty="0"/>
              <a:t> 	</a:t>
            </a:r>
            <a:r>
              <a:rPr lang="en-GB" sz="2200" dirty="0">
                <a:sym typeface="Wingdings" panose="05000000000000000000" pitchFamily="2" charset="2"/>
              </a:rPr>
              <a:t> Q</a:t>
            </a:r>
            <a:r>
              <a:rPr lang="en-GB" sz="2200" dirty="0"/>
              <a:t>uarterly - Of</a:t>
            </a:r>
            <a:r>
              <a:rPr lang="en-GB" sz="2200" dirty="0">
                <a:solidFill>
                  <a:schemeClr val="accent3">
                    <a:lumMod val="50000"/>
                  </a:schemeClr>
                </a:solidFill>
                <a:sym typeface="Wingdings" panose="05000000000000000000" pitchFamily="2" charset="2"/>
              </a:rPr>
              <a:t>ficially released around 8 weeks after the end of data 		     collection period, available through UKDS/SRS several weeks later</a:t>
            </a:r>
            <a:endParaRPr lang="en-GB" sz="2200" dirty="0">
              <a:solidFill>
                <a:srgbClr val="FF0000"/>
              </a:solidFill>
              <a:sym typeface="Wingdings" panose="05000000000000000000" pitchFamily="2" charset="2"/>
            </a:endParaRPr>
          </a:p>
          <a:p>
            <a:r>
              <a:rPr lang="en-GB" sz="2200" b="1" dirty="0">
                <a:sym typeface="Wingdings" panose="05000000000000000000" pitchFamily="2" charset="2"/>
              </a:rPr>
              <a:t>Time periods </a:t>
            </a:r>
            <a:r>
              <a:rPr lang="en-GB" sz="2200" dirty="0">
                <a:sym typeface="Wingdings" panose="05000000000000000000" pitchFamily="2" charset="2"/>
              </a:rPr>
              <a:t> Pre 2004 – Apr-Jun periods only;</a:t>
            </a:r>
            <a:br>
              <a:rPr lang="en-GB" sz="2200" dirty="0">
                <a:sym typeface="Wingdings" panose="05000000000000000000" pitchFamily="2" charset="2"/>
              </a:rPr>
            </a:br>
            <a:r>
              <a:rPr lang="en-GB" sz="2200" dirty="0">
                <a:sym typeface="Wingdings" panose="05000000000000000000" pitchFamily="2" charset="2"/>
              </a:rPr>
              <a:t>		    </a:t>
            </a:r>
            <a:r>
              <a:rPr lang="en-GB" sz="2200" dirty="0"/>
              <a:t>Between 2004 and 2011 Apr-Jun and Oct-Dec only; 		     	    	    Quarterly from AJ12 onwards</a:t>
            </a:r>
          </a:p>
          <a:p>
            <a:r>
              <a:rPr lang="en-GB" sz="2200" b="1" dirty="0">
                <a:sym typeface="Wingdings" panose="05000000000000000000" pitchFamily="2" charset="2"/>
              </a:rPr>
              <a:t>Availability</a:t>
            </a:r>
            <a:r>
              <a:rPr lang="en-GB" sz="2200" dirty="0">
                <a:sym typeface="Wingdings" panose="05000000000000000000" pitchFamily="2" charset="2"/>
              </a:rPr>
              <a:t> 	 </a:t>
            </a:r>
            <a:r>
              <a:rPr lang="en-GB" sz="2200" dirty="0"/>
              <a:t>AJ96 to AJ01 (2007 weight) </a:t>
            </a:r>
            <a:br>
              <a:rPr lang="en-GB" sz="2200" dirty="0"/>
            </a:br>
            <a:r>
              <a:rPr lang="en-GB" sz="2200" dirty="0"/>
              <a:t>		    AJ02 to AJ11 (2014 weight) </a:t>
            </a:r>
            <a:br>
              <a:rPr lang="en-GB" sz="2200" dirty="0"/>
            </a:br>
            <a:r>
              <a:rPr lang="en-GB" sz="2200" dirty="0"/>
              <a:t>		    OD11 onwards (2018 weight) </a:t>
            </a:r>
          </a:p>
          <a:p>
            <a:r>
              <a:rPr lang="en-GB" sz="2200" b="1" dirty="0">
                <a:sym typeface="Wingdings" panose="05000000000000000000" pitchFamily="2" charset="2"/>
              </a:rPr>
              <a:t>Weights</a:t>
            </a:r>
            <a:r>
              <a:rPr lang="en-GB" sz="2200" dirty="0">
                <a:sym typeface="Wingdings" panose="05000000000000000000" pitchFamily="2" charset="2"/>
              </a:rPr>
              <a:t>	 PHHWT </a:t>
            </a:r>
          </a:p>
          <a:p>
            <a:r>
              <a:rPr lang="en-GB" sz="2200" b="1" dirty="0">
                <a:sym typeface="Wingdings" panose="05000000000000000000" pitchFamily="2" charset="2"/>
              </a:rPr>
              <a:t>Limitations</a:t>
            </a:r>
            <a:r>
              <a:rPr lang="en-GB" sz="2200" dirty="0">
                <a:sym typeface="Wingdings" panose="05000000000000000000" pitchFamily="2" charset="2"/>
              </a:rPr>
              <a:t> 	 Not suitable for household earning analysis as no earnings </a:t>
            </a:r>
            <a:br>
              <a:rPr lang="en-GB" sz="2200" dirty="0">
                <a:sym typeface="Wingdings" panose="05000000000000000000" pitchFamily="2" charset="2"/>
              </a:rPr>
            </a:br>
            <a:r>
              <a:rPr lang="en-GB" sz="2200" dirty="0">
                <a:sym typeface="Wingdings" panose="05000000000000000000" pitchFamily="2" charset="2"/>
              </a:rPr>
              <a:t>		     household weight</a:t>
            </a:r>
          </a:p>
          <a:p>
            <a:endParaRPr lang="en-GB" dirty="0"/>
          </a:p>
        </p:txBody>
      </p:sp>
    </p:spTree>
    <p:extLst>
      <p:ext uri="{BB962C8B-B14F-4D97-AF65-F5344CB8AC3E}">
        <p14:creationId xmlns:p14="http://schemas.microsoft.com/office/powerpoint/2010/main" val="27623326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BE65C8E-86B4-47B4-BB2A-60B0DFA221CD}"/>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A9375EF3-A84C-4542-8D0B-BE8585CC3DF4}"/>
              </a:ext>
            </a:extLst>
          </p:cNvPr>
          <p:cNvSpPr>
            <a:spLocks noGrp="1"/>
          </p:cNvSpPr>
          <p:nvPr>
            <p:ph type="title"/>
          </p:nvPr>
        </p:nvSpPr>
        <p:spPr/>
        <p:txBody>
          <a:bodyPr/>
          <a:lstStyle/>
          <a:p>
            <a:r>
              <a:rPr lang="en-GB" dirty="0"/>
              <a:t>APS Household level data</a:t>
            </a:r>
          </a:p>
        </p:txBody>
      </p:sp>
      <p:sp>
        <p:nvSpPr>
          <p:cNvPr id="5" name="Content Placeholder 3">
            <a:extLst>
              <a:ext uri="{FF2B5EF4-FFF2-40B4-BE49-F238E27FC236}">
                <a16:creationId xmlns:a16="http://schemas.microsoft.com/office/drawing/2014/main" id="{7263DA35-5D85-4A19-BAB1-8C26444E5473}"/>
              </a:ext>
            </a:extLst>
          </p:cNvPr>
          <p:cNvSpPr>
            <a:spLocks noGrp="1"/>
          </p:cNvSpPr>
          <p:nvPr>
            <p:ph idx="1"/>
          </p:nvPr>
        </p:nvSpPr>
        <p:spPr>
          <a:xfrm>
            <a:off x="856343" y="1160176"/>
            <a:ext cx="10515600" cy="4887878"/>
          </a:xfrm>
        </p:spPr>
        <p:txBody>
          <a:bodyPr/>
          <a:lstStyle/>
          <a:p>
            <a:r>
              <a:rPr lang="en-GB" sz="2200" b="1" dirty="0"/>
              <a:t>Purpose</a:t>
            </a:r>
            <a:r>
              <a:rPr lang="en-GB" sz="2200" dirty="0"/>
              <a:t> 	</a:t>
            </a:r>
            <a:r>
              <a:rPr lang="en-GB" sz="2200" dirty="0">
                <a:sym typeface="Wingdings" panose="05000000000000000000" pitchFamily="2" charset="2"/>
              </a:rPr>
              <a:t></a:t>
            </a:r>
            <a:r>
              <a:rPr lang="en-GB" sz="2200" dirty="0"/>
              <a:t> Household and Family level analysis below regional level or 	  	    	     for breakdowns on certain characteristics</a:t>
            </a:r>
          </a:p>
          <a:p>
            <a:r>
              <a:rPr lang="en-GB" sz="2200" b="1" dirty="0"/>
              <a:t>Frequency</a:t>
            </a:r>
            <a:r>
              <a:rPr lang="en-GB" sz="2200" dirty="0"/>
              <a:t> 	</a:t>
            </a:r>
            <a:r>
              <a:rPr lang="en-GB" sz="2200" dirty="0">
                <a:sym typeface="Wingdings" panose="05000000000000000000" pitchFamily="2" charset="2"/>
              </a:rPr>
              <a:t> Annually - </a:t>
            </a:r>
            <a:r>
              <a:rPr lang="en-GB" sz="2200" dirty="0">
                <a:solidFill>
                  <a:schemeClr val="accent3">
                    <a:lumMod val="50000"/>
                  </a:schemeClr>
                </a:solidFill>
                <a:sym typeface="Wingdings" panose="05000000000000000000" pitchFamily="2" charset="2"/>
              </a:rPr>
              <a:t>released around July every year </a:t>
            </a:r>
          </a:p>
          <a:p>
            <a:r>
              <a:rPr lang="en-GB" sz="2200" b="1" dirty="0">
                <a:sym typeface="Wingdings" panose="05000000000000000000" pitchFamily="2" charset="2"/>
              </a:rPr>
              <a:t>Time periods </a:t>
            </a:r>
            <a:r>
              <a:rPr lang="en-GB" sz="2200" dirty="0">
                <a:sym typeface="Wingdings" panose="05000000000000000000" pitchFamily="2" charset="2"/>
              </a:rPr>
              <a:t> January to December</a:t>
            </a:r>
            <a:endParaRPr lang="en-GB" sz="2200" dirty="0"/>
          </a:p>
          <a:p>
            <a:r>
              <a:rPr lang="en-GB" sz="2200" b="1" dirty="0">
                <a:sym typeface="Wingdings" panose="05000000000000000000" pitchFamily="2" charset="2"/>
              </a:rPr>
              <a:t>Availability</a:t>
            </a:r>
            <a:r>
              <a:rPr lang="en-GB" sz="2200" dirty="0">
                <a:sym typeface="Wingdings" panose="05000000000000000000" pitchFamily="2" charset="2"/>
              </a:rPr>
              <a:t> 	 </a:t>
            </a:r>
            <a:r>
              <a:rPr lang="en-GB" sz="2200" dirty="0"/>
              <a:t>JD04 to JD05 (2010 weight) </a:t>
            </a:r>
            <a:br>
              <a:rPr lang="en-GB" sz="2200" dirty="0"/>
            </a:br>
            <a:r>
              <a:rPr lang="en-GB" sz="2200" dirty="0"/>
              <a:t>		     JD06 to JD11 (2014 weight) </a:t>
            </a:r>
            <a:br>
              <a:rPr lang="en-GB" sz="2200" dirty="0"/>
            </a:br>
            <a:r>
              <a:rPr lang="en-GB" sz="2200" dirty="0"/>
              <a:t>		     JD12 onwards (2018 weight) </a:t>
            </a:r>
          </a:p>
          <a:p>
            <a:r>
              <a:rPr lang="en-GB" sz="2200" b="1" dirty="0">
                <a:sym typeface="Wingdings" panose="05000000000000000000" pitchFamily="2" charset="2"/>
              </a:rPr>
              <a:t>Weights</a:t>
            </a:r>
            <a:r>
              <a:rPr lang="en-GB" sz="2200" dirty="0">
                <a:sym typeface="Wingdings" panose="05000000000000000000" pitchFamily="2" charset="2"/>
              </a:rPr>
              <a:t>	 </a:t>
            </a:r>
            <a:r>
              <a:rPr lang="en-GB" sz="2200" dirty="0"/>
              <a:t>PHHWTA </a:t>
            </a:r>
          </a:p>
          <a:p>
            <a:r>
              <a:rPr lang="en-GB" sz="2200" b="1" dirty="0">
                <a:sym typeface="Wingdings" panose="05000000000000000000" pitchFamily="2" charset="2"/>
              </a:rPr>
              <a:t>Limitations</a:t>
            </a:r>
            <a:r>
              <a:rPr lang="en-GB" sz="2200" dirty="0">
                <a:sym typeface="Wingdings" panose="05000000000000000000" pitchFamily="2" charset="2"/>
              </a:rPr>
              <a:t> 	 S</a:t>
            </a:r>
            <a:r>
              <a:rPr lang="en-GB" sz="2200" dirty="0"/>
              <a:t>ome LFS variables are not available on APS datasets, </a:t>
            </a:r>
            <a:br>
              <a:rPr lang="en-GB" sz="2200" dirty="0"/>
            </a:br>
            <a:r>
              <a:rPr lang="en-GB" sz="2200" dirty="0"/>
              <a:t>		     particularly LFS quarterly specific variables. </a:t>
            </a:r>
            <a:br>
              <a:rPr lang="en-GB" sz="2400" dirty="0"/>
            </a:br>
            <a:r>
              <a:rPr lang="en-GB" sz="2400" dirty="0"/>
              <a:t>		    N</a:t>
            </a:r>
            <a:r>
              <a:rPr lang="en-GB" sz="2400" dirty="0">
                <a:sym typeface="Wingdings" panose="05000000000000000000" pitchFamily="2" charset="2"/>
              </a:rPr>
              <a:t>ot suitable for household earning analysis as no earnings </a:t>
            </a:r>
            <a:br>
              <a:rPr lang="en-GB" sz="2400" dirty="0">
                <a:sym typeface="Wingdings" panose="05000000000000000000" pitchFamily="2" charset="2"/>
              </a:rPr>
            </a:br>
            <a:r>
              <a:rPr lang="en-GB" sz="2400" dirty="0">
                <a:sym typeface="Wingdings" panose="05000000000000000000" pitchFamily="2" charset="2"/>
              </a:rPr>
              <a:t>		    household weight</a:t>
            </a:r>
            <a:endParaRPr lang="en-GB" dirty="0"/>
          </a:p>
        </p:txBody>
      </p:sp>
    </p:spTree>
    <p:extLst>
      <p:ext uri="{BB962C8B-B14F-4D97-AF65-F5344CB8AC3E}">
        <p14:creationId xmlns:p14="http://schemas.microsoft.com/office/powerpoint/2010/main" val="9446371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7AEB36B-A635-4D09-9912-D830E0C4DF63}"/>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5AA6ADF8-22FE-413A-B9ED-F33BA53C1CA9}"/>
              </a:ext>
            </a:extLst>
          </p:cNvPr>
          <p:cNvSpPr>
            <a:spLocks noGrp="1"/>
          </p:cNvSpPr>
          <p:nvPr>
            <p:ph type="title"/>
          </p:nvPr>
        </p:nvSpPr>
        <p:spPr>
          <a:xfrm>
            <a:off x="838200" y="642126"/>
            <a:ext cx="10515600" cy="467820"/>
          </a:xfrm>
        </p:spPr>
        <p:txBody>
          <a:bodyPr/>
          <a:lstStyle/>
          <a:p>
            <a:r>
              <a:rPr lang="en-GB" dirty="0"/>
              <a:t>What to know about LFS/APS weights</a:t>
            </a:r>
          </a:p>
        </p:txBody>
      </p:sp>
      <p:sp>
        <p:nvSpPr>
          <p:cNvPr id="4" name="Content Placeholder 3">
            <a:extLst>
              <a:ext uri="{FF2B5EF4-FFF2-40B4-BE49-F238E27FC236}">
                <a16:creationId xmlns:a16="http://schemas.microsoft.com/office/drawing/2014/main" id="{A3AC8531-C326-4DC0-B643-A882348489BA}"/>
              </a:ext>
            </a:extLst>
          </p:cNvPr>
          <p:cNvSpPr>
            <a:spLocks noGrp="1"/>
          </p:cNvSpPr>
          <p:nvPr>
            <p:ph idx="1"/>
          </p:nvPr>
        </p:nvSpPr>
        <p:spPr>
          <a:xfrm>
            <a:off x="838200" y="1245542"/>
            <a:ext cx="9573491" cy="4445128"/>
          </a:xfrm>
        </p:spPr>
        <p:txBody>
          <a:bodyPr/>
          <a:lstStyle/>
          <a:p>
            <a:pPr marL="457200" indent="-457200">
              <a:buFont typeface="Arial" panose="020B0604020202020204" pitchFamily="34" charset="0"/>
              <a:buChar char="•"/>
            </a:pPr>
            <a:r>
              <a:rPr lang="en-GB" sz="2400" dirty="0"/>
              <a:t>LFS/APS collects data on a representative sample of UK population</a:t>
            </a:r>
          </a:p>
          <a:p>
            <a:pPr marL="457200" indent="-457200">
              <a:buFont typeface="Arial" panose="020B0604020202020204" pitchFamily="34" charset="0"/>
              <a:buChar char="•"/>
            </a:pPr>
            <a:r>
              <a:rPr lang="en-GB" sz="2400" dirty="0"/>
              <a:t>Grossing weights are created to estimate for the rest of the UK population we don’t sample and the survey design</a:t>
            </a:r>
          </a:p>
          <a:p>
            <a:pPr marL="457200" indent="-457200">
              <a:buFont typeface="Arial" panose="020B0604020202020204" pitchFamily="34" charset="0"/>
              <a:buChar char="•"/>
            </a:pPr>
            <a:r>
              <a:rPr lang="en-GB" sz="2400" dirty="0"/>
              <a:t>Weighting groupings are by age, sex and geography</a:t>
            </a:r>
          </a:p>
          <a:p>
            <a:pPr marL="457200" indent="-457200">
              <a:buFont typeface="Arial" panose="020B0604020202020204" pitchFamily="34" charset="0"/>
              <a:buChar char="•"/>
            </a:pPr>
            <a:r>
              <a:rPr lang="en-GB" sz="2400" dirty="0"/>
              <a:t>Each individual represents around 800 people of similar characteristics (LFS person weights)</a:t>
            </a:r>
          </a:p>
          <a:p>
            <a:pPr marL="457200" indent="-457200">
              <a:buFont typeface="Arial" panose="020B0604020202020204" pitchFamily="34" charset="0"/>
              <a:buChar char="•"/>
            </a:pPr>
            <a:r>
              <a:rPr lang="en-GB" sz="2400" dirty="0"/>
              <a:t>Sum of the weights make up the eligible population in the UK</a:t>
            </a:r>
          </a:p>
          <a:p>
            <a:pPr marL="457200" indent="-457200">
              <a:buFont typeface="Arial" panose="020B0604020202020204" pitchFamily="34" charset="0"/>
              <a:buChar char="•"/>
            </a:pPr>
            <a:r>
              <a:rPr lang="en-GB" sz="2400" dirty="0"/>
              <a:t>Critical to make sure you use the appropriate weight for the analysis you are doing</a:t>
            </a:r>
          </a:p>
        </p:txBody>
      </p:sp>
    </p:spTree>
    <p:extLst>
      <p:ext uri="{BB962C8B-B14F-4D97-AF65-F5344CB8AC3E}">
        <p14:creationId xmlns:p14="http://schemas.microsoft.com/office/powerpoint/2010/main" val="40796134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D4A4C37-D8B5-49F6-862F-EF3363411989}"/>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C0762AC7-0B77-48C5-BC56-A03F980411BB}"/>
              </a:ext>
            </a:extLst>
          </p:cNvPr>
          <p:cNvSpPr>
            <a:spLocks noGrp="1"/>
          </p:cNvSpPr>
          <p:nvPr>
            <p:ph type="title"/>
          </p:nvPr>
        </p:nvSpPr>
        <p:spPr/>
        <p:txBody>
          <a:bodyPr/>
          <a:lstStyle/>
          <a:p>
            <a:r>
              <a:rPr lang="en-GB" dirty="0"/>
              <a:t>What to know about variables</a:t>
            </a:r>
          </a:p>
        </p:txBody>
      </p:sp>
      <p:sp>
        <p:nvSpPr>
          <p:cNvPr id="4" name="Content Placeholder 3">
            <a:extLst>
              <a:ext uri="{FF2B5EF4-FFF2-40B4-BE49-F238E27FC236}">
                <a16:creationId xmlns:a16="http://schemas.microsoft.com/office/drawing/2014/main" id="{7A99A6D7-88E4-4F3D-BF96-A063B17ACC49}"/>
              </a:ext>
            </a:extLst>
          </p:cNvPr>
          <p:cNvSpPr>
            <a:spLocks noGrp="1"/>
          </p:cNvSpPr>
          <p:nvPr>
            <p:ph idx="1"/>
          </p:nvPr>
        </p:nvSpPr>
        <p:spPr>
          <a:xfrm>
            <a:off x="838200" y="1245541"/>
            <a:ext cx="10515600" cy="4771051"/>
          </a:xfrm>
        </p:spPr>
        <p:txBody>
          <a:bodyPr/>
          <a:lstStyle/>
          <a:p>
            <a:pPr marL="457200" indent="-457200">
              <a:buFont typeface="Arial" panose="020B0604020202020204" pitchFamily="34" charset="0"/>
              <a:buChar char="•"/>
            </a:pPr>
            <a:r>
              <a:rPr lang="en-GB" sz="2000" dirty="0"/>
              <a:t>Datasets contain questionnaire variables; derived variables; geography variables; system variables, all can be used for analysis </a:t>
            </a:r>
          </a:p>
          <a:p>
            <a:pPr marL="457200" indent="-457200">
              <a:buFont typeface="Arial" panose="020B0604020202020204" pitchFamily="34" charset="0"/>
              <a:buChar char="•"/>
            </a:pPr>
            <a:r>
              <a:rPr lang="en-GB" sz="2000" dirty="0"/>
              <a:t>Details of all variables can be found in UG2, UG3 and UG4</a:t>
            </a:r>
          </a:p>
          <a:p>
            <a:pPr marL="457200" indent="-457200">
              <a:buFont typeface="Arial" panose="020B0604020202020204" pitchFamily="34" charset="0"/>
              <a:buChar char="•"/>
            </a:pPr>
            <a:r>
              <a:rPr lang="en-GB" sz="2000" dirty="0"/>
              <a:t>Not all variables will be on all datasets</a:t>
            </a:r>
          </a:p>
          <a:p>
            <a:pPr marL="925200" lvl="1" indent="-457200"/>
            <a:r>
              <a:rPr lang="en-GB" sz="2000" dirty="0"/>
              <a:t>Well-Being; </a:t>
            </a:r>
            <a:r>
              <a:rPr lang="en-GB" sz="2000" dirty="0" err="1"/>
              <a:t>Sexid</a:t>
            </a:r>
            <a:r>
              <a:rPr lang="en-GB" sz="2000" dirty="0"/>
              <a:t>; Smoking; Veterans; General Health; Quality of work – APS only</a:t>
            </a:r>
          </a:p>
          <a:p>
            <a:pPr marL="925200" lvl="1" indent="-457200"/>
            <a:r>
              <a:rPr lang="en-GB" sz="2000" dirty="0"/>
              <a:t>Family and Household variables – Household datasets only</a:t>
            </a:r>
          </a:p>
          <a:p>
            <a:pPr marL="925200" lvl="1" indent="-457200"/>
            <a:r>
              <a:rPr lang="en-GB" sz="2000" dirty="0"/>
              <a:t>Quarterly specific variables – LFS datasets only</a:t>
            </a:r>
          </a:p>
          <a:p>
            <a:pPr marL="925200" lvl="1" indent="-457200"/>
            <a:r>
              <a:rPr lang="en-GB" sz="2000" dirty="0"/>
              <a:t>Reduced variables list on Longitudinal datasets</a:t>
            </a:r>
          </a:p>
          <a:p>
            <a:pPr marL="457200" indent="-457200">
              <a:buFont typeface="Arial" panose="020B0604020202020204" pitchFamily="34" charset="0"/>
              <a:buChar char="•"/>
            </a:pPr>
            <a:r>
              <a:rPr lang="en-GB" sz="2000" dirty="0"/>
              <a:t>Understand the variables you are using (e.g. periods; type; routing)</a:t>
            </a:r>
          </a:p>
          <a:p>
            <a:pPr marL="457200" indent="-457200">
              <a:buFont typeface="Arial" panose="020B0604020202020204" pitchFamily="34" charset="0"/>
              <a:buChar char="•"/>
            </a:pPr>
            <a:r>
              <a:rPr lang="en-GB" sz="2000" dirty="0"/>
              <a:t>Datasets will include ‘missing values’</a:t>
            </a:r>
          </a:p>
          <a:p>
            <a:pPr marL="925200" lvl="1" indent="-457200"/>
            <a:r>
              <a:rPr lang="en-GB" sz="2000" dirty="0"/>
              <a:t>-9 means not routed to that specific question</a:t>
            </a:r>
          </a:p>
          <a:p>
            <a:pPr marL="925200" lvl="1" indent="-457200"/>
            <a:r>
              <a:rPr lang="en-GB" sz="2000" dirty="0"/>
              <a:t>-8 means respondent refused to answer question or answered don’t’ know</a:t>
            </a:r>
          </a:p>
        </p:txBody>
      </p:sp>
    </p:spTree>
    <p:extLst>
      <p:ext uri="{BB962C8B-B14F-4D97-AF65-F5344CB8AC3E}">
        <p14:creationId xmlns:p14="http://schemas.microsoft.com/office/powerpoint/2010/main" val="403342763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3E56E55-C06D-4577-95F0-ACF62327B773}"/>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62F68D26-7225-4A0A-AA95-B457802B214E}"/>
              </a:ext>
            </a:extLst>
          </p:cNvPr>
          <p:cNvSpPr>
            <a:spLocks noGrp="1"/>
          </p:cNvSpPr>
          <p:nvPr>
            <p:ph type="title"/>
          </p:nvPr>
        </p:nvSpPr>
        <p:spPr/>
        <p:txBody>
          <a:bodyPr/>
          <a:lstStyle/>
          <a:p>
            <a:r>
              <a:rPr lang="en-GB" dirty="0"/>
              <a:t>Data linking/pooling</a:t>
            </a:r>
          </a:p>
        </p:txBody>
      </p:sp>
      <p:sp>
        <p:nvSpPr>
          <p:cNvPr id="4" name="Content Placeholder 3">
            <a:extLst>
              <a:ext uri="{FF2B5EF4-FFF2-40B4-BE49-F238E27FC236}">
                <a16:creationId xmlns:a16="http://schemas.microsoft.com/office/drawing/2014/main" id="{FF7217A0-D312-4380-BF00-A456A407C35D}"/>
              </a:ext>
            </a:extLst>
          </p:cNvPr>
          <p:cNvSpPr>
            <a:spLocks noGrp="1"/>
          </p:cNvSpPr>
          <p:nvPr>
            <p:ph idx="1"/>
          </p:nvPr>
        </p:nvSpPr>
        <p:spPr>
          <a:xfrm>
            <a:off x="838200" y="1245542"/>
            <a:ext cx="10515600" cy="4637488"/>
          </a:xfrm>
        </p:spPr>
        <p:txBody>
          <a:bodyPr/>
          <a:lstStyle/>
          <a:p>
            <a:pPr marL="457200" indent="-457200">
              <a:buFont typeface="Arial" panose="020B0604020202020204" pitchFamily="34" charset="0"/>
              <a:buChar char="•"/>
            </a:pPr>
            <a:r>
              <a:rPr lang="en-GB" sz="2400" dirty="0"/>
              <a:t>It isn’t advised to carry out any dataset linking or pooling yourself</a:t>
            </a:r>
          </a:p>
          <a:p>
            <a:pPr marL="457200" indent="-457200">
              <a:buFont typeface="Arial" panose="020B0604020202020204" pitchFamily="34" charset="0"/>
              <a:buChar char="•"/>
            </a:pPr>
            <a:r>
              <a:rPr lang="en-GB" sz="2400" dirty="0"/>
              <a:t>Pitfalls of doing this include no suitable weights and duplicate cases</a:t>
            </a:r>
          </a:p>
          <a:p>
            <a:pPr marL="457200" indent="-457200">
              <a:buFont typeface="Arial" panose="020B0604020202020204" pitchFamily="34" charset="0"/>
              <a:buChar char="•"/>
            </a:pPr>
            <a:r>
              <a:rPr lang="en-GB" sz="2400" dirty="0"/>
              <a:t>The LFS and APS datasets available should allow you to carry out all permitted analysis</a:t>
            </a:r>
          </a:p>
          <a:p>
            <a:pPr marL="457200" indent="-457200">
              <a:buFont typeface="Arial" panose="020B0604020202020204" pitchFamily="34" charset="0"/>
              <a:buChar char="•"/>
            </a:pPr>
            <a:r>
              <a:rPr lang="en-GB" sz="2400" dirty="0"/>
              <a:t>Data linking procedure links cases across waves using</a:t>
            </a:r>
          </a:p>
          <a:p>
            <a:pPr marL="925200" lvl="1" indent="-457200">
              <a:buFont typeface="Wingdings" panose="05000000000000000000" pitchFamily="2" charset="2"/>
              <a:buChar char="ü"/>
            </a:pPr>
            <a:r>
              <a:rPr lang="en-GB" sz="2400" dirty="0"/>
              <a:t>A unique case identifier (not available via UKDS)</a:t>
            </a:r>
          </a:p>
          <a:p>
            <a:pPr marL="925200" lvl="1" indent="-457200">
              <a:buFont typeface="Wingdings" panose="05000000000000000000" pitchFamily="2" charset="2"/>
              <a:buChar char="ü"/>
            </a:pPr>
            <a:r>
              <a:rPr lang="en-GB" sz="2400" dirty="0"/>
              <a:t>Sex</a:t>
            </a:r>
          </a:p>
          <a:p>
            <a:pPr marL="925200" lvl="1" indent="-457200">
              <a:buFont typeface="Wingdings" panose="05000000000000000000" pitchFamily="2" charset="2"/>
              <a:buChar char="ü"/>
            </a:pPr>
            <a:r>
              <a:rPr lang="en-GB" sz="2400" dirty="0" err="1"/>
              <a:t>DoB</a:t>
            </a:r>
            <a:endParaRPr lang="en-GB" sz="2400" dirty="0"/>
          </a:p>
          <a:p>
            <a:pPr marL="457200" indent="-457200">
              <a:buFont typeface="Arial" panose="020B0604020202020204" pitchFamily="34" charset="0"/>
              <a:buChar char="•"/>
            </a:pPr>
            <a:r>
              <a:rPr lang="en-GB" sz="2400" dirty="0"/>
              <a:t>Name and address information not available on any LFS/APS datasets</a:t>
            </a:r>
          </a:p>
          <a:p>
            <a:pPr marL="457200" indent="-457200">
              <a:buFont typeface="Arial" panose="020B0604020202020204" pitchFamily="34" charset="0"/>
              <a:buChar char="•"/>
            </a:pPr>
            <a:r>
              <a:rPr lang="en-GB" sz="2400" dirty="0"/>
              <a:t>Pseudo identifiers available on LFS UKDS datasets</a:t>
            </a:r>
          </a:p>
        </p:txBody>
      </p:sp>
    </p:spTree>
    <p:extLst>
      <p:ext uri="{BB962C8B-B14F-4D97-AF65-F5344CB8AC3E}">
        <p14:creationId xmlns:p14="http://schemas.microsoft.com/office/powerpoint/2010/main" val="28263452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66122F9-E85B-456B-882A-84FAEF6695DE}"/>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7636BD36-1F4A-4ADC-99D4-38FF10698966}"/>
              </a:ext>
            </a:extLst>
          </p:cNvPr>
          <p:cNvSpPr>
            <a:spLocks noGrp="1"/>
          </p:cNvSpPr>
          <p:nvPr>
            <p:ph type="title"/>
          </p:nvPr>
        </p:nvSpPr>
        <p:spPr>
          <a:xfrm>
            <a:off x="838200" y="620354"/>
            <a:ext cx="10515600" cy="467820"/>
          </a:xfrm>
        </p:spPr>
        <p:txBody>
          <a:bodyPr/>
          <a:lstStyle/>
          <a:p>
            <a:r>
              <a:rPr lang="en-GB" dirty="0"/>
              <a:t>Which dataset to use when?</a:t>
            </a:r>
          </a:p>
        </p:txBody>
      </p:sp>
      <p:sp>
        <p:nvSpPr>
          <p:cNvPr id="4" name="Content Placeholder 3">
            <a:extLst>
              <a:ext uri="{FF2B5EF4-FFF2-40B4-BE49-F238E27FC236}">
                <a16:creationId xmlns:a16="http://schemas.microsoft.com/office/drawing/2014/main" id="{92A02158-380F-4203-B998-32FAE266A8BF}"/>
              </a:ext>
            </a:extLst>
          </p:cNvPr>
          <p:cNvSpPr>
            <a:spLocks noGrp="1"/>
          </p:cNvSpPr>
          <p:nvPr>
            <p:ph idx="1"/>
          </p:nvPr>
        </p:nvSpPr>
        <p:spPr>
          <a:xfrm>
            <a:off x="838199" y="1267313"/>
            <a:ext cx="11070772" cy="5171993"/>
          </a:xfrm>
        </p:spPr>
        <p:txBody>
          <a:bodyPr/>
          <a:lstStyle/>
          <a:p>
            <a:pPr marL="457200" indent="-457200">
              <a:buFont typeface="Arial" panose="020B0604020202020204" pitchFamily="34" charset="0"/>
              <a:buChar char="•"/>
            </a:pPr>
            <a:r>
              <a:rPr lang="en-GB" sz="2400" dirty="0"/>
              <a:t>Analysis on sexual orientation				</a:t>
            </a:r>
            <a:r>
              <a:rPr lang="en-GB" sz="2400" dirty="0">
                <a:sym typeface="Wingdings" panose="05000000000000000000" pitchFamily="2" charset="2"/>
              </a:rPr>
              <a:t> APS person (SIDWT)</a:t>
            </a:r>
          </a:p>
          <a:p>
            <a:pPr marL="457200" indent="-457200">
              <a:buFont typeface="Arial" panose="020B0604020202020204" pitchFamily="34" charset="0"/>
              <a:buChar char="•"/>
            </a:pPr>
            <a:r>
              <a:rPr lang="en-GB" sz="2400" dirty="0">
                <a:sym typeface="Wingdings" panose="05000000000000000000" pitchFamily="2" charset="2"/>
              </a:rPr>
              <a:t>Analysis on wellbeing					 APS person (NPWT)</a:t>
            </a:r>
          </a:p>
          <a:p>
            <a:pPr marL="457200" indent="-457200">
              <a:buFont typeface="Arial" panose="020B0604020202020204" pitchFamily="34" charset="0"/>
              <a:buChar char="•"/>
            </a:pPr>
            <a:r>
              <a:rPr lang="en-GB" sz="2400" dirty="0">
                <a:sym typeface="Wingdings" panose="05000000000000000000" pitchFamily="2" charset="2"/>
              </a:rPr>
              <a:t>Analysis on earnings below reg. level			 APS Person (PIWTA)</a:t>
            </a:r>
          </a:p>
          <a:p>
            <a:pPr marL="457200" indent="-457200">
              <a:buFont typeface="Arial" panose="020B0604020202020204" pitchFamily="34" charset="0"/>
              <a:buChar char="•"/>
            </a:pPr>
            <a:r>
              <a:rPr lang="en-GB" sz="2400" dirty="0">
                <a:sym typeface="Wingdings" panose="05000000000000000000" pitchFamily="2" charset="2"/>
              </a:rPr>
              <a:t>Analysis on other topics below reg. level		 APS Person (PWTA)</a:t>
            </a:r>
          </a:p>
          <a:p>
            <a:pPr marL="457200" indent="-457200">
              <a:buFont typeface="Arial" panose="020B0604020202020204" pitchFamily="34" charset="0"/>
              <a:buChar char="•"/>
            </a:pPr>
            <a:r>
              <a:rPr lang="en-GB" sz="2400" dirty="0">
                <a:sym typeface="Wingdings" panose="05000000000000000000" pitchFamily="2" charset="2"/>
              </a:rPr>
              <a:t>Analysis on earnings at or above reg. level		 LFS Person (PIWT)</a:t>
            </a:r>
          </a:p>
          <a:p>
            <a:pPr marL="457200" indent="-457200">
              <a:buFont typeface="Arial" panose="020B0604020202020204" pitchFamily="34" charset="0"/>
              <a:buChar char="•"/>
            </a:pPr>
            <a:r>
              <a:rPr lang="en-GB" sz="2400" dirty="0">
                <a:sym typeface="Wingdings" panose="05000000000000000000" pitchFamily="2" charset="2"/>
              </a:rPr>
              <a:t>Analysis on other topics at or above reg. level	 LFS Person (PWT)</a:t>
            </a:r>
          </a:p>
          <a:p>
            <a:pPr marL="457200" indent="-457200">
              <a:buFont typeface="Arial" panose="020B0604020202020204" pitchFamily="34" charset="0"/>
              <a:buChar char="•"/>
            </a:pPr>
            <a:r>
              <a:rPr lang="en-GB" sz="2400" dirty="0">
                <a:sym typeface="Wingdings" panose="05000000000000000000" pitchFamily="2" charset="2"/>
              </a:rPr>
              <a:t>Longitudinal analysis below regional level		 APS Person 2yr (LGWT)</a:t>
            </a:r>
          </a:p>
          <a:p>
            <a:pPr marL="457200" indent="-457200">
              <a:buFont typeface="Arial" panose="020B0604020202020204" pitchFamily="34" charset="0"/>
              <a:buChar char="•"/>
            </a:pPr>
            <a:r>
              <a:rPr lang="en-GB" sz="2400" dirty="0">
                <a:sym typeface="Wingdings" panose="05000000000000000000" pitchFamily="2" charset="2"/>
              </a:rPr>
              <a:t>Longitudinal analysis at or above regional level	 LFS 2Q or 5Q (LGWT)</a:t>
            </a:r>
          </a:p>
          <a:p>
            <a:pPr marL="457200" indent="-457200">
              <a:buFont typeface="Arial" panose="020B0604020202020204" pitchFamily="34" charset="0"/>
              <a:buChar char="•"/>
            </a:pPr>
            <a:r>
              <a:rPr lang="en-GB" sz="2400" dirty="0">
                <a:sym typeface="Wingdings" panose="05000000000000000000" pitchFamily="2" charset="2"/>
              </a:rPr>
              <a:t>Analysis at </a:t>
            </a:r>
            <a:r>
              <a:rPr lang="en-GB" sz="2400" dirty="0" err="1">
                <a:sym typeface="Wingdings" panose="05000000000000000000" pitchFamily="2" charset="2"/>
              </a:rPr>
              <a:t>hhold</a:t>
            </a:r>
            <a:r>
              <a:rPr lang="en-GB" sz="2400" dirty="0">
                <a:sym typeface="Wingdings" panose="05000000000000000000" pitchFamily="2" charset="2"/>
              </a:rPr>
              <a:t>/family level below reg. level	 APS </a:t>
            </a:r>
            <a:r>
              <a:rPr lang="en-GB" sz="2400" dirty="0" err="1">
                <a:sym typeface="Wingdings" panose="05000000000000000000" pitchFamily="2" charset="2"/>
              </a:rPr>
              <a:t>Hhold</a:t>
            </a:r>
            <a:r>
              <a:rPr lang="en-GB" sz="2400" dirty="0">
                <a:sym typeface="Wingdings" panose="05000000000000000000" pitchFamily="2" charset="2"/>
              </a:rPr>
              <a:t> (PHHWTA)</a:t>
            </a:r>
          </a:p>
          <a:p>
            <a:pPr marL="457200" indent="-457200">
              <a:buFont typeface="Arial" panose="020B0604020202020204" pitchFamily="34" charset="0"/>
              <a:buChar char="•"/>
            </a:pPr>
            <a:r>
              <a:rPr lang="en-GB" sz="2400" dirty="0">
                <a:sym typeface="Wingdings" panose="05000000000000000000" pitchFamily="2" charset="2"/>
              </a:rPr>
              <a:t>Analysis at </a:t>
            </a:r>
            <a:r>
              <a:rPr lang="en-GB" sz="2400" dirty="0" err="1">
                <a:sym typeface="Wingdings" panose="05000000000000000000" pitchFamily="2" charset="2"/>
              </a:rPr>
              <a:t>hhold</a:t>
            </a:r>
            <a:r>
              <a:rPr lang="en-GB" sz="2400" dirty="0">
                <a:sym typeface="Wingdings" panose="05000000000000000000" pitchFamily="2" charset="2"/>
              </a:rPr>
              <a:t>/family level at or above reg. level LFS </a:t>
            </a:r>
            <a:r>
              <a:rPr lang="en-GB" sz="2400" dirty="0" err="1">
                <a:sym typeface="Wingdings" panose="05000000000000000000" pitchFamily="2" charset="2"/>
              </a:rPr>
              <a:t>Hhold</a:t>
            </a:r>
            <a:r>
              <a:rPr lang="en-GB" sz="2400" dirty="0">
                <a:sym typeface="Wingdings" panose="05000000000000000000" pitchFamily="2" charset="2"/>
              </a:rPr>
              <a:t> (PHHWT)</a:t>
            </a:r>
          </a:p>
          <a:p>
            <a:pPr marL="457200" indent="-457200">
              <a:buFont typeface="Arial" panose="020B0604020202020204" pitchFamily="34" charset="0"/>
              <a:buChar char="•"/>
            </a:pPr>
            <a:endParaRPr lang="en-GB" sz="2400" dirty="0"/>
          </a:p>
        </p:txBody>
      </p:sp>
      <p:sp>
        <p:nvSpPr>
          <p:cNvPr id="5" name="Rectangle 4">
            <a:extLst>
              <a:ext uri="{FF2B5EF4-FFF2-40B4-BE49-F238E27FC236}">
                <a16:creationId xmlns:a16="http://schemas.microsoft.com/office/drawing/2014/main" id="{DE66C4EA-F106-4E3C-A0FE-037AFCB3AB42}"/>
              </a:ext>
            </a:extLst>
          </p:cNvPr>
          <p:cNvSpPr/>
          <p:nvPr/>
        </p:nvSpPr>
        <p:spPr>
          <a:xfrm>
            <a:off x="718457" y="1267314"/>
            <a:ext cx="11190514" cy="1813344"/>
          </a:xfrm>
          <a:prstGeom prst="rect">
            <a:avLst/>
          </a:prstGeom>
          <a:noFill/>
          <a:ln w="57150">
            <a:solidFill>
              <a:srgbClr val="B2C55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A09BB478-C416-4A0B-9107-728160F3B282}"/>
              </a:ext>
            </a:extLst>
          </p:cNvPr>
          <p:cNvSpPr/>
          <p:nvPr/>
        </p:nvSpPr>
        <p:spPr>
          <a:xfrm>
            <a:off x="718457" y="3189515"/>
            <a:ext cx="11190514" cy="859972"/>
          </a:xfrm>
          <a:prstGeom prst="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3E95872B-46AE-49D7-ABB2-630566F06521}"/>
              </a:ext>
            </a:extLst>
          </p:cNvPr>
          <p:cNvSpPr/>
          <p:nvPr/>
        </p:nvSpPr>
        <p:spPr>
          <a:xfrm>
            <a:off x="718457" y="4151981"/>
            <a:ext cx="11190514" cy="801020"/>
          </a:xfrm>
          <a:prstGeom prst="rect">
            <a:avLst/>
          </a:prstGeom>
          <a:noFill/>
          <a:ln w="571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C274B223-51FB-49D9-8804-2F73AA1007E4}"/>
              </a:ext>
            </a:extLst>
          </p:cNvPr>
          <p:cNvSpPr/>
          <p:nvPr/>
        </p:nvSpPr>
        <p:spPr>
          <a:xfrm>
            <a:off x="718457" y="5055495"/>
            <a:ext cx="11190514" cy="801020"/>
          </a:xfrm>
          <a:prstGeom prst="rect">
            <a:avLst/>
          </a:prstGeom>
          <a:noFill/>
          <a:ln w="571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870191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FFBF328-1D36-45C8-94B3-B1385F453DE8}"/>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77334365-3B0B-4588-8EDC-9BEBF7F9B32D}"/>
              </a:ext>
            </a:extLst>
          </p:cNvPr>
          <p:cNvSpPr>
            <a:spLocks noGrp="1"/>
          </p:cNvSpPr>
          <p:nvPr>
            <p:ph type="title"/>
          </p:nvPr>
        </p:nvSpPr>
        <p:spPr/>
        <p:txBody>
          <a:bodyPr/>
          <a:lstStyle/>
          <a:p>
            <a:r>
              <a:rPr lang="en-GB" dirty="0">
                <a:solidFill>
                  <a:schemeClr val="accent1"/>
                </a:solidFill>
              </a:rPr>
              <a:t>How to get started…</a:t>
            </a:r>
            <a:endParaRPr lang="en-GB" dirty="0"/>
          </a:p>
        </p:txBody>
      </p:sp>
      <p:sp>
        <p:nvSpPr>
          <p:cNvPr id="4" name="Content Placeholder 3">
            <a:extLst>
              <a:ext uri="{FF2B5EF4-FFF2-40B4-BE49-F238E27FC236}">
                <a16:creationId xmlns:a16="http://schemas.microsoft.com/office/drawing/2014/main" id="{A514A491-ECCA-46B7-B0EA-10094B69DB23}"/>
              </a:ext>
            </a:extLst>
          </p:cNvPr>
          <p:cNvSpPr>
            <a:spLocks noGrp="1"/>
          </p:cNvSpPr>
          <p:nvPr>
            <p:ph idx="1"/>
          </p:nvPr>
        </p:nvSpPr>
        <p:spPr>
          <a:xfrm>
            <a:off x="838200" y="1245542"/>
            <a:ext cx="10515600" cy="4868064"/>
          </a:xfrm>
        </p:spPr>
        <p:txBody>
          <a:bodyPr/>
          <a:lstStyle/>
          <a:p>
            <a:pPr marL="285750" indent="-285750">
              <a:buFont typeface="Arial" panose="020B0604020202020204" pitchFamily="34" charset="0"/>
              <a:buChar char="•"/>
            </a:pPr>
            <a:r>
              <a:rPr lang="en-GB" sz="1800" dirty="0">
                <a:solidFill>
                  <a:schemeClr val="accent1"/>
                </a:solidFill>
                <a:sym typeface="Symbol" pitchFamily="18" charset="2"/>
              </a:rPr>
              <a:t>Always refer to LFS/APS user guides first:</a:t>
            </a:r>
          </a:p>
          <a:p>
            <a:pPr marL="477838" lvl="1" indent="0">
              <a:buFont typeface="Wingdings" pitchFamily="2" charset="2"/>
              <a:buChar char="Ø"/>
            </a:pPr>
            <a:r>
              <a:rPr lang="en-GB" sz="1800" dirty="0">
                <a:solidFill>
                  <a:schemeClr val="accent1"/>
                </a:solidFill>
                <a:sym typeface="Symbol" pitchFamily="18" charset="2"/>
              </a:rPr>
              <a:t>UG1 – LFS (and some APS) Methodology</a:t>
            </a:r>
          </a:p>
          <a:p>
            <a:pPr marL="477838" lvl="1" indent="0">
              <a:buFont typeface="Wingdings" pitchFamily="2" charset="2"/>
              <a:buChar char="Ø"/>
            </a:pPr>
            <a:r>
              <a:rPr lang="en-GB" sz="1800" dirty="0">
                <a:solidFill>
                  <a:schemeClr val="accent1"/>
                </a:solidFill>
                <a:sym typeface="Symbol" pitchFamily="18" charset="2"/>
              </a:rPr>
              <a:t>UG2 to UG4 – Questionnaire and Derived Variables</a:t>
            </a:r>
          </a:p>
          <a:p>
            <a:pPr marL="477838" lvl="1" indent="0">
              <a:buFont typeface="Wingdings" pitchFamily="2" charset="2"/>
              <a:buChar char="Ø"/>
            </a:pPr>
            <a:r>
              <a:rPr lang="en-GB" sz="1800" dirty="0">
                <a:solidFill>
                  <a:schemeClr val="accent1"/>
                </a:solidFill>
                <a:sym typeface="Symbol" pitchFamily="18" charset="2"/>
              </a:rPr>
              <a:t>UG5 – Classifications (SIC/SOC)</a:t>
            </a:r>
          </a:p>
          <a:p>
            <a:pPr marL="477838" lvl="1" indent="0">
              <a:buFont typeface="Wingdings" pitchFamily="2" charset="2"/>
              <a:buChar char="Ø"/>
            </a:pPr>
            <a:r>
              <a:rPr lang="en-GB" sz="1800" dirty="0">
                <a:solidFill>
                  <a:schemeClr val="accent1"/>
                </a:solidFill>
                <a:sym typeface="Symbol" pitchFamily="18" charset="2"/>
              </a:rPr>
              <a:t>UG 6 - APS </a:t>
            </a:r>
          </a:p>
          <a:p>
            <a:pPr marL="477838" lvl="1" indent="0">
              <a:buFont typeface="Wingdings" pitchFamily="2" charset="2"/>
              <a:buChar char="Ø"/>
            </a:pPr>
            <a:r>
              <a:rPr lang="en-GB" sz="1800" dirty="0">
                <a:solidFill>
                  <a:schemeClr val="accent1"/>
                </a:solidFill>
                <a:sym typeface="Symbol" pitchFamily="18" charset="2"/>
              </a:rPr>
              <a:t>UG8 – Household  and family variables</a:t>
            </a:r>
          </a:p>
          <a:p>
            <a:pPr marL="477838" lvl="1" indent="0">
              <a:buFont typeface="Wingdings" pitchFamily="2" charset="2"/>
              <a:buChar char="Ø"/>
            </a:pPr>
            <a:r>
              <a:rPr lang="en-GB" sz="1800" dirty="0">
                <a:solidFill>
                  <a:schemeClr val="accent1"/>
                </a:solidFill>
                <a:sym typeface="Symbol" pitchFamily="18" charset="2"/>
              </a:rPr>
              <a:t>UG9 – Eurostat</a:t>
            </a:r>
          </a:p>
          <a:p>
            <a:pPr marL="477838" lvl="1" indent="0">
              <a:buFont typeface="Wingdings" pitchFamily="2" charset="2"/>
              <a:buChar char="Ø"/>
            </a:pPr>
            <a:r>
              <a:rPr lang="en-GB" sz="1800" dirty="0">
                <a:solidFill>
                  <a:schemeClr val="accent1"/>
                </a:solidFill>
                <a:sym typeface="Symbol" pitchFamily="18" charset="2"/>
              </a:rPr>
              <a:t>UG10 – Advice on which dataset to use</a:t>
            </a:r>
          </a:p>
          <a:p>
            <a:pPr marL="763588" lvl="1" indent="-285750">
              <a:buFont typeface="Wingdings" panose="05000000000000000000" pitchFamily="2" charset="2"/>
              <a:buChar char="Ø"/>
            </a:pPr>
            <a:r>
              <a:rPr lang="en-GB" sz="1800" dirty="0">
                <a:solidFill>
                  <a:schemeClr val="accent1"/>
                </a:solidFill>
                <a:sym typeface="Symbol" pitchFamily="18" charset="2"/>
              </a:rPr>
              <a:t>UG11 – Longitudinal</a:t>
            </a:r>
          </a:p>
          <a:p>
            <a:pPr marL="352738" indent="-342900">
              <a:buFont typeface="Arial" panose="020B0604020202020204" pitchFamily="34" charset="0"/>
              <a:buChar char="•"/>
            </a:pPr>
            <a:r>
              <a:rPr lang="en-GB" sz="2200" dirty="0">
                <a:sym typeface="Symbol" pitchFamily="18" charset="2"/>
              </a:rPr>
              <a:t>Key things depending on your analysis:</a:t>
            </a:r>
          </a:p>
          <a:p>
            <a:pPr marL="477838" lvl="1" indent="0">
              <a:buFont typeface="Wingdings" pitchFamily="2" charset="2"/>
              <a:buChar char="Ø"/>
            </a:pPr>
            <a:r>
              <a:rPr lang="en-GB" sz="1800" dirty="0">
                <a:solidFill>
                  <a:schemeClr val="tx1"/>
                </a:solidFill>
                <a:sym typeface="Symbol" pitchFamily="18" charset="2"/>
              </a:rPr>
              <a:t>Use the correct dataset</a:t>
            </a:r>
          </a:p>
          <a:p>
            <a:pPr marL="477838" lvl="1" indent="0">
              <a:buFont typeface="Wingdings" pitchFamily="2" charset="2"/>
              <a:buChar char="Ø"/>
            </a:pPr>
            <a:r>
              <a:rPr lang="en-GB" sz="1800" dirty="0">
                <a:solidFill>
                  <a:schemeClr val="tx1"/>
                </a:solidFill>
                <a:sym typeface="Symbol" pitchFamily="18" charset="2"/>
              </a:rPr>
              <a:t>Use the correct weight </a:t>
            </a:r>
          </a:p>
          <a:p>
            <a:pPr marL="477838" lvl="1" indent="0">
              <a:buFont typeface="Wingdings" pitchFamily="2" charset="2"/>
              <a:buChar char="Ø"/>
            </a:pPr>
            <a:r>
              <a:rPr lang="en-GB" sz="1800" dirty="0">
                <a:solidFill>
                  <a:schemeClr val="tx1"/>
                </a:solidFill>
                <a:sym typeface="Symbol" pitchFamily="18" charset="2"/>
              </a:rPr>
              <a:t>Use the correct variables</a:t>
            </a:r>
            <a:endParaRPr lang="en-GB" dirty="0"/>
          </a:p>
        </p:txBody>
      </p:sp>
    </p:spTree>
    <p:extLst>
      <p:ext uri="{BB962C8B-B14F-4D97-AF65-F5344CB8AC3E}">
        <p14:creationId xmlns:p14="http://schemas.microsoft.com/office/powerpoint/2010/main" val="36346603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D47265F-E2C1-41CA-B63A-C53F72E0EF05}"/>
              </a:ext>
            </a:extLst>
          </p:cNvPr>
          <p:cNvSpPr>
            <a:spLocks noGrp="1"/>
          </p:cNvSpPr>
          <p:nvPr>
            <p:ph type="title"/>
          </p:nvPr>
        </p:nvSpPr>
        <p:spPr>
          <a:xfrm>
            <a:off x="838200" y="2142152"/>
            <a:ext cx="10515600" cy="2426818"/>
          </a:xfrm>
        </p:spPr>
        <p:txBody>
          <a:bodyPr/>
          <a:lstStyle/>
          <a:p>
            <a:pPr algn="ctr"/>
            <a:r>
              <a:rPr lang="en-GB" sz="16600" dirty="0"/>
              <a:t>Q&amp;A</a:t>
            </a:r>
          </a:p>
        </p:txBody>
      </p:sp>
    </p:spTree>
    <p:extLst>
      <p:ext uri="{BB962C8B-B14F-4D97-AF65-F5344CB8AC3E}">
        <p14:creationId xmlns:p14="http://schemas.microsoft.com/office/powerpoint/2010/main" val="24517113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838200" y="1213174"/>
            <a:ext cx="10931234" cy="3785652"/>
          </a:xfrm>
          <a:prstGeom prst="rect">
            <a:avLst/>
          </a:prstGeom>
        </p:spPr>
        <p:txBody>
          <a:bodyPr wrap="square" lIns="73152" tIns="0" rIns="0" bIns="0">
            <a:spAutoFit/>
          </a:bodyPr>
          <a:lstStyle/>
          <a:p>
            <a:pPr marL="342900" indent="-342900">
              <a:spcAft>
                <a:spcPts val="600"/>
              </a:spcAft>
              <a:buFont typeface="Arial" panose="020B0604020202020204" pitchFamily="34" charset="0"/>
              <a:buChar char="•"/>
            </a:pPr>
            <a:r>
              <a:rPr lang="en-GB" dirty="0">
                <a:solidFill>
                  <a:srgbClr val="002060"/>
                </a:solidFill>
                <a:sym typeface="Symbol" pitchFamily="18" charset="2"/>
              </a:rPr>
              <a:t>Around </a:t>
            </a:r>
            <a:r>
              <a:rPr lang="en-GB" b="1" u="sng" dirty="0">
                <a:solidFill>
                  <a:schemeClr val="folHlink"/>
                </a:solidFill>
                <a:sym typeface="Symbol" pitchFamily="18" charset="2"/>
              </a:rPr>
              <a:t>75,000 households</a:t>
            </a:r>
            <a:r>
              <a:rPr lang="en-GB" dirty="0">
                <a:solidFill>
                  <a:schemeClr val="bg1"/>
                </a:solidFill>
                <a:sym typeface="Symbol" pitchFamily="18" charset="2"/>
              </a:rPr>
              <a:t> </a:t>
            </a:r>
            <a:r>
              <a:rPr lang="en-GB" dirty="0">
                <a:solidFill>
                  <a:srgbClr val="002060"/>
                </a:solidFill>
                <a:sym typeface="Symbol" pitchFamily="18" charset="2"/>
              </a:rPr>
              <a:t>sampled each quarter for the LFS and around </a:t>
            </a:r>
            <a:r>
              <a:rPr lang="en-GB" b="1" u="sng" dirty="0">
                <a:solidFill>
                  <a:schemeClr val="folHlink"/>
                </a:solidFill>
                <a:sym typeface="Symbol" pitchFamily="18" charset="2"/>
              </a:rPr>
              <a:t>40,000 households</a:t>
            </a:r>
            <a:r>
              <a:rPr lang="en-GB" dirty="0">
                <a:solidFill>
                  <a:schemeClr val="bg1"/>
                </a:solidFill>
                <a:sym typeface="Symbol" pitchFamily="18" charset="2"/>
              </a:rPr>
              <a:t> </a:t>
            </a:r>
            <a:r>
              <a:rPr lang="en-GB" dirty="0">
                <a:solidFill>
                  <a:srgbClr val="002060"/>
                </a:solidFill>
                <a:sym typeface="Symbol" pitchFamily="18" charset="2"/>
              </a:rPr>
              <a:t>take part</a:t>
            </a:r>
          </a:p>
          <a:p>
            <a:pPr marL="342900" indent="-342900">
              <a:spcAft>
                <a:spcPts val="600"/>
              </a:spcAft>
              <a:buFont typeface="Arial" panose="020B0604020202020204" pitchFamily="34" charset="0"/>
              <a:buChar char="•"/>
            </a:pPr>
            <a:r>
              <a:rPr lang="en-GB" dirty="0">
                <a:solidFill>
                  <a:srgbClr val="002060"/>
                </a:solidFill>
              </a:rPr>
              <a:t>This equals around </a:t>
            </a:r>
            <a:r>
              <a:rPr lang="en-GB" b="1" u="sng" dirty="0">
                <a:solidFill>
                  <a:schemeClr val="folHlink"/>
                </a:solidFill>
              </a:rPr>
              <a:t>90,000 individuals</a:t>
            </a:r>
            <a:r>
              <a:rPr lang="en-GB" dirty="0">
                <a:solidFill>
                  <a:schemeClr val="bg1"/>
                </a:solidFill>
              </a:rPr>
              <a:t> </a:t>
            </a:r>
            <a:br>
              <a:rPr lang="en-GB" dirty="0">
                <a:solidFill>
                  <a:schemeClr val="bg1"/>
                </a:solidFill>
              </a:rPr>
            </a:br>
            <a:r>
              <a:rPr lang="en-GB" dirty="0">
                <a:solidFill>
                  <a:srgbClr val="002060"/>
                </a:solidFill>
              </a:rPr>
              <a:t>every quarter</a:t>
            </a:r>
          </a:p>
          <a:p>
            <a:pPr marL="342900" indent="-342900">
              <a:spcAft>
                <a:spcPts val="600"/>
              </a:spcAft>
              <a:buFont typeface="Arial" panose="020B0604020202020204" pitchFamily="34" charset="0"/>
              <a:buChar char="•"/>
            </a:pPr>
            <a:r>
              <a:rPr lang="en-GB" dirty="0">
                <a:solidFill>
                  <a:srgbClr val="002060"/>
                </a:solidFill>
              </a:rPr>
              <a:t>Sample intended to be representative of the </a:t>
            </a:r>
            <a:br>
              <a:rPr lang="en-GB" dirty="0">
                <a:solidFill>
                  <a:srgbClr val="002060"/>
                </a:solidFill>
              </a:rPr>
            </a:br>
            <a:r>
              <a:rPr lang="en-GB" dirty="0">
                <a:solidFill>
                  <a:srgbClr val="002060"/>
                </a:solidFill>
              </a:rPr>
              <a:t>entire population</a:t>
            </a:r>
          </a:p>
          <a:p>
            <a:pPr marL="342900" indent="-342900">
              <a:spcAft>
                <a:spcPts val="600"/>
              </a:spcAft>
              <a:buFont typeface="Arial" panose="020B0604020202020204" pitchFamily="34" charset="0"/>
              <a:buChar char="•"/>
            </a:pPr>
            <a:r>
              <a:rPr lang="en-GB" dirty="0">
                <a:solidFill>
                  <a:srgbClr val="002060"/>
                </a:solidFill>
              </a:rPr>
              <a:t>Therefore each case weighted by age, sex and </a:t>
            </a:r>
            <a:br>
              <a:rPr lang="en-GB" dirty="0">
                <a:solidFill>
                  <a:srgbClr val="002060"/>
                </a:solidFill>
              </a:rPr>
            </a:br>
            <a:r>
              <a:rPr lang="en-GB" dirty="0">
                <a:solidFill>
                  <a:srgbClr val="002060"/>
                </a:solidFill>
              </a:rPr>
              <a:t>geography</a:t>
            </a:r>
          </a:p>
          <a:p>
            <a:pPr marL="342900" indent="-342900">
              <a:spcAft>
                <a:spcPts val="600"/>
              </a:spcAft>
              <a:buFont typeface="Arial" panose="020B0604020202020204" pitchFamily="34" charset="0"/>
              <a:buChar char="•"/>
            </a:pPr>
            <a:r>
              <a:rPr lang="en-GB" dirty="0">
                <a:solidFill>
                  <a:srgbClr val="002060"/>
                </a:solidFill>
              </a:rPr>
              <a:t>65 million people </a:t>
            </a:r>
            <a:r>
              <a:rPr lang="en-GB" b="1" dirty="0">
                <a:solidFill>
                  <a:srgbClr val="002060"/>
                </a:solidFill>
                <a:sym typeface="Symbol" pitchFamily="18" charset="2"/>
              </a:rPr>
              <a:t> </a:t>
            </a:r>
            <a:r>
              <a:rPr lang="en-GB" dirty="0">
                <a:solidFill>
                  <a:srgbClr val="002060"/>
                </a:solidFill>
                <a:sym typeface="Symbol" pitchFamily="18" charset="2"/>
              </a:rPr>
              <a:t>90,000 =  each respondent is </a:t>
            </a:r>
            <a:br>
              <a:rPr lang="en-GB" dirty="0">
                <a:solidFill>
                  <a:srgbClr val="002060"/>
                </a:solidFill>
                <a:sym typeface="Symbol" pitchFamily="18" charset="2"/>
              </a:rPr>
            </a:br>
            <a:r>
              <a:rPr lang="en-GB" dirty="0">
                <a:solidFill>
                  <a:srgbClr val="002060"/>
                </a:solidFill>
                <a:sym typeface="Symbol" pitchFamily="18" charset="2"/>
              </a:rPr>
              <a:t>equivalent to approximately</a:t>
            </a:r>
            <a:r>
              <a:rPr lang="en-GB" dirty="0">
                <a:solidFill>
                  <a:schemeClr val="bg1"/>
                </a:solidFill>
                <a:sym typeface="Symbol" pitchFamily="18" charset="2"/>
              </a:rPr>
              <a:t> </a:t>
            </a:r>
            <a:r>
              <a:rPr lang="en-GB" b="1" u="sng" dirty="0">
                <a:solidFill>
                  <a:schemeClr val="folHlink"/>
                </a:solidFill>
                <a:sym typeface="Symbol" pitchFamily="18" charset="2"/>
              </a:rPr>
              <a:t>800</a:t>
            </a:r>
            <a:r>
              <a:rPr lang="en-GB" dirty="0">
                <a:solidFill>
                  <a:schemeClr val="bg1"/>
                </a:solidFill>
                <a:sym typeface="Symbol" pitchFamily="18" charset="2"/>
              </a:rPr>
              <a:t> </a:t>
            </a:r>
            <a:r>
              <a:rPr lang="en-GB" dirty="0">
                <a:solidFill>
                  <a:srgbClr val="002060"/>
                </a:solidFill>
                <a:sym typeface="Symbol" pitchFamily="18" charset="2"/>
              </a:rPr>
              <a:t>people</a:t>
            </a:r>
          </a:p>
          <a:p>
            <a:pPr marL="342900" indent="-342900">
              <a:spcAft>
                <a:spcPts val="600"/>
              </a:spcAft>
              <a:buFont typeface="Arial" panose="020B0604020202020204" pitchFamily="34" charset="0"/>
              <a:buChar char="•"/>
            </a:pPr>
            <a:r>
              <a:rPr lang="en-GB" dirty="0">
                <a:solidFill>
                  <a:srgbClr val="002060"/>
                </a:solidFill>
              </a:rPr>
              <a:t>75+ households and multiple households will have much larger weights</a:t>
            </a:r>
          </a:p>
          <a:p>
            <a:pPr marL="342900" indent="-342900">
              <a:spcAft>
                <a:spcPts val="600"/>
              </a:spcAft>
              <a:buFont typeface="Arial" panose="020B0604020202020204" pitchFamily="34" charset="0"/>
              <a:buChar char="•"/>
            </a:pPr>
            <a:r>
              <a:rPr lang="en-GB" dirty="0">
                <a:solidFill>
                  <a:srgbClr val="002060"/>
                </a:solidFill>
                <a:sym typeface="Symbol" pitchFamily="18" charset="2"/>
              </a:rPr>
              <a:t>The LFS is not of a sufficient size to allow for analysis at below Regional level</a:t>
            </a:r>
            <a:endParaRPr lang="en-GB" dirty="0">
              <a:solidFill>
                <a:srgbClr val="002060"/>
              </a:solidFill>
            </a:endParaRPr>
          </a:p>
        </p:txBody>
      </p:sp>
      <p:sp>
        <p:nvSpPr>
          <p:cNvPr id="44" name="Title 43">
            <a:extLst>
              <a:ext uri="{FF2B5EF4-FFF2-40B4-BE49-F238E27FC236}">
                <a16:creationId xmlns:a16="http://schemas.microsoft.com/office/drawing/2014/main" id="{77C3A0EA-2AFF-4568-8C73-E06894FEA2D2}"/>
              </a:ext>
            </a:extLst>
          </p:cNvPr>
          <p:cNvSpPr>
            <a:spLocks noGrp="1"/>
          </p:cNvSpPr>
          <p:nvPr>
            <p:ph type="title"/>
          </p:nvPr>
        </p:nvSpPr>
        <p:spPr>
          <a:xfrm>
            <a:off x="838200" y="530614"/>
            <a:ext cx="10515600" cy="467820"/>
          </a:xfrm>
        </p:spPr>
        <p:txBody>
          <a:bodyPr/>
          <a:lstStyle/>
          <a:p>
            <a:r>
              <a:rPr lang="en-GB" dirty="0"/>
              <a:t>LFS Sample</a:t>
            </a:r>
          </a:p>
        </p:txBody>
      </p:sp>
      <p:pic>
        <p:nvPicPr>
          <p:cNvPr id="3074" name="Picture 2">
            <a:extLst>
              <a:ext uri="{FF2B5EF4-FFF2-40B4-BE49-F238E27FC236}">
                <a16:creationId xmlns:a16="http://schemas.microsoft.com/office/drawing/2014/main" id="{18D2D1A5-77AA-4278-9B98-A56EC8DD5F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11211" y="1706137"/>
            <a:ext cx="5458223" cy="31002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26099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28BC712-4C49-40CD-957F-8F12027AE13B}"/>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1605A74B-BFF3-447F-BF13-2DD9A266E4EB}"/>
              </a:ext>
            </a:extLst>
          </p:cNvPr>
          <p:cNvSpPr>
            <a:spLocks noGrp="1"/>
          </p:cNvSpPr>
          <p:nvPr>
            <p:ph type="title"/>
          </p:nvPr>
        </p:nvSpPr>
        <p:spPr>
          <a:xfrm>
            <a:off x="838200" y="530614"/>
            <a:ext cx="10515600" cy="467820"/>
          </a:xfrm>
        </p:spPr>
        <p:txBody>
          <a:bodyPr/>
          <a:lstStyle/>
          <a:p>
            <a:r>
              <a:rPr lang="en-GB" dirty="0"/>
              <a:t>The LFS Wave Structure</a:t>
            </a:r>
          </a:p>
        </p:txBody>
      </p:sp>
      <p:graphicFrame>
        <p:nvGraphicFramePr>
          <p:cNvPr id="5" name="Group 68">
            <a:extLst>
              <a:ext uri="{FF2B5EF4-FFF2-40B4-BE49-F238E27FC236}">
                <a16:creationId xmlns:a16="http://schemas.microsoft.com/office/drawing/2014/main" id="{8BC08AAA-A299-4E57-BC44-76924C5C0365}"/>
              </a:ext>
            </a:extLst>
          </p:cNvPr>
          <p:cNvGraphicFramePr>
            <a:graphicFrameLocks/>
          </p:cNvGraphicFramePr>
          <p:nvPr>
            <p:extLst>
              <p:ext uri="{D42A27DB-BD31-4B8C-83A1-F6EECF244321}">
                <p14:modId xmlns:p14="http://schemas.microsoft.com/office/powerpoint/2010/main" val="426124349"/>
              </p:ext>
            </p:extLst>
          </p:nvPr>
        </p:nvGraphicFramePr>
        <p:xfrm>
          <a:off x="1044575" y="4221161"/>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400" b="0" i="0" u="none" strike="noStrike" cap="none" normalizeH="0" baseline="0" dirty="0">
                          <a:ln>
                            <a:noFill/>
                          </a:ln>
                          <a:solidFill>
                            <a:schemeClr val="tx1"/>
                          </a:solidFill>
                          <a:effectLst/>
                          <a:latin typeface="Arial" charset="0"/>
                          <a:ea typeface="ＭＳ Ｐゴシック" pitchFamily="-80" charset="-128"/>
                        </a:rPr>
                        <a:t>OD20</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bl>
          </a:graphicData>
        </a:graphic>
      </p:graphicFrame>
      <p:graphicFrame>
        <p:nvGraphicFramePr>
          <p:cNvPr id="6" name="Group 75">
            <a:extLst>
              <a:ext uri="{FF2B5EF4-FFF2-40B4-BE49-F238E27FC236}">
                <a16:creationId xmlns:a16="http://schemas.microsoft.com/office/drawing/2014/main" id="{CCB8FC16-6B49-4805-8D41-0CD0A2C8DBAC}"/>
              </a:ext>
            </a:extLst>
          </p:cNvPr>
          <p:cNvGraphicFramePr>
            <a:graphicFrameLocks/>
          </p:cNvGraphicFramePr>
          <p:nvPr>
            <p:extLst>
              <p:ext uri="{D42A27DB-BD31-4B8C-83A1-F6EECF244321}">
                <p14:modId xmlns:p14="http://schemas.microsoft.com/office/powerpoint/2010/main" val="786022810"/>
              </p:ext>
            </p:extLst>
          </p:nvPr>
        </p:nvGraphicFramePr>
        <p:xfrm>
          <a:off x="1044575" y="3357563"/>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400" b="0" i="0" u="none" strike="noStrike" cap="none" normalizeH="0" baseline="0" dirty="0">
                          <a:ln>
                            <a:noFill/>
                          </a:ln>
                          <a:solidFill>
                            <a:schemeClr val="tx1"/>
                          </a:solidFill>
                          <a:effectLst/>
                          <a:latin typeface="Arial" charset="0"/>
                          <a:ea typeface="ＭＳ Ｐゴシック" pitchFamily="-80" charset="-128"/>
                        </a:rPr>
                        <a:t>JS20</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bl>
          </a:graphicData>
        </a:graphic>
      </p:graphicFrame>
      <p:graphicFrame>
        <p:nvGraphicFramePr>
          <p:cNvPr id="7" name="Group 48">
            <a:extLst>
              <a:ext uri="{FF2B5EF4-FFF2-40B4-BE49-F238E27FC236}">
                <a16:creationId xmlns:a16="http://schemas.microsoft.com/office/drawing/2014/main" id="{C711354E-37EE-4762-929A-16F2866CE7B5}"/>
              </a:ext>
            </a:extLst>
          </p:cNvPr>
          <p:cNvGraphicFramePr>
            <a:graphicFrameLocks/>
          </p:cNvGraphicFramePr>
          <p:nvPr>
            <p:extLst>
              <p:ext uri="{D42A27DB-BD31-4B8C-83A1-F6EECF244321}">
                <p14:modId xmlns:p14="http://schemas.microsoft.com/office/powerpoint/2010/main" val="776613404"/>
              </p:ext>
            </p:extLst>
          </p:nvPr>
        </p:nvGraphicFramePr>
        <p:xfrm>
          <a:off x="1044575" y="1628775"/>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400" b="0" i="0" u="none" strike="noStrike" cap="none" normalizeH="0" baseline="0" dirty="0">
                          <a:ln>
                            <a:noFill/>
                          </a:ln>
                          <a:solidFill>
                            <a:schemeClr val="tx1"/>
                          </a:solidFill>
                          <a:effectLst/>
                          <a:latin typeface="Arial" charset="0"/>
                          <a:ea typeface="ＭＳ Ｐゴシック" pitchFamily="-80" charset="-128"/>
                        </a:rPr>
                        <a:t>JM20</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bl>
          </a:graphicData>
        </a:graphic>
      </p:graphicFrame>
      <p:graphicFrame>
        <p:nvGraphicFramePr>
          <p:cNvPr id="8" name="Group 82">
            <a:extLst>
              <a:ext uri="{FF2B5EF4-FFF2-40B4-BE49-F238E27FC236}">
                <a16:creationId xmlns:a16="http://schemas.microsoft.com/office/drawing/2014/main" id="{9D198333-A06B-47E4-9485-D2B7711FF722}"/>
              </a:ext>
            </a:extLst>
          </p:cNvPr>
          <p:cNvGraphicFramePr>
            <a:graphicFrameLocks/>
          </p:cNvGraphicFramePr>
          <p:nvPr>
            <p:extLst>
              <p:ext uri="{D42A27DB-BD31-4B8C-83A1-F6EECF244321}">
                <p14:modId xmlns:p14="http://schemas.microsoft.com/office/powerpoint/2010/main" val="4222958232"/>
              </p:ext>
            </p:extLst>
          </p:nvPr>
        </p:nvGraphicFramePr>
        <p:xfrm>
          <a:off x="1044575" y="5084759"/>
          <a:ext cx="1003300" cy="793754"/>
        </p:xfrm>
        <a:graphic>
          <a:graphicData uri="http://schemas.openxmlformats.org/drawingml/2006/table">
            <a:tbl>
              <a:tblPr/>
              <a:tblGrid>
                <a:gridCol w="1003300">
                  <a:extLst>
                    <a:ext uri="{9D8B030D-6E8A-4147-A177-3AD203B41FA5}">
                      <a16:colId xmlns:a16="http://schemas.microsoft.com/office/drawing/2014/main" val="20000"/>
                    </a:ext>
                  </a:extLst>
                </a:gridCol>
              </a:tblGrid>
              <a:tr h="793754">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400" b="0" i="0" u="none" strike="noStrike" cap="none" normalizeH="0" baseline="0" dirty="0">
                          <a:ln>
                            <a:noFill/>
                          </a:ln>
                          <a:solidFill>
                            <a:schemeClr val="tx1"/>
                          </a:solidFill>
                          <a:effectLst/>
                          <a:latin typeface="Arial" charset="0"/>
                          <a:ea typeface="ＭＳ Ｐゴシック" pitchFamily="-80" charset="-128"/>
                        </a:rPr>
                        <a:t>JM2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bl>
          </a:graphicData>
        </a:graphic>
      </p:graphicFrame>
      <p:graphicFrame>
        <p:nvGraphicFramePr>
          <p:cNvPr id="9" name="Group 89">
            <a:extLst>
              <a:ext uri="{FF2B5EF4-FFF2-40B4-BE49-F238E27FC236}">
                <a16:creationId xmlns:a16="http://schemas.microsoft.com/office/drawing/2014/main" id="{C29804C6-8357-4299-B185-EAE00824BBFA}"/>
              </a:ext>
            </a:extLst>
          </p:cNvPr>
          <p:cNvGraphicFramePr>
            <a:graphicFrameLocks noGrp="1"/>
          </p:cNvGraphicFramePr>
          <p:nvPr>
            <p:extLst>
              <p:ext uri="{D42A27DB-BD31-4B8C-83A1-F6EECF244321}">
                <p14:modId xmlns:p14="http://schemas.microsoft.com/office/powerpoint/2010/main" val="3560506029"/>
              </p:ext>
            </p:extLst>
          </p:nvPr>
        </p:nvGraphicFramePr>
        <p:xfrm>
          <a:off x="1044575" y="2493963"/>
          <a:ext cx="1003300" cy="792163"/>
        </p:xfrm>
        <a:graphic>
          <a:graphicData uri="http://schemas.openxmlformats.org/drawingml/2006/table">
            <a:tbl>
              <a:tblPr/>
              <a:tblGrid>
                <a:gridCol w="100330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400" b="0" i="0" u="none" strike="noStrike" cap="none" normalizeH="0" baseline="0" dirty="0">
                          <a:ln>
                            <a:noFill/>
                          </a:ln>
                          <a:solidFill>
                            <a:schemeClr val="tx1"/>
                          </a:solidFill>
                          <a:effectLst/>
                          <a:latin typeface="Arial" charset="0"/>
                          <a:ea typeface="ＭＳ Ｐゴシック" pitchFamily="-80" charset="-128"/>
                        </a:rPr>
                        <a:t>AJ20</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bl>
          </a:graphicData>
        </a:graphic>
      </p:graphicFrame>
      <p:graphicFrame>
        <p:nvGraphicFramePr>
          <p:cNvPr id="10" name="Group 214">
            <a:extLst>
              <a:ext uri="{FF2B5EF4-FFF2-40B4-BE49-F238E27FC236}">
                <a16:creationId xmlns:a16="http://schemas.microsoft.com/office/drawing/2014/main" id="{682B1121-3F80-4E76-AE56-2CDDD8894247}"/>
              </a:ext>
            </a:extLst>
          </p:cNvPr>
          <p:cNvGraphicFramePr>
            <a:graphicFrameLocks noGrp="1"/>
          </p:cNvGraphicFramePr>
          <p:nvPr>
            <p:extLst>
              <p:ext uri="{D42A27DB-BD31-4B8C-83A1-F6EECF244321}">
                <p14:modId xmlns:p14="http://schemas.microsoft.com/office/powerpoint/2010/main" val="454298230"/>
              </p:ext>
            </p:extLst>
          </p:nvPr>
        </p:nvGraphicFramePr>
        <p:xfrm>
          <a:off x="2195513" y="1628775"/>
          <a:ext cx="1008062" cy="792163"/>
        </p:xfrm>
        <a:graphic>
          <a:graphicData uri="http://schemas.openxmlformats.org/drawingml/2006/table">
            <a:tbl>
              <a:tblPr/>
              <a:tblGrid>
                <a:gridCol w="1008062">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10000"/>
                  </a:ext>
                </a:extLst>
              </a:tr>
            </a:tbl>
          </a:graphicData>
        </a:graphic>
      </p:graphicFrame>
      <p:graphicFrame>
        <p:nvGraphicFramePr>
          <p:cNvPr id="11" name="Group 405">
            <a:extLst>
              <a:ext uri="{FF2B5EF4-FFF2-40B4-BE49-F238E27FC236}">
                <a16:creationId xmlns:a16="http://schemas.microsoft.com/office/drawing/2014/main" id="{C3109302-6D4C-4DAD-A8D8-C0128FA56AE6}"/>
              </a:ext>
            </a:extLst>
          </p:cNvPr>
          <p:cNvGraphicFramePr>
            <a:graphicFrameLocks noGrp="1"/>
          </p:cNvGraphicFramePr>
          <p:nvPr>
            <p:extLst>
              <p:ext uri="{D42A27DB-BD31-4B8C-83A1-F6EECF244321}">
                <p14:modId xmlns:p14="http://schemas.microsoft.com/office/powerpoint/2010/main" val="1899680229"/>
              </p:ext>
            </p:extLst>
          </p:nvPr>
        </p:nvGraphicFramePr>
        <p:xfrm>
          <a:off x="2195513" y="2493963"/>
          <a:ext cx="1008062" cy="792163"/>
        </p:xfrm>
        <a:graphic>
          <a:graphicData uri="http://schemas.openxmlformats.org/drawingml/2006/table">
            <a:tbl>
              <a:tblPr/>
              <a:tblGrid>
                <a:gridCol w="1008062">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tx1"/>
                          </a:solidFill>
                          <a:effectLst/>
                          <a:latin typeface="Arial" charset="0"/>
                          <a:ea typeface="ＭＳ Ｐゴシック" pitchFamily="-80" charset="-128"/>
                        </a:rPr>
                        <a:t>Wave 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bl>
          </a:graphicData>
        </a:graphic>
      </p:graphicFrame>
      <p:graphicFrame>
        <p:nvGraphicFramePr>
          <p:cNvPr id="12" name="Group 222">
            <a:extLst>
              <a:ext uri="{FF2B5EF4-FFF2-40B4-BE49-F238E27FC236}">
                <a16:creationId xmlns:a16="http://schemas.microsoft.com/office/drawing/2014/main" id="{8D012BA3-EC13-47F6-8FD3-9ECDED85914B}"/>
              </a:ext>
            </a:extLst>
          </p:cNvPr>
          <p:cNvGraphicFramePr>
            <a:graphicFrameLocks noGrp="1"/>
          </p:cNvGraphicFramePr>
          <p:nvPr>
            <p:extLst>
              <p:ext uri="{D42A27DB-BD31-4B8C-83A1-F6EECF244321}">
                <p14:modId xmlns:p14="http://schemas.microsoft.com/office/powerpoint/2010/main" val="2601175377"/>
              </p:ext>
            </p:extLst>
          </p:nvPr>
        </p:nvGraphicFramePr>
        <p:xfrm>
          <a:off x="2195513" y="3357563"/>
          <a:ext cx="1008062" cy="792163"/>
        </p:xfrm>
        <a:graphic>
          <a:graphicData uri="http://schemas.openxmlformats.org/drawingml/2006/table">
            <a:tbl>
              <a:tblPr/>
              <a:tblGrid>
                <a:gridCol w="1008062">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accent1"/>
                          </a:solidFill>
                          <a:effectLst/>
                          <a:latin typeface="Arial" charset="0"/>
                          <a:ea typeface="ＭＳ Ｐゴシック" pitchFamily="-80" charset="-128"/>
                        </a:rPr>
                        <a:t>Wave 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lumMod val="40000"/>
                        <a:lumOff val="60000"/>
                      </a:schemeClr>
                    </a:solidFill>
                  </a:tcPr>
                </a:tc>
                <a:extLst>
                  <a:ext uri="{0D108BD9-81ED-4DB2-BD59-A6C34878D82A}">
                    <a16:rowId xmlns:a16="http://schemas.microsoft.com/office/drawing/2014/main" val="10000"/>
                  </a:ext>
                </a:extLst>
              </a:tr>
            </a:tbl>
          </a:graphicData>
        </a:graphic>
      </p:graphicFrame>
      <p:graphicFrame>
        <p:nvGraphicFramePr>
          <p:cNvPr id="13" name="Group 404">
            <a:extLst>
              <a:ext uri="{FF2B5EF4-FFF2-40B4-BE49-F238E27FC236}">
                <a16:creationId xmlns:a16="http://schemas.microsoft.com/office/drawing/2014/main" id="{FB1E9E40-06E2-4E2D-AA26-919FE517FF8F}"/>
              </a:ext>
            </a:extLst>
          </p:cNvPr>
          <p:cNvGraphicFramePr>
            <a:graphicFrameLocks noGrp="1"/>
          </p:cNvGraphicFramePr>
          <p:nvPr>
            <p:extLst>
              <p:ext uri="{D42A27DB-BD31-4B8C-83A1-F6EECF244321}">
                <p14:modId xmlns:p14="http://schemas.microsoft.com/office/powerpoint/2010/main" val="1301486514"/>
              </p:ext>
            </p:extLst>
          </p:nvPr>
        </p:nvGraphicFramePr>
        <p:xfrm>
          <a:off x="2195513" y="4221163"/>
          <a:ext cx="1008062" cy="792163"/>
        </p:xfrm>
        <a:graphic>
          <a:graphicData uri="http://schemas.openxmlformats.org/drawingml/2006/table">
            <a:tbl>
              <a:tblPr/>
              <a:tblGrid>
                <a:gridCol w="1008062">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bl>
          </a:graphicData>
        </a:graphic>
      </p:graphicFrame>
      <p:graphicFrame>
        <p:nvGraphicFramePr>
          <p:cNvPr id="14" name="Group 234">
            <a:extLst>
              <a:ext uri="{FF2B5EF4-FFF2-40B4-BE49-F238E27FC236}">
                <a16:creationId xmlns:a16="http://schemas.microsoft.com/office/drawing/2014/main" id="{EF25CDE4-E3B8-4A40-9656-4750745BD419}"/>
              </a:ext>
            </a:extLst>
          </p:cNvPr>
          <p:cNvGraphicFramePr>
            <a:graphicFrameLocks noGrp="1"/>
          </p:cNvGraphicFramePr>
          <p:nvPr>
            <p:extLst>
              <p:ext uri="{D42A27DB-BD31-4B8C-83A1-F6EECF244321}">
                <p14:modId xmlns:p14="http://schemas.microsoft.com/office/powerpoint/2010/main" val="2735560509"/>
              </p:ext>
            </p:extLst>
          </p:nvPr>
        </p:nvGraphicFramePr>
        <p:xfrm>
          <a:off x="2195513" y="5086350"/>
          <a:ext cx="1008062" cy="792163"/>
        </p:xfrm>
        <a:graphic>
          <a:graphicData uri="http://schemas.openxmlformats.org/drawingml/2006/table">
            <a:tbl>
              <a:tblPr/>
              <a:tblGrid>
                <a:gridCol w="1008062">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tx1"/>
                          </a:solidFill>
                          <a:effectLst/>
                          <a:latin typeface="Arial" charset="0"/>
                          <a:ea typeface="ＭＳ Ｐゴシック" pitchFamily="-80" charset="-128"/>
                        </a:rPr>
                        <a:t>Wave 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4">
                        <a:lumMod val="60000"/>
                        <a:lumOff val="40000"/>
                      </a:schemeClr>
                    </a:solidFill>
                  </a:tcPr>
                </a:tc>
                <a:extLst>
                  <a:ext uri="{0D108BD9-81ED-4DB2-BD59-A6C34878D82A}">
                    <a16:rowId xmlns:a16="http://schemas.microsoft.com/office/drawing/2014/main" val="10000"/>
                  </a:ext>
                </a:extLst>
              </a:tr>
            </a:tbl>
          </a:graphicData>
        </a:graphic>
      </p:graphicFrame>
      <p:graphicFrame>
        <p:nvGraphicFramePr>
          <p:cNvPr id="15" name="Group 246">
            <a:extLst>
              <a:ext uri="{FF2B5EF4-FFF2-40B4-BE49-F238E27FC236}">
                <a16:creationId xmlns:a16="http://schemas.microsoft.com/office/drawing/2014/main" id="{70015C8E-FDC9-40E4-AEE9-5FB7A603CB2C}"/>
              </a:ext>
            </a:extLst>
          </p:cNvPr>
          <p:cNvGraphicFramePr>
            <a:graphicFrameLocks noGrp="1"/>
          </p:cNvGraphicFramePr>
          <p:nvPr>
            <p:extLst>
              <p:ext uri="{D42A27DB-BD31-4B8C-83A1-F6EECF244321}">
                <p14:modId xmlns:p14="http://schemas.microsoft.com/office/powerpoint/2010/main" val="2327528506"/>
              </p:ext>
            </p:extLst>
          </p:nvPr>
        </p:nvGraphicFramePr>
        <p:xfrm>
          <a:off x="3276600" y="1628775"/>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2</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0"/>
                  </a:ext>
                </a:extLst>
              </a:tr>
            </a:tbl>
          </a:graphicData>
        </a:graphic>
      </p:graphicFrame>
      <p:graphicFrame>
        <p:nvGraphicFramePr>
          <p:cNvPr id="16" name="Group 389">
            <a:extLst>
              <a:ext uri="{FF2B5EF4-FFF2-40B4-BE49-F238E27FC236}">
                <a16:creationId xmlns:a16="http://schemas.microsoft.com/office/drawing/2014/main" id="{302662A6-1C96-41D4-8909-4E52A4139310}"/>
              </a:ext>
            </a:extLst>
          </p:cNvPr>
          <p:cNvGraphicFramePr>
            <a:graphicFrameLocks noGrp="1"/>
          </p:cNvGraphicFramePr>
          <p:nvPr>
            <p:extLst>
              <p:ext uri="{D42A27DB-BD31-4B8C-83A1-F6EECF244321}">
                <p14:modId xmlns:p14="http://schemas.microsoft.com/office/powerpoint/2010/main" val="2489767204"/>
              </p:ext>
            </p:extLst>
          </p:nvPr>
        </p:nvGraphicFramePr>
        <p:xfrm>
          <a:off x="3276600" y="2493963"/>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2</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10000"/>
                  </a:ext>
                </a:extLst>
              </a:tr>
            </a:tbl>
          </a:graphicData>
        </a:graphic>
      </p:graphicFrame>
      <p:graphicFrame>
        <p:nvGraphicFramePr>
          <p:cNvPr id="17" name="Group 373">
            <a:extLst>
              <a:ext uri="{FF2B5EF4-FFF2-40B4-BE49-F238E27FC236}">
                <a16:creationId xmlns:a16="http://schemas.microsoft.com/office/drawing/2014/main" id="{3BA9E4B7-1A24-4793-9FCF-30D6294B6C89}"/>
              </a:ext>
            </a:extLst>
          </p:cNvPr>
          <p:cNvGraphicFramePr>
            <a:graphicFrameLocks noGrp="1"/>
          </p:cNvGraphicFramePr>
          <p:nvPr>
            <p:extLst>
              <p:ext uri="{D42A27DB-BD31-4B8C-83A1-F6EECF244321}">
                <p14:modId xmlns:p14="http://schemas.microsoft.com/office/powerpoint/2010/main" val="3652439620"/>
              </p:ext>
            </p:extLst>
          </p:nvPr>
        </p:nvGraphicFramePr>
        <p:xfrm>
          <a:off x="3276600" y="3357563"/>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tx1"/>
                          </a:solidFill>
                          <a:effectLst/>
                          <a:latin typeface="Arial" charset="0"/>
                          <a:ea typeface="ＭＳ Ｐゴシック" pitchFamily="-80" charset="-128"/>
                        </a:rPr>
                        <a:t>Wave 2</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bl>
          </a:graphicData>
        </a:graphic>
      </p:graphicFrame>
      <p:graphicFrame>
        <p:nvGraphicFramePr>
          <p:cNvPr id="18" name="Group 395">
            <a:extLst>
              <a:ext uri="{FF2B5EF4-FFF2-40B4-BE49-F238E27FC236}">
                <a16:creationId xmlns:a16="http://schemas.microsoft.com/office/drawing/2014/main" id="{C01BFBEF-A494-4854-BCF1-6DF4BF1AA154}"/>
              </a:ext>
            </a:extLst>
          </p:cNvPr>
          <p:cNvGraphicFramePr>
            <a:graphicFrameLocks noGrp="1"/>
          </p:cNvGraphicFramePr>
          <p:nvPr>
            <p:extLst>
              <p:ext uri="{D42A27DB-BD31-4B8C-83A1-F6EECF244321}">
                <p14:modId xmlns:p14="http://schemas.microsoft.com/office/powerpoint/2010/main" val="1680348246"/>
              </p:ext>
            </p:extLst>
          </p:nvPr>
        </p:nvGraphicFramePr>
        <p:xfrm>
          <a:off x="3276600" y="4221163"/>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accent1"/>
                          </a:solidFill>
                          <a:effectLst/>
                          <a:latin typeface="Arial" charset="0"/>
                          <a:ea typeface="ＭＳ Ｐゴシック" pitchFamily="-80" charset="-128"/>
                        </a:rPr>
                        <a:t>Wave 2</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lumMod val="40000"/>
                        <a:lumOff val="60000"/>
                      </a:schemeClr>
                    </a:solidFill>
                  </a:tcPr>
                </a:tc>
                <a:extLst>
                  <a:ext uri="{0D108BD9-81ED-4DB2-BD59-A6C34878D82A}">
                    <a16:rowId xmlns:a16="http://schemas.microsoft.com/office/drawing/2014/main" val="10000"/>
                  </a:ext>
                </a:extLst>
              </a:tr>
            </a:tbl>
          </a:graphicData>
        </a:graphic>
      </p:graphicFrame>
      <p:graphicFrame>
        <p:nvGraphicFramePr>
          <p:cNvPr id="19" name="Group 375">
            <a:extLst>
              <a:ext uri="{FF2B5EF4-FFF2-40B4-BE49-F238E27FC236}">
                <a16:creationId xmlns:a16="http://schemas.microsoft.com/office/drawing/2014/main" id="{17418C43-C916-4C61-8D32-2138AED8D8DB}"/>
              </a:ext>
            </a:extLst>
          </p:cNvPr>
          <p:cNvGraphicFramePr>
            <a:graphicFrameLocks noGrp="1"/>
          </p:cNvGraphicFramePr>
          <p:nvPr>
            <p:extLst>
              <p:ext uri="{D42A27DB-BD31-4B8C-83A1-F6EECF244321}">
                <p14:modId xmlns:p14="http://schemas.microsoft.com/office/powerpoint/2010/main" val="2265512283"/>
              </p:ext>
            </p:extLst>
          </p:nvPr>
        </p:nvGraphicFramePr>
        <p:xfrm>
          <a:off x="3276600" y="5086350"/>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2</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bl>
          </a:graphicData>
        </a:graphic>
      </p:graphicFrame>
      <p:graphicFrame>
        <p:nvGraphicFramePr>
          <p:cNvPr id="20" name="Group 387">
            <a:extLst>
              <a:ext uri="{FF2B5EF4-FFF2-40B4-BE49-F238E27FC236}">
                <a16:creationId xmlns:a16="http://schemas.microsoft.com/office/drawing/2014/main" id="{626E2533-3BEB-404B-A6E0-494F241C2A1C}"/>
              </a:ext>
            </a:extLst>
          </p:cNvPr>
          <p:cNvGraphicFramePr>
            <a:graphicFrameLocks noGrp="1"/>
          </p:cNvGraphicFramePr>
          <p:nvPr/>
        </p:nvGraphicFramePr>
        <p:xfrm>
          <a:off x="4356100" y="1628775"/>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a:ln>
                            <a:noFill/>
                          </a:ln>
                          <a:solidFill>
                            <a:schemeClr val="bg1"/>
                          </a:solidFill>
                          <a:effectLst/>
                          <a:latin typeface="Arial" charset="0"/>
                          <a:ea typeface="ＭＳ Ｐゴシック" pitchFamily="-80" charset="-128"/>
                        </a:rPr>
                        <a:t>Wave 3</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306F74"/>
                    </a:solidFill>
                  </a:tcPr>
                </a:tc>
                <a:extLst>
                  <a:ext uri="{0D108BD9-81ED-4DB2-BD59-A6C34878D82A}">
                    <a16:rowId xmlns:a16="http://schemas.microsoft.com/office/drawing/2014/main" val="10000"/>
                  </a:ext>
                </a:extLst>
              </a:tr>
            </a:tbl>
          </a:graphicData>
        </a:graphic>
      </p:graphicFrame>
      <p:graphicFrame>
        <p:nvGraphicFramePr>
          <p:cNvPr id="21" name="Group 400">
            <a:extLst>
              <a:ext uri="{FF2B5EF4-FFF2-40B4-BE49-F238E27FC236}">
                <a16:creationId xmlns:a16="http://schemas.microsoft.com/office/drawing/2014/main" id="{59C5C835-F2C6-481F-878D-D38F16DE219C}"/>
              </a:ext>
            </a:extLst>
          </p:cNvPr>
          <p:cNvGraphicFramePr>
            <a:graphicFrameLocks noGrp="1"/>
          </p:cNvGraphicFramePr>
          <p:nvPr>
            <p:extLst>
              <p:ext uri="{D42A27DB-BD31-4B8C-83A1-F6EECF244321}">
                <p14:modId xmlns:p14="http://schemas.microsoft.com/office/powerpoint/2010/main" val="2883163725"/>
              </p:ext>
            </p:extLst>
          </p:nvPr>
        </p:nvGraphicFramePr>
        <p:xfrm>
          <a:off x="5437188" y="1628775"/>
          <a:ext cx="1008062" cy="792163"/>
        </p:xfrm>
        <a:graphic>
          <a:graphicData uri="http://schemas.openxmlformats.org/drawingml/2006/table">
            <a:tbl>
              <a:tblPr/>
              <a:tblGrid>
                <a:gridCol w="1008062">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tx1"/>
                          </a:solidFill>
                          <a:effectLst/>
                          <a:latin typeface="Arial" charset="0"/>
                          <a:ea typeface="ＭＳ Ｐゴシック" pitchFamily="-80" charset="-128"/>
                        </a:rPr>
                        <a:t>Wave 4</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5">
                        <a:lumMod val="75000"/>
                        <a:lumOff val="25000"/>
                      </a:schemeClr>
                    </a:solidFill>
                  </a:tcPr>
                </a:tc>
                <a:extLst>
                  <a:ext uri="{0D108BD9-81ED-4DB2-BD59-A6C34878D82A}">
                    <a16:rowId xmlns:a16="http://schemas.microsoft.com/office/drawing/2014/main" val="10000"/>
                  </a:ext>
                </a:extLst>
              </a:tr>
            </a:tbl>
          </a:graphicData>
        </a:graphic>
      </p:graphicFrame>
      <p:graphicFrame>
        <p:nvGraphicFramePr>
          <p:cNvPr id="22" name="Group 388">
            <a:extLst>
              <a:ext uri="{FF2B5EF4-FFF2-40B4-BE49-F238E27FC236}">
                <a16:creationId xmlns:a16="http://schemas.microsoft.com/office/drawing/2014/main" id="{57E4A5E0-5B55-4393-A2E7-1589F3D5A915}"/>
              </a:ext>
            </a:extLst>
          </p:cNvPr>
          <p:cNvGraphicFramePr>
            <a:graphicFrameLocks noGrp="1"/>
          </p:cNvGraphicFramePr>
          <p:nvPr>
            <p:extLst>
              <p:ext uri="{D42A27DB-BD31-4B8C-83A1-F6EECF244321}">
                <p14:modId xmlns:p14="http://schemas.microsoft.com/office/powerpoint/2010/main" val="3406496069"/>
              </p:ext>
            </p:extLst>
          </p:nvPr>
        </p:nvGraphicFramePr>
        <p:xfrm>
          <a:off x="6516688" y="1628775"/>
          <a:ext cx="1008062" cy="792163"/>
        </p:xfrm>
        <a:graphic>
          <a:graphicData uri="http://schemas.openxmlformats.org/drawingml/2006/table">
            <a:tbl>
              <a:tblPr/>
              <a:tblGrid>
                <a:gridCol w="1008062">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5</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2">
                        <a:lumMod val="40000"/>
                        <a:lumOff val="60000"/>
                      </a:schemeClr>
                    </a:solidFill>
                  </a:tcPr>
                </a:tc>
                <a:extLst>
                  <a:ext uri="{0D108BD9-81ED-4DB2-BD59-A6C34878D82A}">
                    <a16:rowId xmlns:a16="http://schemas.microsoft.com/office/drawing/2014/main" val="10000"/>
                  </a:ext>
                </a:extLst>
              </a:tr>
            </a:tbl>
          </a:graphicData>
        </a:graphic>
      </p:graphicFrame>
      <p:graphicFrame>
        <p:nvGraphicFramePr>
          <p:cNvPr id="23" name="Group 397">
            <a:extLst>
              <a:ext uri="{FF2B5EF4-FFF2-40B4-BE49-F238E27FC236}">
                <a16:creationId xmlns:a16="http://schemas.microsoft.com/office/drawing/2014/main" id="{EAFB8E14-308C-4B30-B41A-440E24894E55}"/>
              </a:ext>
            </a:extLst>
          </p:cNvPr>
          <p:cNvGraphicFramePr>
            <a:graphicFrameLocks noGrp="1"/>
          </p:cNvGraphicFramePr>
          <p:nvPr>
            <p:extLst>
              <p:ext uri="{D42A27DB-BD31-4B8C-83A1-F6EECF244321}">
                <p14:modId xmlns:p14="http://schemas.microsoft.com/office/powerpoint/2010/main" val="2682622304"/>
              </p:ext>
            </p:extLst>
          </p:nvPr>
        </p:nvGraphicFramePr>
        <p:xfrm>
          <a:off x="4356100" y="2493963"/>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3</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0"/>
                  </a:ext>
                </a:extLst>
              </a:tr>
            </a:tbl>
          </a:graphicData>
        </a:graphic>
      </p:graphicFrame>
      <p:graphicFrame>
        <p:nvGraphicFramePr>
          <p:cNvPr id="24" name="Group 391">
            <a:extLst>
              <a:ext uri="{FF2B5EF4-FFF2-40B4-BE49-F238E27FC236}">
                <a16:creationId xmlns:a16="http://schemas.microsoft.com/office/drawing/2014/main" id="{04F61DF2-8BAF-4A86-877D-CE52D9CBBF34}"/>
              </a:ext>
            </a:extLst>
          </p:cNvPr>
          <p:cNvGraphicFramePr>
            <a:graphicFrameLocks noGrp="1"/>
          </p:cNvGraphicFramePr>
          <p:nvPr>
            <p:extLst>
              <p:ext uri="{D42A27DB-BD31-4B8C-83A1-F6EECF244321}">
                <p14:modId xmlns:p14="http://schemas.microsoft.com/office/powerpoint/2010/main" val="1241140898"/>
              </p:ext>
            </p:extLst>
          </p:nvPr>
        </p:nvGraphicFramePr>
        <p:xfrm>
          <a:off x="4356100" y="3357563"/>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3</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10000"/>
                  </a:ext>
                </a:extLst>
              </a:tr>
            </a:tbl>
          </a:graphicData>
        </a:graphic>
      </p:graphicFrame>
      <p:graphicFrame>
        <p:nvGraphicFramePr>
          <p:cNvPr id="25" name="Group 402">
            <a:extLst>
              <a:ext uri="{FF2B5EF4-FFF2-40B4-BE49-F238E27FC236}">
                <a16:creationId xmlns:a16="http://schemas.microsoft.com/office/drawing/2014/main" id="{BE17D402-0654-4281-81DB-36888141B7FB}"/>
              </a:ext>
            </a:extLst>
          </p:cNvPr>
          <p:cNvGraphicFramePr>
            <a:graphicFrameLocks noGrp="1"/>
          </p:cNvGraphicFramePr>
          <p:nvPr>
            <p:extLst>
              <p:ext uri="{D42A27DB-BD31-4B8C-83A1-F6EECF244321}">
                <p14:modId xmlns:p14="http://schemas.microsoft.com/office/powerpoint/2010/main" val="1000415498"/>
              </p:ext>
            </p:extLst>
          </p:nvPr>
        </p:nvGraphicFramePr>
        <p:xfrm>
          <a:off x="4356100" y="4221163"/>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tx1"/>
                          </a:solidFill>
                          <a:effectLst/>
                          <a:latin typeface="Arial" charset="0"/>
                          <a:ea typeface="ＭＳ Ｐゴシック" pitchFamily="-80" charset="-128"/>
                        </a:rPr>
                        <a:t>Wave 3</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bl>
          </a:graphicData>
        </a:graphic>
      </p:graphicFrame>
      <p:graphicFrame>
        <p:nvGraphicFramePr>
          <p:cNvPr id="26" name="Group 396">
            <a:extLst>
              <a:ext uri="{FF2B5EF4-FFF2-40B4-BE49-F238E27FC236}">
                <a16:creationId xmlns:a16="http://schemas.microsoft.com/office/drawing/2014/main" id="{004F8AE2-844D-4C96-B664-3E8680008B7D}"/>
              </a:ext>
            </a:extLst>
          </p:cNvPr>
          <p:cNvGraphicFramePr>
            <a:graphicFrameLocks noGrp="1"/>
          </p:cNvGraphicFramePr>
          <p:nvPr>
            <p:extLst>
              <p:ext uri="{D42A27DB-BD31-4B8C-83A1-F6EECF244321}">
                <p14:modId xmlns:p14="http://schemas.microsoft.com/office/powerpoint/2010/main" val="2886941195"/>
              </p:ext>
            </p:extLst>
          </p:nvPr>
        </p:nvGraphicFramePr>
        <p:xfrm>
          <a:off x="4356100" y="5086350"/>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accent1"/>
                          </a:solidFill>
                          <a:effectLst/>
                          <a:latin typeface="Arial" charset="0"/>
                          <a:ea typeface="ＭＳ Ｐゴシック" pitchFamily="-80" charset="-128"/>
                        </a:rPr>
                        <a:t>Wave 3</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lumMod val="40000"/>
                        <a:lumOff val="60000"/>
                      </a:schemeClr>
                    </a:solidFill>
                  </a:tcPr>
                </a:tc>
                <a:extLst>
                  <a:ext uri="{0D108BD9-81ED-4DB2-BD59-A6C34878D82A}">
                    <a16:rowId xmlns:a16="http://schemas.microsoft.com/office/drawing/2014/main" val="10000"/>
                  </a:ext>
                </a:extLst>
              </a:tr>
            </a:tbl>
          </a:graphicData>
        </a:graphic>
      </p:graphicFrame>
      <p:graphicFrame>
        <p:nvGraphicFramePr>
          <p:cNvPr id="27" name="Group 390">
            <a:extLst>
              <a:ext uri="{FF2B5EF4-FFF2-40B4-BE49-F238E27FC236}">
                <a16:creationId xmlns:a16="http://schemas.microsoft.com/office/drawing/2014/main" id="{66BD0B31-09E2-4D5A-AB31-8F65373875D9}"/>
              </a:ext>
            </a:extLst>
          </p:cNvPr>
          <p:cNvGraphicFramePr>
            <a:graphicFrameLocks noGrp="1"/>
          </p:cNvGraphicFramePr>
          <p:nvPr/>
        </p:nvGraphicFramePr>
        <p:xfrm>
          <a:off x="5437188" y="2493963"/>
          <a:ext cx="1008062" cy="792163"/>
        </p:xfrm>
        <a:graphic>
          <a:graphicData uri="http://schemas.openxmlformats.org/drawingml/2006/table">
            <a:tbl>
              <a:tblPr/>
              <a:tblGrid>
                <a:gridCol w="1008062">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a:ln>
                            <a:noFill/>
                          </a:ln>
                          <a:solidFill>
                            <a:schemeClr val="bg1"/>
                          </a:solidFill>
                          <a:effectLst/>
                          <a:latin typeface="Arial" charset="0"/>
                          <a:ea typeface="ＭＳ Ｐゴシック" pitchFamily="-80" charset="-128"/>
                        </a:rPr>
                        <a:t>Wave 4</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306F74"/>
                    </a:solidFill>
                  </a:tcPr>
                </a:tc>
                <a:extLst>
                  <a:ext uri="{0D108BD9-81ED-4DB2-BD59-A6C34878D82A}">
                    <a16:rowId xmlns:a16="http://schemas.microsoft.com/office/drawing/2014/main" val="10000"/>
                  </a:ext>
                </a:extLst>
              </a:tr>
            </a:tbl>
          </a:graphicData>
        </a:graphic>
      </p:graphicFrame>
      <p:graphicFrame>
        <p:nvGraphicFramePr>
          <p:cNvPr id="28" name="Group 398">
            <a:extLst>
              <a:ext uri="{FF2B5EF4-FFF2-40B4-BE49-F238E27FC236}">
                <a16:creationId xmlns:a16="http://schemas.microsoft.com/office/drawing/2014/main" id="{543A5606-C1D2-4748-B15B-C37D059E6653}"/>
              </a:ext>
            </a:extLst>
          </p:cNvPr>
          <p:cNvGraphicFramePr>
            <a:graphicFrameLocks noGrp="1"/>
          </p:cNvGraphicFramePr>
          <p:nvPr>
            <p:extLst>
              <p:ext uri="{D42A27DB-BD31-4B8C-83A1-F6EECF244321}">
                <p14:modId xmlns:p14="http://schemas.microsoft.com/office/powerpoint/2010/main" val="624779970"/>
              </p:ext>
            </p:extLst>
          </p:nvPr>
        </p:nvGraphicFramePr>
        <p:xfrm>
          <a:off x="5437188" y="3357563"/>
          <a:ext cx="1008062" cy="792163"/>
        </p:xfrm>
        <a:graphic>
          <a:graphicData uri="http://schemas.openxmlformats.org/drawingml/2006/table">
            <a:tbl>
              <a:tblPr/>
              <a:tblGrid>
                <a:gridCol w="1008062">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4</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0"/>
                  </a:ext>
                </a:extLst>
              </a:tr>
            </a:tbl>
          </a:graphicData>
        </a:graphic>
      </p:graphicFrame>
      <p:graphicFrame>
        <p:nvGraphicFramePr>
          <p:cNvPr id="29" name="Group 392">
            <a:extLst>
              <a:ext uri="{FF2B5EF4-FFF2-40B4-BE49-F238E27FC236}">
                <a16:creationId xmlns:a16="http://schemas.microsoft.com/office/drawing/2014/main" id="{C110B935-B9F4-4CA9-A7C5-A1EC3C9687E3}"/>
              </a:ext>
            </a:extLst>
          </p:cNvPr>
          <p:cNvGraphicFramePr>
            <a:graphicFrameLocks noGrp="1"/>
          </p:cNvGraphicFramePr>
          <p:nvPr>
            <p:extLst>
              <p:ext uri="{D42A27DB-BD31-4B8C-83A1-F6EECF244321}">
                <p14:modId xmlns:p14="http://schemas.microsoft.com/office/powerpoint/2010/main" val="2204869030"/>
              </p:ext>
            </p:extLst>
          </p:nvPr>
        </p:nvGraphicFramePr>
        <p:xfrm>
          <a:off x="5437188" y="4221163"/>
          <a:ext cx="1008062" cy="792163"/>
        </p:xfrm>
        <a:graphic>
          <a:graphicData uri="http://schemas.openxmlformats.org/drawingml/2006/table">
            <a:tbl>
              <a:tblPr/>
              <a:tblGrid>
                <a:gridCol w="1008062">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4</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10000"/>
                  </a:ext>
                </a:extLst>
              </a:tr>
            </a:tbl>
          </a:graphicData>
        </a:graphic>
      </p:graphicFrame>
      <p:graphicFrame>
        <p:nvGraphicFramePr>
          <p:cNvPr id="30" name="Group 403">
            <a:extLst>
              <a:ext uri="{FF2B5EF4-FFF2-40B4-BE49-F238E27FC236}">
                <a16:creationId xmlns:a16="http://schemas.microsoft.com/office/drawing/2014/main" id="{F7717EBB-E950-4C4A-9660-7543BAE4597B}"/>
              </a:ext>
            </a:extLst>
          </p:cNvPr>
          <p:cNvGraphicFramePr>
            <a:graphicFrameLocks noGrp="1"/>
          </p:cNvGraphicFramePr>
          <p:nvPr>
            <p:extLst>
              <p:ext uri="{D42A27DB-BD31-4B8C-83A1-F6EECF244321}">
                <p14:modId xmlns:p14="http://schemas.microsoft.com/office/powerpoint/2010/main" val="1102447493"/>
              </p:ext>
            </p:extLst>
          </p:nvPr>
        </p:nvGraphicFramePr>
        <p:xfrm>
          <a:off x="5437188" y="5086350"/>
          <a:ext cx="1008062" cy="792163"/>
        </p:xfrm>
        <a:graphic>
          <a:graphicData uri="http://schemas.openxmlformats.org/drawingml/2006/table">
            <a:tbl>
              <a:tblPr/>
              <a:tblGrid>
                <a:gridCol w="1008062">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tx1"/>
                          </a:solidFill>
                          <a:effectLst/>
                          <a:latin typeface="Arial" charset="0"/>
                          <a:ea typeface="ＭＳ Ｐゴシック" pitchFamily="-80" charset="-128"/>
                        </a:rPr>
                        <a:t>Wave 4</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bl>
          </a:graphicData>
        </a:graphic>
      </p:graphicFrame>
      <p:graphicFrame>
        <p:nvGraphicFramePr>
          <p:cNvPr id="31" name="Group 401">
            <a:extLst>
              <a:ext uri="{FF2B5EF4-FFF2-40B4-BE49-F238E27FC236}">
                <a16:creationId xmlns:a16="http://schemas.microsoft.com/office/drawing/2014/main" id="{767F6679-9EB2-4BD3-9135-030A7DD21ECA}"/>
              </a:ext>
            </a:extLst>
          </p:cNvPr>
          <p:cNvGraphicFramePr>
            <a:graphicFrameLocks noGrp="1"/>
          </p:cNvGraphicFramePr>
          <p:nvPr>
            <p:extLst>
              <p:ext uri="{D42A27DB-BD31-4B8C-83A1-F6EECF244321}">
                <p14:modId xmlns:p14="http://schemas.microsoft.com/office/powerpoint/2010/main" val="1054525970"/>
              </p:ext>
            </p:extLst>
          </p:nvPr>
        </p:nvGraphicFramePr>
        <p:xfrm>
          <a:off x="6516688" y="2493963"/>
          <a:ext cx="1008062" cy="792163"/>
        </p:xfrm>
        <a:graphic>
          <a:graphicData uri="http://schemas.openxmlformats.org/drawingml/2006/table">
            <a:tbl>
              <a:tblPr/>
              <a:tblGrid>
                <a:gridCol w="1008062">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tx1"/>
                          </a:solidFill>
                          <a:effectLst/>
                          <a:latin typeface="Arial" charset="0"/>
                          <a:ea typeface="ＭＳ Ｐゴシック" pitchFamily="-80" charset="-128"/>
                        </a:rPr>
                        <a:t>Wave 5</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5">
                        <a:lumMod val="75000"/>
                        <a:lumOff val="25000"/>
                      </a:schemeClr>
                    </a:solidFill>
                  </a:tcPr>
                </a:tc>
                <a:extLst>
                  <a:ext uri="{0D108BD9-81ED-4DB2-BD59-A6C34878D82A}">
                    <a16:rowId xmlns:a16="http://schemas.microsoft.com/office/drawing/2014/main" val="10000"/>
                  </a:ext>
                </a:extLst>
              </a:tr>
            </a:tbl>
          </a:graphicData>
        </a:graphic>
      </p:graphicFrame>
      <p:graphicFrame>
        <p:nvGraphicFramePr>
          <p:cNvPr id="32" name="Group 394">
            <a:extLst>
              <a:ext uri="{FF2B5EF4-FFF2-40B4-BE49-F238E27FC236}">
                <a16:creationId xmlns:a16="http://schemas.microsoft.com/office/drawing/2014/main" id="{84E863BB-AF2F-4A95-B451-0965BAC53DC8}"/>
              </a:ext>
            </a:extLst>
          </p:cNvPr>
          <p:cNvGraphicFramePr>
            <a:graphicFrameLocks noGrp="1"/>
          </p:cNvGraphicFramePr>
          <p:nvPr/>
        </p:nvGraphicFramePr>
        <p:xfrm>
          <a:off x="6516688" y="3357563"/>
          <a:ext cx="1008062" cy="792163"/>
        </p:xfrm>
        <a:graphic>
          <a:graphicData uri="http://schemas.openxmlformats.org/drawingml/2006/table">
            <a:tbl>
              <a:tblPr/>
              <a:tblGrid>
                <a:gridCol w="1008062">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a:ln>
                            <a:noFill/>
                          </a:ln>
                          <a:solidFill>
                            <a:schemeClr val="bg1"/>
                          </a:solidFill>
                          <a:effectLst/>
                          <a:latin typeface="Arial" charset="0"/>
                          <a:ea typeface="ＭＳ Ｐゴシック" pitchFamily="-80" charset="-128"/>
                        </a:rPr>
                        <a:t>Wave 5</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306F74"/>
                    </a:solidFill>
                  </a:tcPr>
                </a:tc>
                <a:extLst>
                  <a:ext uri="{0D108BD9-81ED-4DB2-BD59-A6C34878D82A}">
                    <a16:rowId xmlns:a16="http://schemas.microsoft.com/office/drawing/2014/main" val="10000"/>
                  </a:ext>
                </a:extLst>
              </a:tr>
            </a:tbl>
          </a:graphicData>
        </a:graphic>
      </p:graphicFrame>
      <p:graphicFrame>
        <p:nvGraphicFramePr>
          <p:cNvPr id="33" name="Group 399">
            <a:extLst>
              <a:ext uri="{FF2B5EF4-FFF2-40B4-BE49-F238E27FC236}">
                <a16:creationId xmlns:a16="http://schemas.microsoft.com/office/drawing/2014/main" id="{6C82E83C-034E-4EFE-B16A-7F8317F37AE3}"/>
              </a:ext>
            </a:extLst>
          </p:cNvPr>
          <p:cNvGraphicFramePr>
            <a:graphicFrameLocks noGrp="1"/>
          </p:cNvGraphicFramePr>
          <p:nvPr>
            <p:extLst>
              <p:ext uri="{D42A27DB-BD31-4B8C-83A1-F6EECF244321}">
                <p14:modId xmlns:p14="http://schemas.microsoft.com/office/powerpoint/2010/main" val="713587778"/>
              </p:ext>
            </p:extLst>
          </p:nvPr>
        </p:nvGraphicFramePr>
        <p:xfrm>
          <a:off x="6516688" y="4221163"/>
          <a:ext cx="1008062" cy="792163"/>
        </p:xfrm>
        <a:graphic>
          <a:graphicData uri="http://schemas.openxmlformats.org/drawingml/2006/table">
            <a:tbl>
              <a:tblPr/>
              <a:tblGrid>
                <a:gridCol w="1008062">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5</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0"/>
                  </a:ext>
                </a:extLst>
              </a:tr>
            </a:tbl>
          </a:graphicData>
        </a:graphic>
      </p:graphicFrame>
      <p:graphicFrame>
        <p:nvGraphicFramePr>
          <p:cNvPr id="34" name="Group 393">
            <a:extLst>
              <a:ext uri="{FF2B5EF4-FFF2-40B4-BE49-F238E27FC236}">
                <a16:creationId xmlns:a16="http://schemas.microsoft.com/office/drawing/2014/main" id="{0D004147-DF97-453C-A64D-96AFAD3C1057}"/>
              </a:ext>
            </a:extLst>
          </p:cNvPr>
          <p:cNvGraphicFramePr>
            <a:graphicFrameLocks noGrp="1"/>
          </p:cNvGraphicFramePr>
          <p:nvPr>
            <p:extLst>
              <p:ext uri="{D42A27DB-BD31-4B8C-83A1-F6EECF244321}">
                <p14:modId xmlns:p14="http://schemas.microsoft.com/office/powerpoint/2010/main" val="1180923814"/>
              </p:ext>
            </p:extLst>
          </p:nvPr>
        </p:nvGraphicFramePr>
        <p:xfrm>
          <a:off x="6516688" y="5086350"/>
          <a:ext cx="1008062" cy="792163"/>
        </p:xfrm>
        <a:graphic>
          <a:graphicData uri="http://schemas.openxmlformats.org/drawingml/2006/table">
            <a:tbl>
              <a:tblPr/>
              <a:tblGrid>
                <a:gridCol w="1008062">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5</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10000"/>
                  </a:ext>
                </a:extLst>
              </a:tr>
            </a:tbl>
          </a:graphicData>
        </a:graphic>
      </p:graphicFrame>
      <p:sp>
        <p:nvSpPr>
          <p:cNvPr id="35" name="TextBox 34">
            <a:extLst>
              <a:ext uri="{FF2B5EF4-FFF2-40B4-BE49-F238E27FC236}">
                <a16:creationId xmlns:a16="http://schemas.microsoft.com/office/drawing/2014/main" id="{295CF973-4866-4329-A26A-0FCB76065C3D}"/>
              </a:ext>
            </a:extLst>
          </p:cNvPr>
          <p:cNvSpPr txBox="1"/>
          <p:nvPr/>
        </p:nvSpPr>
        <p:spPr>
          <a:xfrm>
            <a:off x="8095786" y="1900732"/>
            <a:ext cx="3443426" cy="3493264"/>
          </a:xfrm>
          <a:prstGeom prst="rect">
            <a:avLst/>
          </a:prstGeom>
        </p:spPr>
        <p:txBody>
          <a:bodyPr vert="horz" wrap="square" lIns="0" tIns="45720" rIns="91440" bIns="45720" rtlCol="0" anchor="b" anchorCtr="0">
            <a:spAutoFit/>
          </a:bodyPr>
          <a:lstStyle/>
          <a:p>
            <a:pPr marL="342900" indent="-342900">
              <a:spcAft>
                <a:spcPts val="600"/>
              </a:spcAft>
              <a:buFont typeface="Arial" panose="020B0604020202020204" pitchFamily="34" charset="0"/>
              <a:buChar char="•"/>
            </a:pPr>
            <a:r>
              <a:rPr lang="en-GB" sz="2400" dirty="0">
                <a:solidFill>
                  <a:srgbClr val="002060"/>
                </a:solidFill>
              </a:rPr>
              <a:t>Respondents are interviewed for five successive </a:t>
            </a:r>
            <a:br>
              <a:rPr lang="en-GB" sz="2400" dirty="0">
                <a:solidFill>
                  <a:srgbClr val="002060"/>
                </a:solidFill>
              </a:rPr>
            </a:br>
            <a:r>
              <a:rPr lang="en-GB" sz="2400" dirty="0">
                <a:solidFill>
                  <a:srgbClr val="002060"/>
                </a:solidFill>
              </a:rPr>
              <a:t>waves at three-monthly intervals</a:t>
            </a:r>
            <a:br>
              <a:rPr lang="en-GB" sz="2400" dirty="0">
                <a:solidFill>
                  <a:srgbClr val="002060"/>
                </a:solidFill>
              </a:rPr>
            </a:br>
            <a:endParaRPr lang="en-GB" sz="2400" dirty="0">
              <a:solidFill>
                <a:srgbClr val="002060"/>
              </a:solidFill>
            </a:endParaRPr>
          </a:p>
          <a:p>
            <a:pPr marL="342900" indent="-342900">
              <a:spcAft>
                <a:spcPts val="600"/>
              </a:spcAft>
              <a:buFont typeface="Arial" panose="020B0604020202020204" pitchFamily="34" charset="0"/>
              <a:buChar char="•"/>
            </a:pPr>
            <a:r>
              <a:rPr lang="en-GB" sz="2400" dirty="0">
                <a:solidFill>
                  <a:srgbClr val="002060"/>
                </a:solidFill>
              </a:rPr>
              <a:t>20% of the sample is replaced every quarter</a:t>
            </a:r>
          </a:p>
        </p:txBody>
      </p:sp>
    </p:spTree>
    <p:extLst>
      <p:ext uri="{BB962C8B-B14F-4D97-AF65-F5344CB8AC3E}">
        <p14:creationId xmlns:p14="http://schemas.microsoft.com/office/powerpoint/2010/main" val="455732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1+#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1+#ppt_w/2"/>
                                          </p:val>
                                        </p:tav>
                                        <p:tav tm="100000">
                                          <p:val>
                                            <p:strVal val="#ppt_x"/>
                                          </p:val>
                                        </p:tav>
                                      </p:tavLst>
                                    </p:anim>
                                    <p:anim calcmode="lin" valueType="num">
                                      <p:cBhvr additive="base">
                                        <p:cTn id="16" dur="500" fill="hold"/>
                                        <p:tgtEl>
                                          <p:spTgt spid="6"/>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1+#ppt_w/2"/>
                                          </p:val>
                                        </p:tav>
                                        <p:tav tm="100000">
                                          <p:val>
                                            <p:strVal val="#ppt_x"/>
                                          </p:val>
                                        </p:tav>
                                      </p:tavLst>
                                    </p:anim>
                                    <p:anim calcmode="lin" valueType="num">
                                      <p:cBhvr additive="base">
                                        <p:cTn id="20" dur="500" fill="hold"/>
                                        <p:tgtEl>
                                          <p:spTgt spid="5"/>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fill="hold"/>
                                        <p:tgtEl>
                                          <p:spTgt spid="8"/>
                                        </p:tgtEl>
                                        <p:attrNameLst>
                                          <p:attrName>ppt_x</p:attrName>
                                        </p:attrNameLst>
                                      </p:cBhvr>
                                      <p:tavLst>
                                        <p:tav tm="0">
                                          <p:val>
                                            <p:strVal val="1+#ppt_w/2"/>
                                          </p:val>
                                        </p:tav>
                                        <p:tav tm="100000">
                                          <p:val>
                                            <p:strVal val="#ppt_x"/>
                                          </p:val>
                                        </p:tav>
                                      </p:tavLst>
                                    </p:anim>
                                    <p:anim calcmode="lin" valueType="num">
                                      <p:cBhvr additive="base">
                                        <p:cTn id="24"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6" fill="hold" nodeType="clickEffect">
                                  <p:stCondLst>
                                    <p:cond delay="0"/>
                                  </p:stCondLst>
                                  <p:childTnLst>
                                    <p:set>
                                      <p:cBhvr>
                                        <p:cTn id="28" dur="1" fill="hold">
                                          <p:stCondLst>
                                            <p:cond delay="0"/>
                                          </p:stCondLst>
                                        </p:cTn>
                                        <p:tgtEl>
                                          <p:spTgt spid="10"/>
                                        </p:tgtEl>
                                        <p:attrNameLst>
                                          <p:attrName>style.visibility</p:attrName>
                                        </p:attrNameLst>
                                      </p:cBhvr>
                                      <p:to>
                                        <p:strVal val="visible"/>
                                      </p:to>
                                    </p:set>
                                    <p:anim calcmode="lin" valueType="num">
                                      <p:cBhvr additive="base">
                                        <p:cTn id="29" dur="500" fill="hold"/>
                                        <p:tgtEl>
                                          <p:spTgt spid="10"/>
                                        </p:tgtEl>
                                        <p:attrNameLst>
                                          <p:attrName>ppt_x</p:attrName>
                                        </p:attrNameLst>
                                      </p:cBhvr>
                                      <p:tavLst>
                                        <p:tav tm="0">
                                          <p:val>
                                            <p:strVal val="1+#ppt_w/2"/>
                                          </p:val>
                                        </p:tav>
                                        <p:tav tm="100000">
                                          <p:val>
                                            <p:strVal val="#ppt_x"/>
                                          </p:val>
                                        </p:tav>
                                      </p:tavLst>
                                    </p:anim>
                                    <p:anim calcmode="lin" valueType="num">
                                      <p:cBhvr additive="base">
                                        <p:cTn id="30" dur="500" fill="hold"/>
                                        <p:tgtEl>
                                          <p:spTgt spid="10"/>
                                        </p:tgtEl>
                                        <p:attrNameLst>
                                          <p:attrName>ppt_y</p:attrName>
                                        </p:attrNameLst>
                                      </p:cBhvr>
                                      <p:tavLst>
                                        <p:tav tm="0">
                                          <p:val>
                                            <p:strVal val="1+#ppt_h/2"/>
                                          </p:val>
                                        </p:tav>
                                        <p:tav tm="100000">
                                          <p:val>
                                            <p:strVal val="#ppt_y"/>
                                          </p:val>
                                        </p:tav>
                                      </p:tavLst>
                                    </p:anim>
                                  </p:childTnLst>
                                </p:cTn>
                              </p:par>
                              <p:par>
                                <p:cTn id="31" presetID="2" presetClass="entr" presetSubtype="6" fill="hold" nodeType="withEffect">
                                  <p:stCondLst>
                                    <p:cond delay="0"/>
                                  </p:stCondLst>
                                  <p:childTnLst>
                                    <p:set>
                                      <p:cBhvr>
                                        <p:cTn id="32" dur="1" fill="hold">
                                          <p:stCondLst>
                                            <p:cond delay="0"/>
                                          </p:stCondLst>
                                        </p:cTn>
                                        <p:tgtEl>
                                          <p:spTgt spid="16"/>
                                        </p:tgtEl>
                                        <p:attrNameLst>
                                          <p:attrName>style.visibility</p:attrName>
                                        </p:attrNameLst>
                                      </p:cBhvr>
                                      <p:to>
                                        <p:strVal val="visible"/>
                                      </p:to>
                                    </p:set>
                                    <p:anim calcmode="lin" valueType="num">
                                      <p:cBhvr additive="base">
                                        <p:cTn id="33" dur="500" fill="hold"/>
                                        <p:tgtEl>
                                          <p:spTgt spid="16"/>
                                        </p:tgtEl>
                                        <p:attrNameLst>
                                          <p:attrName>ppt_x</p:attrName>
                                        </p:attrNameLst>
                                      </p:cBhvr>
                                      <p:tavLst>
                                        <p:tav tm="0">
                                          <p:val>
                                            <p:strVal val="1+#ppt_w/2"/>
                                          </p:val>
                                        </p:tav>
                                        <p:tav tm="100000">
                                          <p:val>
                                            <p:strVal val="#ppt_x"/>
                                          </p:val>
                                        </p:tav>
                                      </p:tavLst>
                                    </p:anim>
                                    <p:anim calcmode="lin" valueType="num">
                                      <p:cBhvr additive="base">
                                        <p:cTn id="34" dur="500" fill="hold"/>
                                        <p:tgtEl>
                                          <p:spTgt spid="16"/>
                                        </p:tgtEl>
                                        <p:attrNameLst>
                                          <p:attrName>ppt_y</p:attrName>
                                        </p:attrNameLst>
                                      </p:cBhvr>
                                      <p:tavLst>
                                        <p:tav tm="0">
                                          <p:val>
                                            <p:strVal val="1+#ppt_h/2"/>
                                          </p:val>
                                        </p:tav>
                                        <p:tav tm="100000">
                                          <p:val>
                                            <p:strVal val="#ppt_y"/>
                                          </p:val>
                                        </p:tav>
                                      </p:tavLst>
                                    </p:anim>
                                  </p:childTnLst>
                                </p:cTn>
                              </p:par>
                              <p:par>
                                <p:cTn id="35" presetID="2" presetClass="entr" presetSubtype="6"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anim calcmode="lin" valueType="num">
                                      <p:cBhvr additive="base">
                                        <p:cTn id="37" dur="500" fill="hold"/>
                                        <p:tgtEl>
                                          <p:spTgt spid="24"/>
                                        </p:tgtEl>
                                        <p:attrNameLst>
                                          <p:attrName>ppt_x</p:attrName>
                                        </p:attrNameLst>
                                      </p:cBhvr>
                                      <p:tavLst>
                                        <p:tav tm="0">
                                          <p:val>
                                            <p:strVal val="1+#ppt_w/2"/>
                                          </p:val>
                                        </p:tav>
                                        <p:tav tm="100000">
                                          <p:val>
                                            <p:strVal val="#ppt_x"/>
                                          </p:val>
                                        </p:tav>
                                      </p:tavLst>
                                    </p:anim>
                                    <p:anim calcmode="lin" valueType="num">
                                      <p:cBhvr additive="base">
                                        <p:cTn id="38" dur="500" fill="hold"/>
                                        <p:tgtEl>
                                          <p:spTgt spid="24"/>
                                        </p:tgtEl>
                                        <p:attrNameLst>
                                          <p:attrName>ppt_y</p:attrName>
                                        </p:attrNameLst>
                                      </p:cBhvr>
                                      <p:tavLst>
                                        <p:tav tm="0">
                                          <p:val>
                                            <p:strVal val="1+#ppt_h/2"/>
                                          </p:val>
                                        </p:tav>
                                        <p:tav tm="100000">
                                          <p:val>
                                            <p:strVal val="#ppt_y"/>
                                          </p:val>
                                        </p:tav>
                                      </p:tavLst>
                                    </p:anim>
                                  </p:childTnLst>
                                </p:cTn>
                              </p:par>
                              <p:par>
                                <p:cTn id="39" presetID="2" presetClass="entr" presetSubtype="6" fill="hold" nodeType="withEffect">
                                  <p:stCondLst>
                                    <p:cond delay="0"/>
                                  </p:stCondLst>
                                  <p:childTnLst>
                                    <p:set>
                                      <p:cBhvr>
                                        <p:cTn id="40" dur="1" fill="hold">
                                          <p:stCondLst>
                                            <p:cond delay="0"/>
                                          </p:stCondLst>
                                        </p:cTn>
                                        <p:tgtEl>
                                          <p:spTgt spid="29"/>
                                        </p:tgtEl>
                                        <p:attrNameLst>
                                          <p:attrName>style.visibility</p:attrName>
                                        </p:attrNameLst>
                                      </p:cBhvr>
                                      <p:to>
                                        <p:strVal val="visible"/>
                                      </p:to>
                                    </p:set>
                                    <p:anim calcmode="lin" valueType="num">
                                      <p:cBhvr additive="base">
                                        <p:cTn id="41" dur="500" fill="hold"/>
                                        <p:tgtEl>
                                          <p:spTgt spid="29"/>
                                        </p:tgtEl>
                                        <p:attrNameLst>
                                          <p:attrName>ppt_x</p:attrName>
                                        </p:attrNameLst>
                                      </p:cBhvr>
                                      <p:tavLst>
                                        <p:tav tm="0">
                                          <p:val>
                                            <p:strVal val="1+#ppt_w/2"/>
                                          </p:val>
                                        </p:tav>
                                        <p:tav tm="100000">
                                          <p:val>
                                            <p:strVal val="#ppt_x"/>
                                          </p:val>
                                        </p:tav>
                                      </p:tavLst>
                                    </p:anim>
                                    <p:anim calcmode="lin" valueType="num">
                                      <p:cBhvr additive="base">
                                        <p:cTn id="42" dur="500" fill="hold"/>
                                        <p:tgtEl>
                                          <p:spTgt spid="29"/>
                                        </p:tgtEl>
                                        <p:attrNameLst>
                                          <p:attrName>ppt_y</p:attrName>
                                        </p:attrNameLst>
                                      </p:cBhvr>
                                      <p:tavLst>
                                        <p:tav tm="0">
                                          <p:val>
                                            <p:strVal val="1+#ppt_h/2"/>
                                          </p:val>
                                        </p:tav>
                                        <p:tav tm="100000">
                                          <p:val>
                                            <p:strVal val="#ppt_y"/>
                                          </p:val>
                                        </p:tav>
                                      </p:tavLst>
                                    </p:anim>
                                  </p:childTnLst>
                                </p:cTn>
                              </p:par>
                              <p:par>
                                <p:cTn id="43" presetID="2" presetClass="entr" presetSubtype="6" fill="hold" nodeType="withEffect">
                                  <p:stCondLst>
                                    <p:cond delay="0"/>
                                  </p:stCondLst>
                                  <p:childTnLst>
                                    <p:set>
                                      <p:cBhvr>
                                        <p:cTn id="44" dur="1" fill="hold">
                                          <p:stCondLst>
                                            <p:cond delay="0"/>
                                          </p:stCondLst>
                                        </p:cTn>
                                        <p:tgtEl>
                                          <p:spTgt spid="34"/>
                                        </p:tgtEl>
                                        <p:attrNameLst>
                                          <p:attrName>style.visibility</p:attrName>
                                        </p:attrNameLst>
                                      </p:cBhvr>
                                      <p:to>
                                        <p:strVal val="visible"/>
                                      </p:to>
                                    </p:set>
                                    <p:anim calcmode="lin" valueType="num">
                                      <p:cBhvr additive="base">
                                        <p:cTn id="45" dur="500" fill="hold"/>
                                        <p:tgtEl>
                                          <p:spTgt spid="34"/>
                                        </p:tgtEl>
                                        <p:attrNameLst>
                                          <p:attrName>ppt_x</p:attrName>
                                        </p:attrNameLst>
                                      </p:cBhvr>
                                      <p:tavLst>
                                        <p:tav tm="0">
                                          <p:val>
                                            <p:strVal val="1+#ppt_w/2"/>
                                          </p:val>
                                        </p:tav>
                                        <p:tav tm="100000">
                                          <p:val>
                                            <p:strVal val="#ppt_x"/>
                                          </p:val>
                                        </p:tav>
                                      </p:tavLst>
                                    </p:anim>
                                    <p:anim calcmode="lin" valueType="num">
                                      <p:cBhvr additive="base">
                                        <p:cTn id="46"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6" fill="hold" nodeType="clickEffect">
                                  <p:stCondLst>
                                    <p:cond delay="0"/>
                                  </p:stCondLst>
                                  <p:childTnLst>
                                    <p:set>
                                      <p:cBhvr>
                                        <p:cTn id="50" dur="1" fill="hold">
                                          <p:stCondLst>
                                            <p:cond delay="0"/>
                                          </p:stCondLst>
                                        </p:cTn>
                                        <p:tgtEl>
                                          <p:spTgt spid="11"/>
                                        </p:tgtEl>
                                        <p:attrNameLst>
                                          <p:attrName>style.visibility</p:attrName>
                                        </p:attrNameLst>
                                      </p:cBhvr>
                                      <p:to>
                                        <p:strVal val="visible"/>
                                      </p:to>
                                    </p:set>
                                    <p:anim calcmode="lin" valueType="num">
                                      <p:cBhvr additive="base">
                                        <p:cTn id="51" dur="500" fill="hold"/>
                                        <p:tgtEl>
                                          <p:spTgt spid="11"/>
                                        </p:tgtEl>
                                        <p:attrNameLst>
                                          <p:attrName>ppt_x</p:attrName>
                                        </p:attrNameLst>
                                      </p:cBhvr>
                                      <p:tavLst>
                                        <p:tav tm="0">
                                          <p:val>
                                            <p:strVal val="1+#ppt_w/2"/>
                                          </p:val>
                                        </p:tav>
                                        <p:tav tm="100000">
                                          <p:val>
                                            <p:strVal val="#ppt_x"/>
                                          </p:val>
                                        </p:tav>
                                      </p:tavLst>
                                    </p:anim>
                                    <p:anim calcmode="lin" valueType="num">
                                      <p:cBhvr additive="base">
                                        <p:cTn id="52" dur="500" fill="hold"/>
                                        <p:tgtEl>
                                          <p:spTgt spid="11"/>
                                        </p:tgtEl>
                                        <p:attrNameLst>
                                          <p:attrName>ppt_y</p:attrName>
                                        </p:attrNameLst>
                                      </p:cBhvr>
                                      <p:tavLst>
                                        <p:tav tm="0">
                                          <p:val>
                                            <p:strVal val="1+#ppt_h/2"/>
                                          </p:val>
                                        </p:tav>
                                        <p:tav tm="100000">
                                          <p:val>
                                            <p:strVal val="#ppt_y"/>
                                          </p:val>
                                        </p:tav>
                                      </p:tavLst>
                                    </p:anim>
                                  </p:childTnLst>
                                </p:cTn>
                              </p:par>
                              <p:par>
                                <p:cTn id="53" presetID="2" presetClass="entr" presetSubtype="6" fill="hold" nodeType="withEffect">
                                  <p:stCondLst>
                                    <p:cond delay="0"/>
                                  </p:stCondLst>
                                  <p:childTnLst>
                                    <p:set>
                                      <p:cBhvr>
                                        <p:cTn id="54" dur="1" fill="hold">
                                          <p:stCondLst>
                                            <p:cond delay="0"/>
                                          </p:stCondLst>
                                        </p:cTn>
                                        <p:tgtEl>
                                          <p:spTgt spid="12"/>
                                        </p:tgtEl>
                                        <p:attrNameLst>
                                          <p:attrName>style.visibility</p:attrName>
                                        </p:attrNameLst>
                                      </p:cBhvr>
                                      <p:to>
                                        <p:strVal val="visible"/>
                                      </p:to>
                                    </p:set>
                                    <p:anim calcmode="lin" valueType="num">
                                      <p:cBhvr additive="base">
                                        <p:cTn id="55" dur="500" fill="hold"/>
                                        <p:tgtEl>
                                          <p:spTgt spid="12"/>
                                        </p:tgtEl>
                                        <p:attrNameLst>
                                          <p:attrName>ppt_x</p:attrName>
                                        </p:attrNameLst>
                                      </p:cBhvr>
                                      <p:tavLst>
                                        <p:tav tm="0">
                                          <p:val>
                                            <p:strVal val="1+#ppt_w/2"/>
                                          </p:val>
                                        </p:tav>
                                        <p:tav tm="100000">
                                          <p:val>
                                            <p:strVal val="#ppt_x"/>
                                          </p:val>
                                        </p:tav>
                                      </p:tavLst>
                                    </p:anim>
                                    <p:anim calcmode="lin" valueType="num">
                                      <p:cBhvr additive="base">
                                        <p:cTn id="56" dur="500" fill="hold"/>
                                        <p:tgtEl>
                                          <p:spTgt spid="12"/>
                                        </p:tgtEl>
                                        <p:attrNameLst>
                                          <p:attrName>ppt_y</p:attrName>
                                        </p:attrNameLst>
                                      </p:cBhvr>
                                      <p:tavLst>
                                        <p:tav tm="0">
                                          <p:val>
                                            <p:strVal val="1+#ppt_h/2"/>
                                          </p:val>
                                        </p:tav>
                                        <p:tav tm="100000">
                                          <p:val>
                                            <p:strVal val="#ppt_y"/>
                                          </p:val>
                                        </p:tav>
                                      </p:tavLst>
                                    </p:anim>
                                  </p:childTnLst>
                                </p:cTn>
                              </p:par>
                              <p:par>
                                <p:cTn id="57" presetID="2" presetClass="entr" presetSubtype="6" fill="hold" nodeType="withEffect">
                                  <p:stCondLst>
                                    <p:cond delay="0"/>
                                  </p:stCondLst>
                                  <p:childTnLst>
                                    <p:set>
                                      <p:cBhvr>
                                        <p:cTn id="58" dur="1" fill="hold">
                                          <p:stCondLst>
                                            <p:cond delay="0"/>
                                          </p:stCondLst>
                                        </p:cTn>
                                        <p:tgtEl>
                                          <p:spTgt spid="13"/>
                                        </p:tgtEl>
                                        <p:attrNameLst>
                                          <p:attrName>style.visibility</p:attrName>
                                        </p:attrNameLst>
                                      </p:cBhvr>
                                      <p:to>
                                        <p:strVal val="visible"/>
                                      </p:to>
                                    </p:set>
                                    <p:anim calcmode="lin" valueType="num">
                                      <p:cBhvr additive="base">
                                        <p:cTn id="59" dur="500" fill="hold"/>
                                        <p:tgtEl>
                                          <p:spTgt spid="13"/>
                                        </p:tgtEl>
                                        <p:attrNameLst>
                                          <p:attrName>ppt_x</p:attrName>
                                        </p:attrNameLst>
                                      </p:cBhvr>
                                      <p:tavLst>
                                        <p:tav tm="0">
                                          <p:val>
                                            <p:strVal val="1+#ppt_w/2"/>
                                          </p:val>
                                        </p:tav>
                                        <p:tav tm="100000">
                                          <p:val>
                                            <p:strVal val="#ppt_x"/>
                                          </p:val>
                                        </p:tav>
                                      </p:tavLst>
                                    </p:anim>
                                    <p:anim calcmode="lin" valueType="num">
                                      <p:cBhvr additive="base">
                                        <p:cTn id="60" dur="500" fill="hold"/>
                                        <p:tgtEl>
                                          <p:spTgt spid="13"/>
                                        </p:tgtEl>
                                        <p:attrNameLst>
                                          <p:attrName>ppt_y</p:attrName>
                                        </p:attrNameLst>
                                      </p:cBhvr>
                                      <p:tavLst>
                                        <p:tav tm="0">
                                          <p:val>
                                            <p:strVal val="1+#ppt_h/2"/>
                                          </p:val>
                                        </p:tav>
                                        <p:tav tm="100000">
                                          <p:val>
                                            <p:strVal val="#ppt_y"/>
                                          </p:val>
                                        </p:tav>
                                      </p:tavLst>
                                    </p:anim>
                                  </p:childTnLst>
                                </p:cTn>
                              </p:par>
                              <p:par>
                                <p:cTn id="61" presetID="2" presetClass="entr" presetSubtype="6" fill="hold" nodeType="withEffect">
                                  <p:stCondLst>
                                    <p:cond delay="0"/>
                                  </p:stCondLst>
                                  <p:childTnLst>
                                    <p:set>
                                      <p:cBhvr>
                                        <p:cTn id="62" dur="1" fill="hold">
                                          <p:stCondLst>
                                            <p:cond delay="0"/>
                                          </p:stCondLst>
                                        </p:cTn>
                                        <p:tgtEl>
                                          <p:spTgt spid="14"/>
                                        </p:tgtEl>
                                        <p:attrNameLst>
                                          <p:attrName>style.visibility</p:attrName>
                                        </p:attrNameLst>
                                      </p:cBhvr>
                                      <p:to>
                                        <p:strVal val="visible"/>
                                      </p:to>
                                    </p:set>
                                    <p:anim calcmode="lin" valueType="num">
                                      <p:cBhvr additive="base">
                                        <p:cTn id="63" dur="500" fill="hold"/>
                                        <p:tgtEl>
                                          <p:spTgt spid="14"/>
                                        </p:tgtEl>
                                        <p:attrNameLst>
                                          <p:attrName>ppt_x</p:attrName>
                                        </p:attrNameLst>
                                      </p:cBhvr>
                                      <p:tavLst>
                                        <p:tav tm="0">
                                          <p:val>
                                            <p:strVal val="1+#ppt_w/2"/>
                                          </p:val>
                                        </p:tav>
                                        <p:tav tm="100000">
                                          <p:val>
                                            <p:strVal val="#ppt_x"/>
                                          </p:val>
                                        </p:tav>
                                      </p:tavLst>
                                    </p:anim>
                                    <p:anim calcmode="lin" valueType="num">
                                      <p:cBhvr additive="base">
                                        <p:cTn id="64" dur="500" fill="hold"/>
                                        <p:tgtEl>
                                          <p:spTgt spid="14"/>
                                        </p:tgtEl>
                                        <p:attrNameLst>
                                          <p:attrName>ppt_y</p:attrName>
                                        </p:attrNameLst>
                                      </p:cBhvr>
                                      <p:tavLst>
                                        <p:tav tm="0">
                                          <p:val>
                                            <p:strVal val="1+#ppt_h/2"/>
                                          </p:val>
                                        </p:tav>
                                        <p:tav tm="100000">
                                          <p:val>
                                            <p:strVal val="#ppt_y"/>
                                          </p:val>
                                        </p:tav>
                                      </p:tavLst>
                                    </p:anim>
                                  </p:childTnLst>
                                </p:cTn>
                              </p:par>
                              <p:par>
                                <p:cTn id="65" presetID="2" presetClass="entr" presetSubtype="6" fill="hold" nodeType="withEffect">
                                  <p:stCondLst>
                                    <p:cond delay="0"/>
                                  </p:stCondLst>
                                  <p:childTnLst>
                                    <p:set>
                                      <p:cBhvr>
                                        <p:cTn id="66" dur="1" fill="hold">
                                          <p:stCondLst>
                                            <p:cond delay="0"/>
                                          </p:stCondLst>
                                        </p:cTn>
                                        <p:tgtEl>
                                          <p:spTgt spid="17"/>
                                        </p:tgtEl>
                                        <p:attrNameLst>
                                          <p:attrName>style.visibility</p:attrName>
                                        </p:attrNameLst>
                                      </p:cBhvr>
                                      <p:to>
                                        <p:strVal val="visible"/>
                                      </p:to>
                                    </p:set>
                                    <p:anim calcmode="lin" valueType="num">
                                      <p:cBhvr additive="base">
                                        <p:cTn id="67" dur="500" fill="hold"/>
                                        <p:tgtEl>
                                          <p:spTgt spid="17"/>
                                        </p:tgtEl>
                                        <p:attrNameLst>
                                          <p:attrName>ppt_x</p:attrName>
                                        </p:attrNameLst>
                                      </p:cBhvr>
                                      <p:tavLst>
                                        <p:tav tm="0">
                                          <p:val>
                                            <p:strVal val="1+#ppt_w/2"/>
                                          </p:val>
                                        </p:tav>
                                        <p:tav tm="100000">
                                          <p:val>
                                            <p:strVal val="#ppt_x"/>
                                          </p:val>
                                        </p:tav>
                                      </p:tavLst>
                                    </p:anim>
                                    <p:anim calcmode="lin" valueType="num">
                                      <p:cBhvr additive="base">
                                        <p:cTn id="68" dur="500" fill="hold"/>
                                        <p:tgtEl>
                                          <p:spTgt spid="17"/>
                                        </p:tgtEl>
                                        <p:attrNameLst>
                                          <p:attrName>ppt_y</p:attrName>
                                        </p:attrNameLst>
                                      </p:cBhvr>
                                      <p:tavLst>
                                        <p:tav tm="0">
                                          <p:val>
                                            <p:strVal val="1+#ppt_h/2"/>
                                          </p:val>
                                        </p:tav>
                                        <p:tav tm="100000">
                                          <p:val>
                                            <p:strVal val="#ppt_y"/>
                                          </p:val>
                                        </p:tav>
                                      </p:tavLst>
                                    </p:anim>
                                  </p:childTnLst>
                                </p:cTn>
                              </p:par>
                              <p:par>
                                <p:cTn id="69" presetID="2" presetClass="entr" presetSubtype="6" fill="hold" nodeType="withEffect">
                                  <p:stCondLst>
                                    <p:cond delay="0"/>
                                  </p:stCondLst>
                                  <p:childTnLst>
                                    <p:set>
                                      <p:cBhvr>
                                        <p:cTn id="70" dur="1" fill="hold">
                                          <p:stCondLst>
                                            <p:cond delay="0"/>
                                          </p:stCondLst>
                                        </p:cTn>
                                        <p:tgtEl>
                                          <p:spTgt spid="25"/>
                                        </p:tgtEl>
                                        <p:attrNameLst>
                                          <p:attrName>style.visibility</p:attrName>
                                        </p:attrNameLst>
                                      </p:cBhvr>
                                      <p:to>
                                        <p:strVal val="visible"/>
                                      </p:to>
                                    </p:set>
                                    <p:anim calcmode="lin" valueType="num">
                                      <p:cBhvr additive="base">
                                        <p:cTn id="71" dur="500" fill="hold"/>
                                        <p:tgtEl>
                                          <p:spTgt spid="25"/>
                                        </p:tgtEl>
                                        <p:attrNameLst>
                                          <p:attrName>ppt_x</p:attrName>
                                        </p:attrNameLst>
                                      </p:cBhvr>
                                      <p:tavLst>
                                        <p:tav tm="0">
                                          <p:val>
                                            <p:strVal val="1+#ppt_w/2"/>
                                          </p:val>
                                        </p:tav>
                                        <p:tav tm="100000">
                                          <p:val>
                                            <p:strVal val="#ppt_x"/>
                                          </p:val>
                                        </p:tav>
                                      </p:tavLst>
                                    </p:anim>
                                    <p:anim calcmode="lin" valueType="num">
                                      <p:cBhvr additive="base">
                                        <p:cTn id="72" dur="500" fill="hold"/>
                                        <p:tgtEl>
                                          <p:spTgt spid="25"/>
                                        </p:tgtEl>
                                        <p:attrNameLst>
                                          <p:attrName>ppt_y</p:attrName>
                                        </p:attrNameLst>
                                      </p:cBhvr>
                                      <p:tavLst>
                                        <p:tav tm="0">
                                          <p:val>
                                            <p:strVal val="1+#ppt_h/2"/>
                                          </p:val>
                                        </p:tav>
                                        <p:tav tm="100000">
                                          <p:val>
                                            <p:strVal val="#ppt_y"/>
                                          </p:val>
                                        </p:tav>
                                      </p:tavLst>
                                    </p:anim>
                                  </p:childTnLst>
                                </p:cTn>
                              </p:par>
                              <p:par>
                                <p:cTn id="73" presetID="2" presetClass="entr" presetSubtype="6" fill="hold" nodeType="withEffect">
                                  <p:stCondLst>
                                    <p:cond delay="0"/>
                                  </p:stCondLst>
                                  <p:childTnLst>
                                    <p:set>
                                      <p:cBhvr>
                                        <p:cTn id="74" dur="1" fill="hold">
                                          <p:stCondLst>
                                            <p:cond delay="0"/>
                                          </p:stCondLst>
                                        </p:cTn>
                                        <p:tgtEl>
                                          <p:spTgt spid="30"/>
                                        </p:tgtEl>
                                        <p:attrNameLst>
                                          <p:attrName>style.visibility</p:attrName>
                                        </p:attrNameLst>
                                      </p:cBhvr>
                                      <p:to>
                                        <p:strVal val="visible"/>
                                      </p:to>
                                    </p:set>
                                    <p:anim calcmode="lin" valueType="num">
                                      <p:cBhvr additive="base">
                                        <p:cTn id="75" dur="500" fill="hold"/>
                                        <p:tgtEl>
                                          <p:spTgt spid="30"/>
                                        </p:tgtEl>
                                        <p:attrNameLst>
                                          <p:attrName>ppt_x</p:attrName>
                                        </p:attrNameLst>
                                      </p:cBhvr>
                                      <p:tavLst>
                                        <p:tav tm="0">
                                          <p:val>
                                            <p:strVal val="1+#ppt_w/2"/>
                                          </p:val>
                                        </p:tav>
                                        <p:tav tm="100000">
                                          <p:val>
                                            <p:strVal val="#ppt_x"/>
                                          </p:val>
                                        </p:tav>
                                      </p:tavLst>
                                    </p:anim>
                                    <p:anim calcmode="lin" valueType="num">
                                      <p:cBhvr additive="base">
                                        <p:cTn id="76" dur="500" fill="hold"/>
                                        <p:tgtEl>
                                          <p:spTgt spid="30"/>
                                        </p:tgtEl>
                                        <p:attrNameLst>
                                          <p:attrName>ppt_y</p:attrName>
                                        </p:attrNameLst>
                                      </p:cBhvr>
                                      <p:tavLst>
                                        <p:tav tm="0">
                                          <p:val>
                                            <p:strVal val="1+#ppt_h/2"/>
                                          </p:val>
                                        </p:tav>
                                        <p:tav tm="100000">
                                          <p:val>
                                            <p:strVal val="#ppt_y"/>
                                          </p:val>
                                        </p:tav>
                                      </p:tavLst>
                                    </p:anim>
                                  </p:childTnLst>
                                </p:cTn>
                              </p:par>
                              <p:par>
                                <p:cTn id="77" presetID="2" presetClass="entr" presetSubtype="6" fill="hold" nodeType="withEffect">
                                  <p:stCondLst>
                                    <p:cond delay="0"/>
                                  </p:stCondLst>
                                  <p:childTnLst>
                                    <p:set>
                                      <p:cBhvr>
                                        <p:cTn id="78" dur="1" fill="hold">
                                          <p:stCondLst>
                                            <p:cond delay="0"/>
                                          </p:stCondLst>
                                        </p:cTn>
                                        <p:tgtEl>
                                          <p:spTgt spid="18"/>
                                        </p:tgtEl>
                                        <p:attrNameLst>
                                          <p:attrName>style.visibility</p:attrName>
                                        </p:attrNameLst>
                                      </p:cBhvr>
                                      <p:to>
                                        <p:strVal val="visible"/>
                                      </p:to>
                                    </p:set>
                                    <p:anim calcmode="lin" valueType="num">
                                      <p:cBhvr additive="base">
                                        <p:cTn id="79" dur="500" fill="hold"/>
                                        <p:tgtEl>
                                          <p:spTgt spid="18"/>
                                        </p:tgtEl>
                                        <p:attrNameLst>
                                          <p:attrName>ppt_x</p:attrName>
                                        </p:attrNameLst>
                                      </p:cBhvr>
                                      <p:tavLst>
                                        <p:tav tm="0">
                                          <p:val>
                                            <p:strVal val="1+#ppt_w/2"/>
                                          </p:val>
                                        </p:tav>
                                        <p:tav tm="100000">
                                          <p:val>
                                            <p:strVal val="#ppt_x"/>
                                          </p:val>
                                        </p:tav>
                                      </p:tavLst>
                                    </p:anim>
                                    <p:anim calcmode="lin" valueType="num">
                                      <p:cBhvr additive="base">
                                        <p:cTn id="80" dur="500" fill="hold"/>
                                        <p:tgtEl>
                                          <p:spTgt spid="18"/>
                                        </p:tgtEl>
                                        <p:attrNameLst>
                                          <p:attrName>ppt_y</p:attrName>
                                        </p:attrNameLst>
                                      </p:cBhvr>
                                      <p:tavLst>
                                        <p:tav tm="0">
                                          <p:val>
                                            <p:strVal val="1+#ppt_h/2"/>
                                          </p:val>
                                        </p:tav>
                                        <p:tav tm="100000">
                                          <p:val>
                                            <p:strVal val="#ppt_y"/>
                                          </p:val>
                                        </p:tav>
                                      </p:tavLst>
                                    </p:anim>
                                  </p:childTnLst>
                                </p:cTn>
                              </p:par>
                              <p:par>
                                <p:cTn id="81" presetID="2" presetClass="entr" presetSubtype="6" fill="hold" nodeType="withEffect">
                                  <p:stCondLst>
                                    <p:cond delay="0"/>
                                  </p:stCondLst>
                                  <p:childTnLst>
                                    <p:set>
                                      <p:cBhvr>
                                        <p:cTn id="82" dur="1" fill="hold">
                                          <p:stCondLst>
                                            <p:cond delay="0"/>
                                          </p:stCondLst>
                                        </p:cTn>
                                        <p:tgtEl>
                                          <p:spTgt spid="26"/>
                                        </p:tgtEl>
                                        <p:attrNameLst>
                                          <p:attrName>style.visibility</p:attrName>
                                        </p:attrNameLst>
                                      </p:cBhvr>
                                      <p:to>
                                        <p:strVal val="visible"/>
                                      </p:to>
                                    </p:set>
                                    <p:anim calcmode="lin" valueType="num">
                                      <p:cBhvr additive="base">
                                        <p:cTn id="83" dur="500" fill="hold"/>
                                        <p:tgtEl>
                                          <p:spTgt spid="26"/>
                                        </p:tgtEl>
                                        <p:attrNameLst>
                                          <p:attrName>ppt_x</p:attrName>
                                        </p:attrNameLst>
                                      </p:cBhvr>
                                      <p:tavLst>
                                        <p:tav tm="0">
                                          <p:val>
                                            <p:strVal val="1+#ppt_w/2"/>
                                          </p:val>
                                        </p:tav>
                                        <p:tav tm="100000">
                                          <p:val>
                                            <p:strVal val="#ppt_x"/>
                                          </p:val>
                                        </p:tav>
                                      </p:tavLst>
                                    </p:anim>
                                    <p:anim calcmode="lin" valueType="num">
                                      <p:cBhvr additive="base">
                                        <p:cTn id="84" dur="500" fill="hold"/>
                                        <p:tgtEl>
                                          <p:spTgt spid="26"/>
                                        </p:tgtEl>
                                        <p:attrNameLst>
                                          <p:attrName>ppt_y</p:attrName>
                                        </p:attrNameLst>
                                      </p:cBhvr>
                                      <p:tavLst>
                                        <p:tav tm="0">
                                          <p:val>
                                            <p:strVal val="1+#ppt_h/2"/>
                                          </p:val>
                                        </p:tav>
                                        <p:tav tm="100000">
                                          <p:val>
                                            <p:strVal val="#ppt_y"/>
                                          </p:val>
                                        </p:tav>
                                      </p:tavLst>
                                    </p:anim>
                                  </p:childTnLst>
                                </p:cTn>
                              </p:par>
                              <p:par>
                                <p:cTn id="85" presetID="2" presetClass="entr" presetSubtype="6" fill="hold" nodeType="withEffect">
                                  <p:stCondLst>
                                    <p:cond delay="0"/>
                                  </p:stCondLst>
                                  <p:childTnLst>
                                    <p:set>
                                      <p:cBhvr>
                                        <p:cTn id="86" dur="1" fill="hold">
                                          <p:stCondLst>
                                            <p:cond delay="0"/>
                                          </p:stCondLst>
                                        </p:cTn>
                                        <p:tgtEl>
                                          <p:spTgt spid="19"/>
                                        </p:tgtEl>
                                        <p:attrNameLst>
                                          <p:attrName>style.visibility</p:attrName>
                                        </p:attrNameLst>
                                      </p:cBhvr>
                                      <p:to>
                                        <p:strVal val="visible"/>
                                      </p:to>
                                    </p:set>
                                    <p:anim calcmode="lin" valueType="num">
                                      <p:cBhvr additive="base">
                                        <p:cTn id="87" dur="500" fill="hold"/>
                                        <p:tgtEl>
                                          <p:spTgt spid="19"/>
                                        </p:tgtEl>
                                        <p:attrNameLst>
                                          <p:attrName>ppt_x</p:attrName>
                                        </p:attrNameLst>
                                      </p:cBhvr>
                                      <p:tavLst>
                                        <p:tav tm="0">
                                          <p:val>
                                            <p:strVal val="1+#ppt_w/2"/>
                                          </p:val>
                                        </p:tav>
                                        <p:tav tm="100000">
                                          <p:val>
                                            <p:strVal val="#ppt_x"/>
                                          </p:val>
                                        </p:tav>
                                      </p:tavLst>
                                    </p:anim>
                                    <p:anim calcmode="lin" valueType="num">
                                      <p:cBhvr additive="base">
                                        <p:cTn id="88" dur="500" fill="hold"/>
                                        <p:tgtEl>
                                          <p:spTgt spid="19"/>
                                        </p:tgtEl>
                                        <p:attrNameLst>
                                          <p:attrName>ppt_y</p:attrName>
                                        </p:attrNameLst>
                                      </p:cBhvr>
                                      <p:tavLst>
                                        <p:tav tm="0">
                                          <p:val>
                                            <p:strVal val="1+#ppt_h/2"/>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15"/>
                                        </p:tgtEl>
                                        <p:attrNameLst>
                                          <p:attrName>style.visibility</p:attrName>
                                        </p:attrNameLst>
                                      </p:cBhvr>
                                      <p:to>
                                        <p:strVal val="visible"/>
                                      </p:to>
                                    </p:set>
                                    <p:anim calcmode="lin" valueType="num">
                                      <p:cBhvr additive="base">
                                        <p:cTn id="91" dur="500" fill="hold"/>
                                        <p:tgtEl>
                                          <p:spTgt spid="15"/>
                                        </p:tgtEl>
                                        <p:attrNameLst>
                                          <p:attrName>ppt_x</p:attrName>
                                        </p:attrNameLst>
                                      </p:cBhvr>
                                      <p:tavLst>
                                        <p:tav tm="0">
                                          <p:val>
                                            <p:strVal val="1+#ppt_w/2"/>
                                          </p:val>
                                        </p:tav>
                                        <p:tav tm="100000">
                                          <p:val>
                                            <p:strVal val="#ppt_x"/>
                                          </p:val>
                                        </p:tav>
                                      </p:tavLst>
                                    </p:anim>
                                    <p:anim calcmode="lin" valueType="num">
                                      <p:cBhvr additive="base">
                                        <p:cTn id="92" dur="500" fill="hold"/>
                                        <p:tgtEl>
                                          <p:spTgt spid="15"/>
                                        </p:tgtEl>
                                        <p:attrNameLst>
                                          <p:attrName>ppt_y</p:attrName>
                                        </p:attrNameLst>
                                      </p:cBhvr>
                                      <p:tavLst>
                                        <p:tav tm="0">
                                          <p:val>
                                            <p:strVal val="#ppt_y"/>
                                          </p:val>
                                        </p:tav>
                                        <p:tav tm="100000">
                                          <p:val>
                                            <p:strVal val="#ppt_y"/>
                                          </p:val>
                                        </p:tav>
                                      </p:tavLst>
                                    </p:anim>
                                  </p:childTnLst>
                                </p:cTn>
                              </p:par>
                              <p:par>
                                <p:cTn id="93" presetID="2" presetClass="entr" presetSubtype="2" fill="hold" nodeType="withEffect">
                                  <p:stCondLst>
                                    <p:cond delay="0"/>
                                  </p:stCondLst>
                                  <p:childTnLst>
                                    <p:set>
                                      <p:cBhvr>
                                        <p:cTn id="94" dur="1" fill="hold">
                                          <p:stCondLst>
                                            <p:cond delay="0"/>
                                          </p:stCondLst>
                                        </p:cTn>
                                        <p:tgtEl>
                                          <p:spTgt spid="23"/>
                                        </p:tgtEl>
                                        <p:attrNameLst>
                                          <p:attrName>style.visibility</p:attrName>
                                        </p:attrNameLst>
                                      </p:cBhvr>
                                      <p:to>
                                        <p:strVal val="visible"/>
                                      </p:to>
                                    </p:set>
                                    <p:anim calcmode="lin" valueType="num">
                                      <p:cBhvr additive="base">
                                        <p:cTn id="95" dur="500" fill="hold"/>
                                        <p:tgtEl>
                                          <p:spTgt spid="23"/>
                                        </p:tgtEl>
                                        <p:attrNameLst>
                                          <p:attrName>ppt_x</p:attrName>
                                        </p:attrNameLst>
                                      </p:cBhvr>
                                      <p:tavLst>
                                        <p:tav tm="0">
                                          <p:val>
                                            <p:strVal val="1+#ppt_w/2"/>
                                          </p:val>
                                        </p:tav>
                                        <p:tav tm="100000">
                                          <p:val>
                                            <p:strVal val="#ppt_x"/>
                                          </p:val>
                                        </p:tav>
                                      </p:tavLst>
                                    </p:anim>
                                    <p:anim calcmode="lin" valueType="num">
                                      <p:cBhvr additive="base">
                                        <p:cTn id="96" dur="500" fill="hold"/>
                                        <p:tgtEl>
                                          <p:spTgt spid="23"/>
                                        </p:tgtEl>
                                        <p:attrNameLst>
                                          <p:attrName>ppt_y</p:attrName>
                                        </p:attrNameLst>
                                      </p:cBhvr>
                                      <p:tavLst>
                                        <p:tav tm="0">
                                          <p:val>
                                            <p:strVal val="#ppt_y"/>
                                          </p:val>
                                        </p:tav>
                                        <p:tav tm="100000">
                                          <p:val>
                                            <p:strVal val="#ppt_y"/>
                                          </p:val>
                                        </p:tav>
                                      </p:tavLst>
                                    </p:anim>
                                  </p:childTnLst>
                                </p:cTn>
                              </p:par>
                              <p:par>
                                <p:cTn id="97" presetID="2" presetClass="entr" presetSubtype="2" fill="hold" nodeType="withEffect">
                                  <p:stCondLst>
                                    <p:cond delay="0"/>
                                  </p:stCondLst>
                                  <p:childTnLst>
                                    <p:set>
                                      <p:cBhvr>
                                        <p:cTn id="98" dur="1" fill="hold">
                                          <p:stCondLst>
                                            <p:cond delay="0"/>
                                          </p:stCondLst>
                                        </p:cTn>
                                        <p:tgtEl>
                                          <p:spTgt spid="28"/>
                                        </p:tgtEl>
                                        <p:attrNameLst>
                                          <p:attrName>style.visibility</p:attrName>
                                        </p:attrNameLst>
                                      </p:cBhvr>
                                      <p:to>
                                        <p:strVal val="visible"/>
                                      </p:to>
                                    </p:set>
                                    <p:anim calcmode="lin" valueType="num">
                                      <p:cBhvr additive="base">
                                        <p:cTn id="99" dur="500" fill="hold"/>
                                        <p:tgtEl>
                                          <p:spTgt spid="28"/>
                                        </p:tgtEl>
                                        <p:attrNameLst>
                                          <p:attrName>ppt_x</p:attrName>
                                        </p:attrNameLst>
                                      </p:cBhvr>
                                      <p:tavLst>
                                        <p:tav tm="0">
                                          <p:val>
                                            <p:strVal val="1+#ppt_w/2"/>
                                          </p:val>
                                        </p:tav>
                                        <p:tav tm="100000">
                                          <p:val>
                                            <p:strVal val="#ppt_x"/>
                                          </p:val>
                                        </p:tav>
                                      </p:tavLst>
                                    </p:anim>
                                    <p:anim calcmode="lin" valueType="num">
                                      <p:cBhvr additive="base">
                                        <p:cTn id="100" dur="500" fill="hold"/>
                                        <p:tgtEl>
                                          <p:spTgt spid="28"/>
                                        </p:tgtEl>
                                        <p:attrNameLst>
                                          <p:attrName>ppt_y</p:attrName>
                                        </p:attrNameLst>
                                      </p:cBhvr>
                                      <p:tavLst>
                                        <p:tav tm="0">
                                          <p:val>
                                            <p:strVal val="#ppt_y"/>
                                          </p:val>
                                        </p:tav>
                                        <p:tav tm="100000">
                                          <p:val>
                                            <p:strVal val="#ppt_y"/>
                                          </p:val>
                                        </p:tav>
                                      </p:tavLst>
                                    </p:anim>
                                  </p:childTnLst>
                                </p:cTn>
                              </p:par>
                              <p:par>
                                <p:cTn id="101" presetID="2" presetClass="entr" presetSubtype="2" fill="hold" nodeType="withEffect">
                                  <p:stCondLst>
                                    <p:cond delay="0"/>
                                  </p:stCondLst>
                                  <p:childTnLst>
                                    <p:set>
                                      <p:cBhvr>
                                        <p:cTn id="102" dur="1" fill="hold">
                                          <p:stCondLst>
                                            <p:cond delay="0"/>
                                          </p:stCondLst>
                                        </p:cTn>
                                        <p:tgtEl>
                                          <p:spTgt spid="33"/>
                                        </p:tgtEl>
                                        <p:attrNameLst>
                                          <p:attrName>style.visibility</p:attrName>
                                        </p:attrNameLst>
                                      </p:cBhvr>
                                      <p:to>
                                        <p:strVal val="visible"/>
                                      </p:to>
                                    </p:set>
                                    <p:anim calcmode="lin" valueType="num">
                                      <p:cBhvr additive="base">
                                        <p:cTn id="103" dur="500" fill="hold"/>
                                        <p:tgtEl>
                                          <p:spTgt spid="33"/>
                                        </p:tgtEl>
                                        <p:attrNameLst>
                                          <p:attrName>ppt_x</p:attrName>
                                        </p:attrNameLst>
                                      </p:cBhvr>
                                      <p:tavLst>
                                        <p:tav tm="0">
                                          <p:val>
                                            <p:strVal val="1+#ppt_w/2"/>
                                          </p:val>
                                        </p:tav>
                                        <p:tav tm="100000">
                                          <p:val>
                                            <p:strVal val="#ppt_x"/>
                                          </p:val>
                                        </p:tav>
                                      </p:tavLst>
                                    </p:anim>
                                    <p:anim calcmode="lin" valueType="num">
                                      <p:cBhvr additive="base">
                                        <p:cTn id="104" dur="500" fill="hold"/>
                                        <p:tgtEl>
                                          <p:spTgt spid="33"/>
                                        </p:tgtEl>
                                        <p:attrNameLst>
                                          <p:attrName>ppt_y</p:attrName>
                                        </p:attrNameLst>
                                      </p:cBhvr>
                                      <p:tavLst>
                                        <p:tav tm="0">
                                          <p:val>
                                            <p:strVal val="#ppt_y"/>
                                          </p:val>
                                        </p:tav>
                                        <p:tav tm="100000">
                                          <p:val>
                                            <p:strVal val="#ppt_y"/>
                                          </p:val>
                                        </p:tav>
                                      </p:tavLst>
                                    </p:anim>
                                  </p:childTnLst>
                                </p:cTn>
                              </p:par>
                              <p:par>
                                <p:cTn id="105" presetID="2" presetClass="entr" presetSubtype="2" fill="hold" nodeType="withEffect">
                                  <p:stCondLst>
                                    <p:cond delay="0"/>
                                  </p:stCondLst>
                                  <p:childTnLst>
                                    <p:set>
                                      <p:cBhvr>
                                        <p:cTn id="106" dur="1" fill="hold">
                                          <p:stCondLst>
                                            <p:cond delay="0"/>
                                          </p:stCondLst>
                                        </p:cTn>
                                        <p:tgtEl>
                                          <p:spTgt spid="20"/>
                                        </p:tgtEl>
                                        <p:attrNameLst>
                                          <p:attrName>style.visibility</p:attrName>
                                        </p:attrNameLst>
                                      </p:cBhvr>
                                      <p:to>
                                        <p:strVal val="visible"/>
                                      </p:to>
                                    </p:set>
                                    <p:anim calcmode="lin" valueType="num">
                                      <p:cBhvr additive="base">
                                        <p:cTn id="107" dur="500" fill="hold"/>
                                        <p:tgtEl>
                                          <p:spTgt spid="20"/>
                                        </p:tgtEl>
                                        <p:attrNameLst>
                                          <p:attrName>ppt_x</p:attrName>
                                        </p:attrNameLst>
                                      </p:cBhvr>
                                      <p:tavLst>
                                        <p:tav tm="0">
                                          <p:val>
                                            <p:strVal val="1+#ppt_w/2"/>
                                          </p:val>
                                        </p:tav>
                                        <p:tav tm="100000">
                                          <p:val>
                                            <p:strVal val="#ppt_x"/>
                                          </p:val>
                                        </p:tav>
                                      </p:tavLst>
                                    </p:anim>
                                    <p:anim calcmode="lin" valueType="num">
                                      <p:cBhvr additive="base">
                                        <p:cTn id="108" dur="500" fill="hold"/>
                                        <p:tgtEl>
                                          <p:spTgt spid="20"/>
                                        </p:tgtEl>
                                        <p:attrNameLst>
                                          <p:attrName>ppt_y</p:attrName>
                                        </p:attrNameLst>
                                      </p:cBhvr>
                                      <p:tavLst>
                                        <p:tav tm="0">
                                          <p:val>
                                            <p:strVal val="#ppt_y"/>
                                          </p:val>
                                        </p:tav>
                                        <p:tav tm="100000">
                                          <p:val>
                                            <p:strVal val="#ppt_y"/>
                                          </p:val>
                                        </p:tav>
                                      </p:tavLst>
                                    </p:anim>
                                  </p:childTnLst>
                                </p:cTn>
                              </p:par>
                              <p:par>
                                <p:cTn id="109" presetID="2" presetClass="entr" presetSubtype="2" fill="hold" nodeType="withEffect">
                                  <p:stCondLst>
                                    <p:cond delay="0"/>
                                  </p:stCondLst>
                                  <p:childTnLst>
                                    <p:set>
                                      <p:cBhvr>
                                        <p:cTn id="110" dur="1" fill="hold">
                                          <p:stCondLst>
                                            <p:cond delay="0"/>
                                          </p:stCondLst>
                                        </p:cTn>
                                        <p:tgtEl>
                                          <p:spTgt spid="27"/>
                                        </p:tgtEl>
                                        <p:attrNameLst>
                                          <p:attrName>style.visibility</p:attrName>
                                        </p:attrNameLst>
                                      </p:cBhvr>
                                      <p:to>
                                        <p:strVal val="visible"/>
                                      </p:to>
                                    </p:set>
                                    <p:anim calcmode="lin" valueType="num">
                                      <p:cBhvr additive="base">
                                        <p:cTn id="111" dur="500" fill="hold"/>
                                        <p:tgtEl>
                                          <p:spTgt spid="27"/>
                                        </p:tgtEl>
                                        <p:attrNameLst>
                                          <p:attrName>ppt_x</p:attrName>
                                        </p:attrNameLst>
                                      </p:cBhvr>
                                      <p:tavLst>
                                        <p:tav tm="0">
                                          <p:val>
                                            <p:strVal val="1+#ppt_w/2"/>
                                          </p:val>
                                        </p:tav>
                                        <p:tav tm="100000">
                                          <p:val>
                                            <p:strVal val="#ppt_x"/>
                                          </p:val>
                                        </p:tav>
                                      </p:tavLst>
                                    </p:anim>
                                    <p:anim calcmode="lin" valueType="num">
                                      <p:cBhvr additive="base">
                                        <p:cTn id="112" dur="500" fill="hold"/>
                                        <p:tgtEl>
                                          <p:spTgt spid="27"/>
                                        </p:tgtEl>
                                        <p:attrNameLst>
                                          <p:attrName>ppt_y</p:attrName>
                                        </p:attrNameLst>
                                      </p:cBhvr>
                                      <p:tavLst>
                                        <p:tav tm="0">
                                          <p:val>
                                            <p:strVal val="#ppt_y"/>
                                          </p:val>
                                        </p:tav>
                                        <p:tav tm="100000">
                                          <p:val>
                                            <p:strVal val="#ppt_y"/>
                                          </p:val>
                                        </p:tav>
                                      </p:tavLst>
                                    </p:anim>
                                  </p:childTnLst>
                                </p:cTn>
                              </p:par>
                              <p:par>
                                <p:cTn id="113" presetID="2" presetClass="entr" presetSubtype="2" fill="hold" nodeType="withEffect">
                                  <p:stCondLst>
                                    <p:cond delay="0"/>
                                  </p:stCondLst>
                                  <p:childTnLst>
                                    <p:set>
                                      <p:cBhvr>
                                        <p:cTn id="114" dur="1" fill="hold">
                                          <p:stCondLst>
                                            <p:cond delay="0"/>
                                          </p:stCondLst>
                                        </p:cTn>
                                        <p:tgtEl>
                                          <p:spTgt spid="32"/>
                                        </p:tgtEl>
                                        <p:attrNameLst>
                                          <p:attrName>style.visibility</p:attrName>
                                        </p:attrNameLst>
                                      </p:cBhvr>
                                      <p:to>
                                        <p:strVal val="visible"/>
                                      </p:to>
                                    </p:set>
                                    <p:anim calcmode="lin" valueType="num">
                                      <p:cBhvr additive="base">
                                        <p:cTn id="115" dur="500" fill="hold"/>
                                        <p:tgtEl>
                                          <p:spTgt spid="32"/>
                                        </p:tgtEl>
                                        <p:attrNameLst>
                                          <p:attrName>ppt_x</p:attrName>
                                        </p:attrNameLst>
                                      </p:cBhvr>
                                      <p:tavLst>
                                        <p:tav tm="0">
                                          <p:val>
                                            <p:strVal val="1+#ppt_w/2"/>
                                          </p:val>
                                        </p:tav>
                                        <p:tav tm="100000">
                                          <p:val>
                                            <p:strVal val="#ppt_x"/>
                                          </p:val>
                                        </p:tav>
                                      </p:tavLst>
                                    </p:anim>
                                    <p:anim calcmode="lin" valueType="num">
                                      <p:cBhvr additive="base">
                                        <p:cTn id="116" dur="500" fill="hold"/>
                                        <p:tgtEl>
                                          <p:spTgt spid="32"/>
                                        </p:tgtEl>
                                        <p:attrNameLst>
                                          <p:attrName>ppt_y</p:attrName>
                                        </p:attrNameLst>
                                      </p:cBhvr>
                                      <p:tavLst>
                                        <p:tav tm="0">
                                          <p:val>
                                            <p:strVal val="#ppt_y"/>
                                          </p:val>
                                        </p:tav>
                                        <p:tav tm="100000">
                                          <p:val>
                                            <p:strVal val="#ppt_y"/>
                                          </p:val>
                                        </p:tav>
                                      </p:tavLst>
                                    </p:anim>
                                  </p:childTnLst>
                                </p:cTn>
                              </p:par>
                              <p:par>
                                <p:cTn id="117" presetID="2" presetClass="entr" presetSubtype="2" fill="hold" nodeType="withEffect">
                                  <p:stCondLst>
                                    <p:cond delay="0"/>
                                  </p:stCondLst>
                                  <p:childTnLst>
                                    <p:set>
                                      <p:cBhvr>
                                        <p:cTn id="118" dur="1" fill="hold">
                                          <p:stCondLst>
                                            <p:cond delay="0"/>
                                          </p:stCondLst>
                                        </p:cTn>
                                        <p:tgtEl>
                                          <p:spTgt spid="21"/>
                                        </p:tgtEl>
                                        <p:attrNameLst>
                                          <p:attrName>style.visibility</p:attrName>
                                        </p:attrNameLst>
                                      </p:cBhvr>
                                      <p:to>
                                        <p:strVal val="visible"/>
                                      </p:to>
                                    </p:set>
                                    <p:anim calcmode="lin" valueType="num">
                                      <p:cBhvr additive="base">
                                        <p:cTn id="119" dur="500" fill="hold"/>
                                        <p:tgtEl>
                                          <p:spTgt spid="21"/>
                                        </p:tgtEl>
                                        <p:attrNameLst>
                                          <p:attrName>ppt_x</p:attrName>
                                        </p:attrNameLst>
                                      </p:cBhvr>
                                      <p:tavLst>
                                        <p:tav tm="0">
                                          <p:val>
                                            <p:strVal val="1+#ppt_w/2"/>
                                          </p:val>
                                        </p:tav>
                                        <p:tav tm="100000">
                                          <p:val>
                                            <p:strVal val="#ppt_x"/>
                                          </p:val>
                                        </p:tav>
                                      </p:tavLst>
                                    </p:anim>
                                    <p:anim calcmode="lin" valueType="num">
                                      <p:cBhvr additive="base">
                                        <p:cTn id="120" dur="500" fill="hold"/>
                                        <p:tgtEl>
                                          <p:spTgt spid="21"/>
                                        </p:tgtEl>
                                        <p:attrNameLst>
                                          <p:attrName>ppt_y</p:attrName>
                                        </p:attrNameLst>
                                      </p:cBhvr>
                                      <p:tavLst>
                                        <p:tav tm="0">
                                          <p:val>
                                            <p:strVal val="#ppt_y"/>
                                          </p:val>
                                        </p:tav>
                                        <p:tav tm="100000">
                                          <p:val>
                                            <p:strVal val="#ppt_y"/>
                                          </p:val>
                                        </p:tav>
                                      </p:tavLst>
                                    </p:anim>
                                  </p:childTnLst>
                                </p:cTn>
                              </p:par>
                              <p:par>
                                <p:cTn id="121" presetID="2" presetClass="entr" presetSubtype="2" fill="hold" nodeType="withEffect">
                                  <p:stCondLst>
                                    <p:cond delay="0"/>
                                  </p:stCondLst>
                                  <p:childTnLst>
                                    <p:set>
                                      <p:cBhvr>
                                        <p:cTn id="122" dur="1" fill="hold">
                                          <p:stCondLst>
                                            <p:cond delay="0"/>
                                          </p:stCondLst>
                                        </p:cTn>
                                        <p:tgtEl>
                                          <p:spTgt spid="31"/>
                                        </p:tgtEl>
                                        <p:attrNameLst>
                                          <p:attrName>style.visibility</p:attrName>
                                        </p:attrNameLst>
                                      </p:cBhvr>
                                      <p:to>
                                        <p:strVal val="visible"/>
                                      </p:to>
                                    </p:set>
                                    <p:anim calcmode="lin" valueType="num">
                                      <p:cBhvr additive="base">
                                        <p:cTn id="123" dur="500" fill="hold"/>
                                        <p:tgtEl>
                                          <p:spTgt spid="31"/>
                                        </p:tgtEl>
                                        <p:attrNameLst>
                                          <p:attrName>ppt_x</p:attrName>
                                        </p:attrNameLst>
                                      </p:cBhvr>
                                      <p:tavLst>
                                        <p:tav tm="0">
                                          <p:val>
                                            <p:strVal val="1+#ppt_w/2"/>
                                          </p:val>
                                        </p:tav>
                                        <p:tav tm="100000">
                                          <p:val>
                                            <p:strVal val="#ppt_x"/>
                                          </p:val>
                                        </p:tav>
                                      </p:tavLst>
                                    </p:anim>
                                    <p:anim calcmode="lin" valueType="num">
                                      <p:cBhvr additive="base">
                                        <p:cTn id="124" dur="500" fill="hold"/>
                                        <p:tgtEl>
                                          <p:spTgt spid="31"/>
                                        </p:tgtEl>
                                        <p:attrNameLst>
                                          <p:attrName>ppt_y</p:attrName>
                                        </p:attrNameLst>
                                      </p:cBhvr>
                                      <p:tavLst>
                                        <p:tav tm="0">
                                          <p:val>
                                            <p:strVal val="#ppt_y"/>
                                          </p:val>
                                        </p:tav>
                                        <p:tav tm="100000">
                                          <p:val>
                                            <p:strVal val="#ppt_y"/>
                                          </p:val>
                                        </p:tav>
                                      </p:tavLst>
                                    </p:anim>
                                  </p:childTnLst>
                                </p:cTn>
                              </p:par>
                              <p:par>
                                <p:cTn id="125" presetID="2" presetClass="entr" presetSubtype="2" fill="hold" nodeType="withEffect">
                                  <p:stCondLst>
                                    <p:cond delay="0"/>
                                  </p:stCondLst>
                                  <p:childTnLst>
                                    <p:set>
                                      <p:cBhvr>
                                        <p:cTn id="126" dur="1" fill="hold">
                                          <p:stCondLst>
                                            <p:cond delay="0"/>
                                          </p:stCondLst>
                                        </p:cTn>
                                        <p:tgtEl>
                                          <p:spTgt spid="22"/>
                                        </p:tgtEl>
                                        <p:attrNameLst>
                                          <p:attrName>style.visibility</p:attrName>
                                        </p:attrNameLst>
                                      </p:cBhvr>
                                      <p:to>
                                        <p:strVal val="visible"/>
                                      </p:to>
                                    </p:set>
                                    <p:anim calcmode="lin" valueType="num">
                                      <p:cBhvr additive="base">
                                        <p:cTn id="127" dur="500" fill="hold"/>
                                        <p:tgtEl>
                                          <p:spTgt spid="22"/>
                                        </p:tgtEl>
                                        <p:attrNameLst>
                                          <p:attrName>ppt_x</p:attrName>
                                        </p:attrNameLst>
                                      </p:cBhvr>
                                      <p:tavLst>
                                        <p:tav tm="0">
                                          <p:val>
                                            <p:strVal val="1+#ppt_w/2"/>
                                          </p:val>
                                        </p:tav>
                                        <p:tav tm="100000">
                                          <p:val>
                                            <p:strVal val="#ppt_x"/>
                                          </p:val>
                                        </p:tav>
                                      </p:tavLst>
                                    </p:anim>
                                    <p:anim calcmode="lin" valueType="num">
                                      <p:cBhvr additive="base">
                                        <p:cTn id="128" dur="50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838200" y="1213174"/>
            <a:ext cx="5458223" cy="4739759"/>
          </a:xfrm>
          <a:prstGeom prst="rect">
            <a:avLst/>
          </a:prstGeom>
        </p:spPr>
        <p:txBody>
          <a:bodyPr wrap="square" lIns="73152" tIns="0" rIns="0" bIns="0">
            <a:spAutoFit/>
          </a:bodyPr>
          <a:lstStyle/>
          <a:p>
            <a:pPr marL="285750" indent="-285750">
              <a:spcAft>
                <a:spcPts val="600"/>
              </a:spcAft>
              <a:buFont typeface="Arial" panose="020B0604020202020204" pitchFamily="34" charset="0"/>
              <a:buChar char="•"/>
            </a:pPr>
            <a:r>
              <a:rPr lang="en-GB" sz="2400" dirty="0">
                <a:sym typeface="Symbol" pitchFamily="18" charset="2"/>
              </a:rPr>
              <a:t>Main purpose of the APS is that analysis can be conducted at </a:t>
            </a:r>
            <a:r>
              <a:rPr lang="en-GB" sz="2400" b="1" dirty="0">
                <a:sym typeface="Symbol" pitchFamily="18" charset="2"/>
              </a:rPr>
              <a:t>Local Authority level</a:t>
            </a:r>
          </a:p>
          <a:p>
            <a:pPr marL="285750" indent="-285750">
              <a:spcAft>
                <a:spcPts val="600"/>
              </a:spcAft>
              <a:buFont typeface="Arial" panose="020B0604020202020204" pitchFamily="34" charset="0"/>
              <a:buChar char="•"/>
            </a:pPr>
            <a:r>
              <a:rPr lang="en-GB" sz="2400" dirty="0">
                <a:sym typeface="Symbol" pitchFamily="18" charset="2"/>
              </a:rPr>
              <a:t>The ‘boost’ cases ensure a set number of cases for each Local Authority are targeted</a:t>
            </a:r>
          </a:p>
          <a:p>
            <a:pPr marL="285750" indent="-285750">
              <a:spcAft>
                <a:spcPts val="600"/>
              </a:spcAft>
              <a:buFont typeface="Arial" panose="020B0604020202020204" pitchFamily="34" charset="0"/>
              <a:buChar char="•"/>
            </a:pPr>
            <a:r>
              <a:rPr lang="en-GB" sz="2400" dirty="0">
                <a:sym typeface="Symbol" pitchFamily="18" charset="2"/>
              </a:rPr>
              <a:t>Around</a:t>
            </a:r>
            <a:r>
              <a:rPr lang="en-GB" sz="2400" dirty="0">
                <a:solidFill>
                  <a:schemeClr val="bg1"/>
                </a:solidFill>
                <a:sym typeface="Symbol" pitchFamily="18" charset="2"/>
              </a:rPr>
              <a:t> </a:t>
            </a:r>
            <a:r>
              <a:rPr lang="en-GB" sz="2400" b="1" u="sng" dirty="0">
                <a:solidFill>
                  <a:schemeClr val="folHlink"/>
                </a:solidFill>
                <a:sym typeface="Symbol" pitchFamily="18" charset="2"/>
              </a:rPr>
              <a:t>200,000 households</a:t>
            </a:r>
            <a:r>
              <a:rPr lang="en-GB" sz="2400" dirty="0">
                <a:solidFill>
                  <a:schemeClr val="bg1"/>
                </a:solidFill>
                <a:sym typeface="Symbol" pitchFamily="18" charset="2"/>
              </a:rPr>
              <a:t> </a:t>
            </a:r>
            <a:r>
              <a:rPr lang="en-GB" sz="2400" dirty="0">
                <a:sym typeface="Symbol" pitchFamily="18" charset="2"/>
              </a:rPr>
              <a:t>are contacted…</a:t>
            </a:r>
          </a:p>
          <a:p>
            <a:pPr marL="285750" indent="-285750">
              <a:spcAft>
                <a:spcPts val="600"/>
              </a:spcAft>
              <a:buFont typeface="Arial" panose="020B0604020202020204" pitchFamily="34" charset="0"/>
              <a:buChar char="•"/>
            </a:pPr>
            <a:r>
              <a:rPr lang="en-GB" sz="2400" dirty="0">
                <a:sym typeface="Symbol" pitchFamily="18" charset="2"/>
              </a:rPr>
              <a:t>Around </a:t>
            </a:r>
            <a:r>
              <a:rPr lang="en-GB" sz="2400" b="1" u="sng" dirty="0">
                <a:solidFill>
                  <a:schemeClr val="folHlink"/>
                </a:solidFill>
                <a:sym typeface="Symbol" pitchFamily="18" charset="2"/>
              </a:rPr>
              <a:t>140,000 households</a:t>
            </a:r>
            <a:r>
              <a:rPr lang="en-GB" sz="2400" dirty="0">
                <a:solidFill>
                  <a:schemeClr val="bg1"/>
                </a:solidFill>
                <a:sym typeface="Symbol" pitchFamily="18" charset="2"/>
              </a:rPr>
              <a:t> </a:t>
            </a:r>
            <a:r>
              <a:rPr lang="en-GB" sz="2400" dirty="0">
                <a:sym typeface="Symbol" pitchFamily="18" charset="2"/>
              </a:rPr>
              <a:t>take part,…</a:t>
            </a:r>
            <a:endParaRPr lang="en-GB" sz="2400" dirty="0"/>
          </a:p>
          <a:p>
            <a:pPr marL="285750" indent="-285750">
              <a:spcAft>
                <a:spcPts val="600"/>
              </a:spcAft>
              <a:buFont typeface="Arial" panose="020B0604020202020204" pitchFamily="34" charset="0"/>
              <a:buChar char="•"/>
            </a:pPr>
            <a:r>
              <a:rPr lang="en-GB" sz="2400" dirty="0">
                <a:sym typeface="Symbol" pitchFamily="18" charset="2"/>
              </a:rPr>
              <a:t>Equates to around</a:t>
            </a:r>
            <a:r>
              <a:rPr lang="en-GB" sz="2400" dirty="0">
                <a:solidFill>
                  <a:schemeClr val="bg1"/>
                </a:solidFill>
                <a:sym typeface="Symbol" pitchFamily="18" charset="2"/>
              </a:rPr>
              <a:t> </a:t>
            </a:r>
            <a:r>
              <a:rPr lang="en-GB" sz="2400" b="1" u="sng" dirty="0">
                <a:solidFill>
                  <a:schemeClr val="folHlink"/>
                </a:solidFill>
                <a:sym typeface="Symbol" pitchFamily="18" charset="2"/>
              </a:rPr>
              <a:t>280,000 individuals</a:t>
            </a:r>
            <a:endParaRPr lang="en-GB" sz="2400" dirty="0">
              <a:sym typeface="Symbol" pitchFamily="18" charset="2"/>
            </a:endParaRPr>
          </a:p>
        </p:txBody>
      </p:sp>
      <p:sp>
        <p:nvSpPr>
          <p:cNvPr id="44" name="Title 43">
            <a:extLst>
              <a:ext uri="{FF2B5EF4-FFF2-40B4-BE49-F238E27FC236}">
                <a16:creationId xmlns:a16="http://schemas.microsoft.com/office/drawing/2014/main" id="{77C3A0EA-2AFF-4568-8C73-E06894FEA2D2}"/>
              </a:ext>
            </a:extLst>
          </p:cNvPr>
          <p:cNvSpPr>
            <a:spLocks noGrp="1"/>
          </p:cNvSpPr>
          <p:nvPr>
            <p:ph type="title"/>
          </p:nvPr>
        </p:nvSpPr>
        <p:spPr>
          <a:xfrm>
            <a:off x="838200" y="530614"/>
            <a:ext cx="10515600" cy="467820"/>
          </a:xfrm>
        </p:spPr>
        <p:txBody>
          <a:bodyPr/>
          <a:lstStyle/>
          <a:p>
            <a:r>
              <a:rPr lang="en-GB" dirty="0"/>
              <a:t>Annual Population Survey (APS) Sample</a:t>
            </a:r>
          </a:p>
        </p:txBody>
      </p:sp>
      <p:pic>
        <p:nvPicPr>
          <p:cNvPr id="3074" name="Picture 2">
            <a:extLst>
              <a:ext uri="{FF2B5EF4-FFF2-40B4-BE49-F238E27FC236}">
                <a16:creationId xmlns:a16="http://schemas.microsoft.com/office/drawing/2014/main" id="{18D2D1A5-77AA-4278-9B98-A56EC8DD5F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63990" y="1995835"/>
            <a:ext cx="5458223" cy="31002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69035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3B2AE22-F449-4702-8A8A-D0BC3FFC5053}"/>
              </a:ext>
            </a:extLst>
          </p:cNvPr>
          <p:cNvSpPr>
            <a:spLocks noGrp="1"/>
          </p:cNvSpPr>
          <p:nvPr>
            <p:ph type="ftr" sz="quarter" idx="3"/>
          </p:nvPr>
        </p:nvSpPr>
        <p:spPr/>
        <p:txBody>
          <a:bodyPr/>
          <a:lstStyle/>
          <a:p>
            <a:endParaRPr lang="en-US" dirty="0"/>
          </a:p>
        </p:txBody>
      </p:sp>
      <p:sp>
        <p:nvSpPr>
          <p:cNvPr id="3" name="Title 2">
            <a:extLst>
              <a:ext uri="{FF2B5EF4-FFF2-40B4-BE49-F238E27FC236}">
                <a16:creationId xmlns:a16="http://schemas.microsoft.com/office/drawing/2014/main" id="{D3FC108C-26E0-49AE-A818-A59CD142E5E6}"/>
              </a:ext>
            </a:extLst>
          </p:cNvPr>
          <p:cNvSpPr>
            <a:spLocks noGrp="1"/>
          </p:cNvSpPr>
          <p:nvPr>
            <p:ph type="title"/>
          </p:nvPr>
        </p:nvSpPr>
        <p:spPr/>
        <p:txBody>
          <a:bodyPr/>
          <a:lstStyle/>
          <a:p>
            <a:r>
              <a:rPr lang="en-GB" dirty="0"/>
              <a:t>What is the connection between LFS and APS?</a:t>
            </a:r>
          </a:p>
        </p:txBody>
      </p:sp>
      <p:graphicFrame>
        <p:nvGraphicFramePr>
          <p:cNvPr id="5" name="Diagram 4">
            <a:extLst>
              <a:ext uri="{FF2B5EF4-FFF2-40B4-BE49-F238E27FC236}">
                <a16:creationId xmlns:a16="http://schemas.microsoft.com/office/drawing/2014/main" id="{48C36CD6-66F5-4252-857E-582E6D74FA4D}"/>
              </a:ext>
            </a:extLst>
          </p:cNvPr>
          <p:cNvGraphicFramePr/>
          <p:nvPr>
            <p:extLst>
              <p:ext uri="{D42A27DB-BD31-4B8C-83A1-F6EECF244321}">
                <p14:modId xmlns:p14="http://schemas.microsoft.com/office/powerpoint/2010/main" val="1297378799"/>
              </p:ext>
            </p:extLst>
          </p:nvPr>
        </p:nvGraphicFramePr>
        <p:xfrm>
          <a:off x="1154769" y="1304750"/>
          <a:ext cx="7833114" cy="4896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224421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28BC712-4C49-40CD-957F-8F12027AE13B}"/>
              </a:ext>
            </a:extLst>
          </p:cNvPr>
          <p:cNvSpPr>
            <a:spLocks noGrp="1"/>
          </p:cNvSpPr>
          <p:nvPr>
            <p:ph type="ftr" sz="quarter" idx="3"/>
          </p:nvPr>
        </p:nvSpPr>
        <p:spPr>
          <a:xfrm>
            <a:off x="7529913" y="6239894"/>
            <a:ext cx="3842030" cy="365125"/>
          </a:xfrm>
        </p:spPr>
        <p:txBody>
          <a:bodyPr/>
          <a:lstStyle/>
          <a:p>
            <a:endParaRPr lang="en-US" dirty="0"/>
          </a:p>
        </p:txBody>
      </p:sp>
      <p:sp>
        <p:nvSpPr>
          <p:cNvPr id="3" name="Title 2">
            <a:extLst>
              <a:ext uri="{FF2B5EF4-FFF2-40B4-BE49-F238E27FC236}">
                <a16:creationId xmlns:a16="http://schemas.microsoft.com/office/drawing/2014/main" id="{1605A74B-BFF3-447F-BF13-2DD9A266E4EB}"/>
              </a:ext>
            </a:extLst>
          </p:cNvPr>
          <p:cNvSpPr>
            <a:spLocks noGrp="1"/>
          </p:cNvSpPr>
          <p:nvPr>
            <p:ph type="title"/>
          </p:nvPr>
        </p:nvSpPr>
        <p:spPr>
          <a:xfrm>
            <a:off x="838200" y="530614"/>
            <a:ext cx="10515600" cy="467820"/>
          </a:xfrm>
        </p:spPr>
        <p:txBody>
          <a:bodyPr/>
          <a:lstStyle/>
          <a:p>
            <a:r>
              <a:rPr lang="en-GB" dirty="0"/>
              <a:t>The LFS Boost Wave Structure</a:t>
            </a:r>
          </a:p>
        </p:txBody>
      </p:sp>
      <p:graphicFrame>
        <p:nvGraphicFramePr>
          <p:cNvPr id="5" name="Group 68">
            <a:extLst>
              <a:ext uri="{FF2B5EF4-FFF2-40B4-BE49-F238E27FC236}">
                <a16:creationId xmlns:a16="http://schemas.microsoft.com/office/drawing/2014/main" id="{8BC08AAA-A299-4E57-BC44-76924C5C0365}"/>
              </a:ext>
            </a:extLst>
          </p:cNvPr>
          <p:cNvGraphicFramePr>
            <a:graphicFrameLocks/>
          </p:cNvGraphicFramePr>
          <p:nvPr>
            <p:extLst>
              <p:ext uri="{D42A27DB-BD31-4B8C-83A1-F6EECF244321}">
                <p14:modId xmlns:p14="http://schemas.microsoft.com/office/powerpoint/2010/main" val="2497807304"/>
              </p:ext>
            </p:extLst>
          </p:nvPr>
        </p:nvGraphicFramePr>
        <p:xfrm>
          <a:off x="1044575" y="4221161"/>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400" b="0" i="0" u="none" strike="noStrike" cap="none" normalizeH="0" baseline="0" dirty="0">
                          <a:ln>
                            <a:noFill/>
                          </a:ln>
                          <a:solidFill>
                            <a:schemeClr val="tx1"/>
                          </a:solidFill>
                          <a:effectLst/>
                          <a:latin typeface="Arial" charset="0"/>
                          <a:ea typeface="ＭＳ Ｐゴシック" pitchFamily="-80" charset="-128"/>
                        </a:rPr>
                        <a:t>2020</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bl>
          </a:graphicData>
        </a:graphic>
      </p:graphicFrame>
      <p:graphicFrame>
        <p:nvGraphicFramePr>
          <p:cNvPr id="6" name="Group 75">
            <a:extLst>
              <a:ext uri="{FF2B5EF4-FFF2-40B4-BE49-F238E27FC236}">
                <a16:creationId xmlns:a16="http://schemas.microsoft.com/office/drawing/2014/main" id="{CCB8FC16-6B49-4805-8D41-0CD0A2C8DBAC}"/>
              </a:ext>
            </a:extLst>
          </p:cNvPr>
          <p:cNvGraphicFramePr>
            <a:graphicFrameLocks/>
          </p:cNvGraphicFramePr>
          <p:nvPr>
            <p:extLst>
              <p:ext uri="{D42A27DB-BD31-4B8C-83A1-F6EECF244321}">
                <p14:modId xmlns:p14="http://schemas.microsoft.com/office/powerpoint/2010/main" val="1795522150"/>
              </p:ext>
            </p:extLst>
          </p:nvPr>
        </p:nvGraphicFramePr>
        <p:xfrm>
          <a:off x="1044575" y="3357563"/>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400" b="0" i="0" u="none" strike="noStrike" cap="none" normalizeH="0" baseline="0" dirty="0">
                          <a:ln>
                            <a:noFill/>
                          </a:ln>
                          <a:solidFill>
                            <a:schemeClr val="tx1"/>
                          </a:solidFill>
                          <a:effectLst/>
                          <a:latin typeface="Arial" charset="0"/>
                          <a:ea typeface="ＭＳ Ｐゴシック" pitchFamily="-80" charset="-128"/>
                        </a:rPr>
                        <a:t>2019</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bl>
          </a:graphicData>
        </a:graphic>
      </p:graphicFrame>
      <p:graphicFrame>
        <p:nvGraphicFramePr>
          <p:cNvPr id="7" name="Group 48">
            <a:extLst>
              <a:ext uri="{FF2B5EF4-FFF2-40B4-BE49-F238E27FC236}">
                <a16:creationId xmlns:a16="http://schemas.microsoft.com/office/drawing/2014/main" id="{C711354E-37EE-4762-929A-16F2866CE7B5}"/>
              </a:ext>
            </a:extLst>
          </p:cNvPr>
          <p:cNvGraphicFramePr>
            <a:graphicFrameLocks/>
          </p:cNvGraphicFramePr>
          <p:nvPr>
            <p:extLst>
              <p:ext uri="{D42A27DB-BD31-4B8C-83A1-F6EECF244321}">
                <p14:modId xmlns:p14="http://schemas.microsoft.com/office/powerpoint/2010/main" val="1678918168"/>
              </p:ext>
            </p:extLst>
          </p:nvPr>
        </p:nvGraphicFramePr>
        <p:xfrm>
          <a:off x="1044575" y="1628775"/>
          <a:ext cx="1008063" cy="792163"/>
        </p:xfrm>
        <a:graphic>
          <a:graphicData uri="http://schemas.openxmlformats.org/drawingml/2006/table">
            <a:tbl>
              <a:tblPr/>
              <a:tblGrid>
                <a:gridCol w="1008063">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400" b="0" i="0" u="none" strike="noStrike" cap="none" normalizeH="0" baseline="0" dirty="0">
                          <a:ln>
                            <a:noFill/>
                          </a:ln>
                          <a:solidFill>
                            <a:schemeClr val="tx1"/>
                          </a:solidFill>
                          <a:effectLst/>
                          <a:latin typeface="Arial" charset="0"/>
                          <a:ea typeface="ＭＳ Ｐゴシック" pitchFamily="-80" charset="-128"/>
                        </a:rPr>
                        <a:t>2017</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bl>
          </a:graphicData>
        </a:graphic>
      </p:graphicFrame>
      <p:graphicFrame>
        <p:nvGraphicFramePr>
          <p:cNvPr id="8" name="Group 82">
            <a:extLst>
              <a:ext uri="{FF2B5EF4-FFF2-40B4-BE49-F238E27FC236}">
                <a16:creationId xmlns:a16="http://schemas.microsoft.com/office/drawing/2014/main" id="{9D198333-A06B-47E4-9485-D2B7711FF722}"/>
              </a:ext>
            </a:extLst>
          </p:cNvPr>
          <p:cNvGraphicFramePr>
            <a:graphicFrameLocks/>
          </p:cNvGraphicFramePr>
          <p:nvPr>
            <p:extLst>
              <p:ext uri="{D42A27DB-BD31-4B8C-83A1-F6EECF244321}">
                <p14:modId xmlns:p14="http://schemas.microsoft.com/office/powerpoint/2010/main" val="3499891422"/>
              </p:ext>
            </p:extLst>
          </p:nvPr>
        </p:nvGraphicFramePr>
        <p:xfrm>
          <a:off x="1044575" y="5084759"/>
          <a:ext cx="1003300" cy="793754"/>
        </p:xfrm>
        <a:graphic>
          <a:graphicData uri="http://schemas.openxmlformats.org/drawingml/2006/table">
            <a:tbl>
              <a:tblPr/>
              <a:tblGrid>
                <a:gridCol w="1003300">
                  <a:extLst>
                    <a:ext uri="{9D8B030D-6E8A-4147-A177-3AD203B41FA5}">
                      <a16:colId xmlns:a16="http://schemas.microsoft.com/office/drawing/2014/main" val="20000"/>
                    </a:ext>
                  </a:extLst>
                </a:gridCol>
              </a:tblGrid>
              <a:tr h="793754">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400" b="0" i="0" u="none" strike="noStrike" cap="none" normalizeH="0" baseline="0" dirty="0">
                          <a:ln>
                            <a:noFill/>
                          </a:ln>
                          <a:solidFill>
                            <a:schemeClr val="tx1"/>
                          </a:solidFill>
                          <a:effectLst/>
                          <a:latin typeface="Arial" charset="0"/>
                          <a:ea typeface="ＭＳ Ｐゴシック" pitchFamily="-80" charset="-128"/>
                        </a:rPr>
                        <a:t>202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bl>
          </a:graphicData>
        </a:graphic>
      </p:graphicFrame>
      <p:graphicFrame>
        <p:nvGraphicFramePr>
          <p:cNvPr id="9" name="Group 89">
            <a:extLst>
              <a:ext uri="{FF2B5EF4-FFF2-40B4-BE49-F238E27FC236}">
                <a16:creationId xmlns:a16="http://schemas.microsoft.com/office/drawing/2014/main" id="{C29804C6-8357-4299-B185-EAE00824BBFA}"/>
              </a:ext>
            </a:extLst>
          </p:cNvPr>
          <p:cNvGraphicFramePr>
            <a:graphicFrameLocks noGrp="1"/>
          </p:cNvGraphicFramePr>
          <p:nvPr>
            <p:extLst>
              <p:ext uri="{D42A27DB-BD31-4B8C-83A1-F6EECF244321}">
                <p14:modId xmlns:p14="http://schemas.microsoft.com/office/powerpoint/2010/main" val="2324158747"/>
              </p:ext>
            </p:extLst>
          </p:nvPr>
        </p:nvGraphicFramePr>
        <p:xfrm>
          <a:off x="1044575" y="2493963"/>
          <a:ext cx="1003300" cy="792163"/>
        </p:xfrm>
        <a:graphic>
          <a:graphicData uri="http://schemas.openxmlformats.org/drawingml/2006/table">
            <a:tbl>
              <a:tblPr/>
              <a:tblGrid>
                <a:gridCol w="100330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400" b="0" i="0" u="none" strike="noStrike" cap="none" normalizeH="0" baseline="0" dirty="0">
                          <a:ln>
                            <a:noFill/>
                          </a:ln>
                          <a:solidFill>
                            <a:schemeClr val="tx1"/>
                          </a:solidFill>
                          <a:effectLst/>
                          <a:latin typeface="Arial" charset="0"/>
                          <a:ea typeface="ＭＳ Ｐゴシック" pitchFamily="-80" charset="-128"/>
                        </a:rPr>
                        <a:t>2018</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bl>
          </a:graphicData>
        </a:graphic>
      </p:graphicFrame>
      <p:graphicFrame>
        <p:nvGraphicFramePr>
          <p:cNvPr id="10" name="Group 214">
            <a:extLst>
              <a:ext uri="{FF2B5EF4-FFF2-40B4-BE49-F238E27FC236}">
                <a16:creationId xmlns:a16="http://schemas.microsoft.com/office/drawing/2014/main" id="{682B1121-3F80-4E76-AE56-2CDDD8894247}"/>
              </a:ext>
            </a:extLst>
          </p:cNvPr>
          <p:cNvGraphicFramePr>
            <a:graphicFrameLocks noGrp="1"/>
          </p:cNvGraphicFramePr>
          <p:nvPr>
            <p:extLst>
              <p:ext uri="{D42A27DB-BD31-4B8C-83A1-F6EECF244321}">
                <p14:modId xmlns:p14="http://schemas.microsoft.com/office/powerpoint/2010/main" val="1957029471"/>
              </p:ext>
            </p:extLst>
          </p:nvPr>
        </p:nvGraphicFramePr>
        <p:xfrm>
          <a:off x="2195513" y="1628775"/>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10000"/>
                  </a:ext>
                </a:extLst>
              </a:tr>
            </a:tbl>
          </a:graphicData>
        </a:graphic>
      </p:graphicFrame>
      <p:graphicFrame>
        <p:nvGraphicFramePr>
          <p:cNvPr id="11" name="Group 405">
            <a:extLst>
              <a:ext uri="{FF2B5EF4-FFF2-40B4-BE49-F238E27FC236}">
                <a16:creationId xmlns:a16="http://schemas.microsoft.com/office/drawing/2014/main" id="{C3109302-6D4C-4DAD-A8D8-C0128FA56AE6}"/>
              </a:ext>
            </a:extLst>
          </p:cNvPr>
          <p:cNvGraphicFramePr>
            <a:graphicFrameLocks noGrp="1"/>
          </p:cNvGraphicFramePr>
          <p:nvPr>
            <p:extLst>
              <p:ext uri="{D42A27DB-BD31-4B8C-83A1-F6EECF244321}">
                <p14:modId xmlns:p14="http://schemas.microsoft.com/office/powerpoint/2010/main" val="1828814201"/>
              </p:ext>
            </p:extLst>
          </p:nvPr>
        </p:nvGraphicFramePr>
        <p:xfrm>
          <a:off x="2195513" y="2493963"/>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tx1"/>
                          </a:solidFill>
                          <a:effectLst/>
                          <a:latin typeface="Arial" charset="0"/>
                          <a:ea typeface="ＭＳ Ｐゴシック" pitchFamily="-80" charset="-128"/>
                        </a:rPr>
                        <a:t>Wave 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bl>
          </a:graphicData>
        </a:graphic>
      </p:graphicFrame>
      <p:graphicFrame>
        <p:nvGraphicFramePr>
          <p:cNvPr id="12" name="Group 222">
            <a:extLst>
              <a:ext uri="{FF2B5EF4-FFF2-40B4-BE49-F238E27FC236}">
                <a16:creationId xmlns:a16="http://schemas.microsoft.com/office/drawing/2014/main" id="{8D012BA3-EC13-47F6-8FD3-9ECDED85914B}"/>
              </a:ext>
            </a:extLst>
          </p:cNvPr>
          <p:cNvGraphicFramePr>
            <a:graphicFrameLocks noGrp="1"/>
          </p:cNvGraphicFramePr>
          <p:nvPr>
            <p:extLst>
              <p:ext uri="{D42A27DB-BD31-4B8C-83A1-F6EECF244321}">
                <p14:modId xmlns:p14="http://schemas.microsoft.com/office/powerpoint/2010/main" val="4120457108"/>
              </p:ext>
            </p:extLst>
          </p:nvPr>
        </p:nvGraphicFramePr>
        <p:xfrm>
          <a:off x="2195513" y="3357563"/>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accent1"/>
                          </a:solidFill>
                          <a:effectLst/>
                          <a:latin typeface="Arial" charset="0"/>
                          <a:ea typeface="ＭＳ Ｐゴシック" pitchFamily="-80" charset="-128"/>
                        </a:rPr>
                        <a:t>Wave 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lumMod val="40000"/>
                        <a:lumOff val="60000"/>
                      </a:schemeClr>
                    </a:solidFill>
                  </a:tcPr>
                </a:tc>
                <a:extLst>
                  <a:ext uri="{0D108BD9-81ED-4DB2-BD59-A6C34878D82A}">
                    <a16:rowId xmlns:a16="http://schemas.microsoft.com/office/drawing/2014/main" val="10000"/>
                  </a:ext>
                </a:extLst>
              </a:tr>
            </a:tbl>
          </a:graphicData>
        </a:graphic>
      </p:graphicFrame>
      <p:graphicFrame>
        <p:nvGraphicFramePr>
          <p:cNvPr id="13" name="Group 404">
            <a:extLst>
              <a:ext uri="{FF2B5EF4-FFF2-40B4-BE49-F238E27FC236}">
                <a16:creationId xmlns:a16="http://schemas.microsoft.com/office/drawing/2014/main" id="{FB1E9E40-06E2-4E2D-AA26-919FE517FF8F}"/>
              </a:ext>
            </a:extLst>
          </p:cNvPr>
          <p:cNvGraphicFramePr>
            <a:graphicFrameLocks noGrp="1"/>
          </p:cNvGraphicFramePr>
          <p:nvPr>
            <p:extLst>
              <p:ext uri="{D42A27DB-BD31-4B8C-83A1-F6EECF244321}">
                <p14:modId xmlns:p14="http://schemas.microsoft.com/office/powerpoint/2010/main" val="1227490974"/>
              </p:ext>
            </p:extLst>
          </p:nvPr>
        </p:nvGraphicFramePr>
        <p:xfrm>
          <a:off x="2195512" y="4221163"/>
          <a:ext cx="1305969" cy="792163"/>
        </p:xfrm>
        <a:graphic>
          <a:graphicData uri="http://schemas.openxmlformats.org/drawingml/2006/table">
            <a:tbl>
              <a:tblPr/>
              <a:tblGrid>
                <a:gridCol w="1305969">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bl>
          </a:graphicData>
        </a:graphic>
      </p:graphicFrame>
      <p:graphicFrame>
        <p:nvGraphicFramePr>
          <p:cNvPr id="14" name="Group 234">
            <a:extLst>
              <a:ext uri="{FF2B5EF4-FFF2-40B4-BE49-F238E27FC236}">
                <a16:creationId xmlns:a16="http://schemas.microsoft.com/office/drawing/2014/main" id="{EF25CDE4-E3B8-4A40-9656-4750745BD419}"/>
              </a:ext>
            </a:extLst>
          </p:cNvPr>
          <p:cNvGraphicFramePr>
            <a:graphicFrameLocks noGrp="1"/>
          </p:cNvGraphicFramePr>
          <p:nvPr>
            <p:extLst>
              <p:ext uri="{D42A27DB-BD31-4B8C-83A1-F6EECF244321}">
                <p14:modId xmlns:p14="http://schemas.microsoft.com/office/powerpoint/2010/main" val="3510873055"/>
              </p:ext>
            </p:extLst>
          </p:nvPr>
        </p:nvGraphicFramePr>
        <p:xfrm>
          <a:off x="2195513" y="5086350"/>
          <a:ext cx="1305968" cy="792163"/>
        </p:xfrm>
        <a:graphic>
          <a:graphicData uri="http://schemas.openxmlformats.org/drawingml/2006/table">
            <a:tbl>
              <a:tblPr/>
              <a:tblGrid>
                <a:gridCol w="1305968">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tx1"/>
                          </a:solidFill>
                          <a:effectLst/>
                          <a:latin typeface="Arial" charset="0"/>
                          <a:ea typeface="ＭＳ Ｐゴシック" pitchFamily="-80" charset="-128"/>
                        </a:rPr>
                        <a:t>Wave 1</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4">
                        <a:lumMod val="60000"/>
                        <a:lumOff val="40000"/>
                      </a:schemeClr>
                    </a:solidFill>
                  </a:tcPr>
                </a:tc>
                <a:extLst>
                  <a:ext uri="{0D108BD9-81ED-4DB2-BD59-A6C34878D82A}">
                    <a16:rowId xmlns:a16="http://schemas.microsoft.com/office/drawing/2014/main" val="10000"/>
                  </a:ext>
                </a:extLst>
              </a:tr>
            </a:tbl>
          </a:graphicData>
        </a:graphic>
      </p:graphicFrame>
      <p:graphicFrame>
        <p:nvGraphicFramePr>
          <p:cNvPr id="15" name="Group 246">
            <a:extLst>
              <a:ext uri="{FF2B5EF4-FFF2-40B4-BE49-F238E27FC236}">
                <a16:creationId xmlns:a16="http://schemas.microsoft.com/office/drawing/2014/main" id="{70015C8E-FDC9-40E4-AEE9-5FB7A603CB2C}"/>
              </a:ext>
            </a:extLst>
          </p:cNvPr>
          <p:cNvGraphicFramePr>
            <a:graphicFrameLocks noGrp="1"/>
          </p:cNvGraphicFramePr>
          <p:nvPr>
            <p:extLst>
              <p:ext uri="{D42A27DB-BD31-4B8C-83A1-F6EECF244321}">
                <p14:modId xmlns:p14="http://schemas.microsoft.com/office/powerpoint/2010/main" val="2780300334"/>
              </p:ext>
            </p:extLst>
          </p:nvPr>
        </p:nvGraphicFramePr>
        <p:xfrm>
          <a:off x="3641676" y="1628774"/>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2</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0"/>
                  </a:ext>
                </a:extLst>
              </a:tr>
            </a:tbl>
          </a:graphicData>
        </a:graphic>
      </p:graphicFrame>
      <p:graphicFrame>
        <p:nvGraphicFramePr>
          <p:cNvPr id="16" name="Group 389">
            <a:extLst>
              <a:ext uri="{FF2B5EF4-FFF2-40B4-BE49-F238E27FC236}">
                <a16:creationId xmlns:a16="http://schemas.microsoft.com/office/drawing/2014/main" id="{302662A6-1C96-41D4-8909-4E52A4139310}"/>
              </a:ext>
            </a:extLst>
          </p:cNvPr>
          <p:cNvGraphicFramePr>
            <a:graphicFrameLocks noGrp="1"/>
          </p:cNvGraphicFramePr>
          <p:nvPr>
            <p:extLst>
              <p:ext uri="{D42A27DB-BD31-4B8C-83A1-F6EECF244321}">
                <p14:modId xmlns:p14="http://schemas.microsoft.com/office/powerpoint/2010/main" val="1532780123"/>
              </p:ext>
            </p:extLst>
          </p:nvPr>
        </p:nvGraphicFramePr>
        <p:xfrm>
          <a:off x="3641676" y="2493962"/>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2</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10000"/>
                  </a:ext>
                </a:extLst>
              </a:tr>
            </a:tbl>
          </a:graphicData>
        </a:graphic>
      </p:graphicFrame>
      <p:graphicFrame>
        <p:nvGraphicFramePr>
          <p:cNvPr id="17" name="Group 373">
            <a:extLst>
              <a:ext uri="{FF2B5EF4-FFF2-40B4-BE49-F238E27FC236}">
                <a16:creationId xmlns:a16="http://schemas.microsoft.com/office/drawing/2014/main" id="{3BA9E4B7-1A24-4793-9FCF-30D6294B6C89}"/>
              </a:ext>
            </a:extLst>
          </p:cNvPr>
          <p:cNvGraphicFramePr>
            <a:graphicFrameLocks noGrp="1"/>
          </p:cNvGraphicFramePr>
          <p:nvPr>
            <p:extLst>
              <p:ext uri="{D42A27DB-BD31-4B8C-83A1-F6EECF244321}">
                <p14:modId xmlns:p14="http://schemas.microsoft.com/office/powerpoint/2010/main" val="4277424557"/>
              </p:ext>
            </p:extLst>
          </p:nvPr>
        </p:nvGraphicFramePr>
        <p:xfrm>
          <a:off x="3641676" y="3357562"/>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tx1"/>
                          </a:solidFill>
                          <a:effectLst/>
                          <a:latin typeface="Arial" charset="0"/>
                          <a:ea typeface="ＭＳ Ｐゴシック" pitchFamily="-80" charset="-128"/>
                        </a:rPr>
                        <a:t>Wave 2</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bl>
          </a:graphicData>
        </a:graphic>
      </p:graphicFrame>
      <p:graphicFrame>
        <p:nvGraphicFramePr>
          <p:cNvPr id="18" name="Group 395">
            <a:extLst>
              <a:ext uri="{FF2B5EF4-FFF2-40B4-BE49-F238E27FC236}">
                <a16:creationId xmlns:a16="http://schemas.microsoft.com/office/drawing/2014/main" id="{C01BFBEF-A494-4854-BCF1-6DF4BF1AA154}"/>
              </a:ext>
            </a:extLst>
          </p:cNvPr>
          <p:cNvGraphicFramePr>
            <a:graphicFrameLocks noGrp="1"/>
          </p:cNvGraphicFramePr>
          <p:nvPr>
            <p:extLst>
              <p:ext uri="{D42A27DB-BD31-4B8C-83A1-F6EECF244321}">
                <p14:modId xmlns:p14="http://schemas.microsoft.com/office/powerpoint/2010/main" val="362878182"/>
              </p:ext>
            </p:extLst>
          </p:nvPr>
        </p:nvGraphicFramePr>
        <p:xfrm>
          <a:off x="3641676" y="4221162"/>
          <a:ext cx="1305969" cy="792163"/>
        </p:xfrm>
        <a:graphic>
          <a:graphicData uri="http://schemas.openxmlformats.org/drawingml/2006/table">
            <a:tbl>
              <a:tblPr/>
              <a:tblGrid>
                <a:gridCol w="1305969">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accent1"/>
                          </a:solidFill>
                          <a:effectLst/>
                          <a:latin typeface="Arial" charset="0"/>
                          <a:ea typeface="ＭＳ Ｐゴシック" pitchFamily="-80" charset="-128"/>
                        </a:rPr>
                        <a:t>Wave 2</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lumMod val="40000"/>
                        <a:lumOff val="60000"/>
                      </a:schemeClr>
                    </a:solidFill>
                  </a:tcPr>
                </a:tc>
                <a:extLst>
                  <a:ext uri="{0D108BD9-81ED-4DB2-BD59-A6C34878D82A}">
                    <a16:rowId xmlns:a16="http://schemas.microsoft.com/office/drawing/2014/main" val="10000"/>
                  </a:ext>
                </a:extLst>
              </a:tr>
            </a:tbl>
          </a:graphicData>
        </a:graphic>
      </p:graphicFrame>
      <p:graphicFrame>
        <p:nvGraphicFramePr>
          <p:cNvPr id="19" name="Group 375">
            <a:extLst>
              <a:ext uri="{FF2B5EF4-FFF2-40B4-BE49-F238E27FC236}">
                <a16:creationId xmlns:a16="http://schemas.microsoft.com/office/drawing/2014/main" id="{17418C43-C916-4C61-8D32-2138AED8D8DB}"/>
              </a:ext>
            </a:extLst>
          </p:cNvPr>
          <p:cNvGraphicFramePr>
            <a:graphicFrameLocks noGrp="1"/>
          </p:cNvGraphicFramePr>
          <p:nvPr>
            <p:extLst>
              <p:ext uri="{D42A27DB-BD31-4B8C-83A1-F6EECF244321}">
                <p14:modId xmlns:p14="http://schemas.microsoft.com/office/powerpoint/2010/main" val="1281031812"/>
              </p:ext>
            </p:extLst>
          </p:nvPr>
        </p:nvGraphicFramePr>
        <p:xfrm>
          <a:off x="3641676" y="5086349"/>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2</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bl>
          </a:graphicData>
        </a:graphic>
      </p:graphicFrame>
      <p:graphicFrame>
        <p:nvGraphicFramePr>
          <p:cNvPr id="20" name="Group 387">
            <a:extLst>
              <a:ext uri="{FF2B5EF4-FFF2-40B4-BE49-F238E27FC236}">
                <a16:creationId xmlns:a16="http://schemas.microsoft.com/office/drawing/2014/main" id="{626E2533-3BEB-404B-A6E0-494F241C2A1C}"/>
              </a:ext>
            </a:extLst>
          </p:cNvPr>
          <p:cNvGraphicFramePr>
            <a:graphicFrameLocks noGrp="1"/>
          </p:cNvGraphicFramePr>
          <p:nvPr>
            <p:extLst>
              <p:ext uri="{D42A27DB-BD31-4B8C-83A1-F6EECF244321}">
                <p14:modId xmlns:p14="http://schemas.microsoft.com/office/powerpoint/2010/main" val="841905139"/>
              </p:ext>
            </p:extLst>
          </p:nvPr>
        </p:nvGraphicFramePr>
        <p:xfrm>
          <a:off x="5087840" y="1628775"/>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3</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306F74"/>
                    </a:solidFill>
                  </a:tcPr>
                </a:tc>
                <a:extLst>
                  <a:ext uri="{0D108BD9-81ED-4DB2-BD59-A6C34878D82A}">
                    <a16:rowId xmlns:a16="http://schemas.microsoft.com/office/drawing/2014/main" val="10000"/>
                  </a:ext>
                </a:extLst>
              </a:tr>
            </a:tbl>
          </a:graphicData>
        </a:graphic>
      </p:graphicFrame>
      <p:graphicFrame>
        <p:nvGraphicFramePr>
          <p:cNvPr id="21" name="Group 400">
            <a:extLst>
              <a:ext uri="{FF2B5EF4-FFF2-40B4-BE49-F238E27FC236}">
                <a16:creationId xmlns:a16="http://schemas.microsoft.com/office/drawing/2014/main" id="{59C5C835-F2C6-481F-878D-D38F16DE219C}"/>
              </a:ext>
            </a:extLst>
          </p:cNvPr>
          <p:cNvGraphicFramePr>
            <a:graphicFrameLocks noGrp="1"/>
          </p:cNvGraphicFramePr>
          <p:nvPr>
            <p:extLst>
              <p:ext uri="{D42A27DB-BD31-4B8C-83A1-F6EECF244321}">
                <p14:modId xmlns:p14="http://schemas.microsoft.com/office/powerpoint/2010/main" val="1398774832"/>
              </p:ext>
            </p:extLst>
          </p:nvPr>
        </p:nvGraphicFramePr>
        <p:xfrm>
          <a:off x="6534201" y="1628774"/>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tx1"/>
                          </a:solidFill>
                          <a:effectLst/>
                          <a:latin typeface="Arial" charset="0"/>
                          <a:ea typeface="ＭＳ Ｐゴシック" pitchFamily="-80" charset="-128"/>
                        </a:rPr>
                        <a:t>Wave 4</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5">
                        <a:lumMod val="75000"/>
                        <a:lumOff val="25000"/>
                      </a:schemeClr>
                    </a:solidFill>
                  </a:tcPr>
                </a:tc>
                <a:extLst>
                  <a:ext uri="{0D108BD9-81ED-4DB2-BD59-A6C34878D82A}">
                    <a16:rowId xmlns:a16="http://schemas.microsoft.com/office/drawing/2014/main" val="10000"/>
                  </a:ext>
                </a:extLst>
              </a:tr>
            </a:tbl>
          </a:graphicData>
        </a:graphic>
      </p:graphicFrame>
      <p:graphicFrame>
        <p:nvGraphicFramePr>
          <p:cNvPr id="23" name="Group 397">
            <a:extLst>
              <a:ext uri="{FF2B5EF4-FFF2-40B4-BE49-F238E27FC236}">
                <a16:creationId xmlns:a16="http://schemas.microsoft.com/office/drawing/2014/main" id="{EAFB8E14-308C-4B30-B41A-440E24894E55}"/>
              </a:ext>
            </a:extLst>
          </p:cNvPr>
          <p:cNvGraphicFramePr>
            <a:graphicFrameLocks noGrp="1"/>
          </p:cNvGraphicFramePr>
          <p:nvPr>
            <p:extLst>
              <p:ext uri="{D42A27DB-BD31-4B8C-83A1-F6EECF244321}">
                <p14:modId xmlns:p14="http://schemas.microsoft.com/office/powerpoint/2010/main" val="164083681"/>
              </p:ext>
            </p:extLst>
          </p:nvPr>
        </p:nvGraphicFramePr>
        <p:xfrm>
          <a:off x="5087840" y="2493963"/>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3</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0"/>
                  </a:ext>
                </a:extLst>
              </a:tr>
            </a:tbl>
          </a:graphicData>
        </a:graphic>
      </p:graphicFrame>
      <p:graphicFrame>
        <p:nvGraphicFramePr>
          <p:cNvPr id="24" name="Group 391">
            <a:extLst>
              <a:ext uri="{FF2B5EF4-FFF2-40B4-BE49-F238E27FC236}">
                <a16:creationId xmlns:a16="http://schemas.microsoft.com/office/drawing/2014/main" id="{04F61DF2-8BAF-4A86-877D-CE52D9CBBF34}"/>
              </a:ext>
            </a:extLst>
          </p:cNvPr>
          <p:cNvGraphicFramePr>
            <a:graphicFrameLocks noGrp="1"/>
          </p:cNvGraphicFramePr>
          <p:nvPr>
            <p:extLst>
              <p:ext uri="{D42A27DB-BD31-4B8C-83A1-F6EECF244321}">
                <p14:modId xmlns:p14="http://schemas.microsoft.com/office/powerpoint/2010/main" val="3084394966"/>
              </p:ext>
            </p:extLst>
          </p:nvPr>
        </p:nvGraphicFramePr>
        <p:xfrm>
          <a:off x="5087840" y="3357563"/>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3</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10000"/>
                  </a:ext>
                </a:extLst>
              </a:tr>
            </a:tbl>
          </a:graphicData>
        </a:graphic>
      </p:graphicFrame>
      <p:graphicFrame>
        <p:nvGraphicFramePr>
          <p:cNvPr id="25" name="Group 402">
            <a:extLst>
              <a:ext uri="{FF2B5EF4-FFF2-40B4-BE49-F238E27FC236}">
                <a16:creationId xmlns:a16="http://schemas.microsoft.com/office/drawing/2014/main" id="{BE17D402-0654-4281-81DB-36888141B7FB}"/>
              </a:ext>
            </a:extLst>
          </p:cNvPr>
          <p:cNvGraphicFramePr>
            <a:graphicFrameLocks noGrp="1"/>
          </p:cNvGraphicFramePr>
          <p:nvPr>
            <p:extLst>
              <p:ext uri="{D42A27DB-BD31-4B8C-83A1-F6EECF244321}">
                <p14:modId xmlns:p14="http://schemas.microsoft.com/office/powerpoint/2010/main" val="650869673"/>
              </p:ext>
            </p:extLst>
          </p:nvPr>
        </p:nvGraphicFramePr>
        <p:xfrm>
          <a:off x="5087840" y="4221163"/>
          <a:ext cx="1305969" cy="792163"/>
        </p:xfrm>
        <a:graphic>
          <a:graphicData uri="http://schemas.openxmlformats.org/drawingml/2006/table">
            <a:tbl>
              <a:tblPr/>
              <a:tblGrid>
                <a:gridCol w="1305969">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tx1"/>
                          </a:solidFill>
                          <a:effectLst/>
                          <a:latin typeface="Arial" charset="0"/>
                          <a:ea typeface="ＭＳ Ｐゴシック" pitchFamily="-80" charset="-128"/>
                        </a:rPr>
                        <a:t>Wave 3</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bl>
          </a:graphicData>
        </a:graphic>
      </p:graphicFrame>
      <p:graphicFrame>
        <p:nvGraphicFramePr>
          <p:cNvPr id="26" name="Group 396">
            <a:extLst>
              <a:ext uri="{FF2B5EF4-FFF2-40B4-BE49-F238E27FC236}">
                <a16:creationId xmlns:a16="http://schemas.microsoft.com/office/drawing/2014/main" id="{004F8AE2-844D-4C96-B664-3E8680008B7D}"/>
              </a:ext>
            </a:extLst>
          </p:cNvPr>
          <p:cNvGraphicFramePr>
            <a:graphicFrameLocks noGrp="1"/>
          </p:cNvGraphicFramePr>
          <p:nvPr>
            <p:extLst>
              <p:ext uri="{D42A27DB-BD31-4B8C-83A1-F6EECF244321}">
                <p14:modId xmlns:p14="http://schemas.microsoft.com/office/powerpoint/2010/main" val="2478454743"/>
              </p:ext>
            </p:extLst>
          </p:nvPr>
        </p:nvGraphicFramePr>
        <p:xfrm>
          <a:off x="5087840" y="5086350"/>
          <a:ext cx="1305968" cy="792163"/>
        </p:xfrm>
        <a:graphic>
          <a:graphicData uri="http://schemas.openxmlformats.org/drawingml/2006/table">
            <a:tbl>
              <a:tblPr/>
              <a:tblGrid>
                <a:gridCol w="1305968">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accent1"/>
                          </a:solidFill>
                          <a:effectLst/>
                          <a:latin typeface="Arial" charset="0"/>
                          <a:ea typeface="ＭＳ Ｐゴシック" pitchFamily="-80" charset="-128"/>
                        </a:rPr>
                        <a:t>Wave 3</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lumMod val="40000"/>
                        <a:lumOff val="60000"/>
                      </a:schemeClr>
                    </a:solidFill>
                  </a:tcPr>
                </a:tc>
                <a:extLst>
                  <a:ext uri="{0D108BD9-81ED-4DB2-BD59-A6C34878D82A}">
                    <a16:rowId xmlns:a16="http://schemas.microsoft.com/office/drawing/2014/main" val="10000"/>
                  </a:ext>
                </a:extLst>
              </a:tr>
            </a:tbl>
          </a:graphicData>
        </a:graphic>
      </p:graphicFrame>
      <p:graphicFrame>
        <p:nvGraphicFramePr>
          <p:cNvPr id="27" name="Group 390">
            <a:extLst>
              <a:ext uri="{FF2B5EF4-FFF2-40B4-BE49-F238E27FC236}">
                <a16:creationId xmlns:a16="http://schemas.microsoft.com/office/drawing/2014/main" id="{66BD0B31-09E2-4D5A-AB31-8F65373875D9}"/>
              </a:ext>
            </a:extLst>
          </p:cNvPr>
          <p:cNvGraphicFramePr>
            <a:graphicFrameLocks noGrp="1"/>
          </p:cNvGraphicFramePr>
          <p:nvPr>
            <p:extLst>
              <p:ext uri="{D42A27DB-BD31-4B8C-83A1-F6EECF244321}">
                <p14:modId xmlns:p14="http://schemas.microsoft.com/office/powerpoint/2010/main" val="759754041"/>
              </p:ext>
            </p:extLst>
          </p:nvPr>
        </p:nvGraphicFramePr>
        <p:xfrm>
          <a:off x="6534201" y="2493962"/>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4</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306F74"/>
                    </a:solidFill>
                  </a:tcPr>
                </a:tc>
                <a:extLst>
                  <a:ext uri="{0D108BD9-81ED-4DB2-BD59-A6C34878D82A}">
                    <a16:rowId xmlns:a16="http://schemas.microsoft.com/office/drawing/2014/main" val="10000"/>
                  </a:ext>
                </a:extLst>
              </a:tr>
            </a:tbl>
          </a:graphicData>
        </a:graphic>
      </p:graphicFrame>
      <p:graphicFrame>
        <p:nvGraphicFramePr>
          <p:cNvPr id="28" name="Group 398">
            <a:extLst>
              <a:ext uri="{FF2B5EF4-FFF2-40B4-BE49-F238E27FC236}">
                <a16:creationId xmlns:a16="http://schemas.microsoft.com/office/drawing/2014/main" id="{543A5606-C1D2-4748-B15B-C37D059E6653}"/>
              </a:ext>
            </a:extLst>
          </p:cNvPr>
          <p:cNvGraphicFramePr>
            <a:graphicFrameLocks noGrp="1"/>
          </p:cNvGraphicFramePr>
          <p:nvPr>
            <p:extLst>
              <p:ext uri="{D42A27DB-BD31-4B8C-83A1-F6EECF244321}">
                <p14:modId xmlns:p14="http://schemas.microsoft.com/office/powerpoint/2010/main" val="3885335232"/>
              </p:ext>
            </p:extLst>
          </p:nvPr>
        </p:nvGraphicFramePr>
        <p:xfrm>
          <a:off x="6534201" y="3357562"/>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4</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0"/>
                  </a:ext>
                </a:extLst>
              </a:tr>
            </a:tbl>
          </a:graphicData>
        </a:graphic>
      </p:graphicFrame>
      <p:graphicFrame>
        <p:nvGraphicFramePr>
          <p:cNvPr id="29" name="Group 392">
            <a:extLst>
              <a:ext uri="{FF2B5EF4-FFF2-40B4-BE49-F238E27FC236}">
                <a16:creationId xmlns:a16="http://schemas.microsoft.com/office/drawing/2014/main" id="{C110B935-B9F4-4CA9-A7C5-A1EC3C9687E3}"/>
              </a:ext>
            </a:extLst>
          </p:cNvPr>
          <p:cNvGraphicFramePr>
            <a:graphicFrameLocks noGrp="1"/>
          </p:cNvGraphicFramePr>
          <p:nvPr>
            <p:extLst>
              <p:ext uri="{D42A27DB-BD31-4B8C-83A1-F6EECF244321}">
                <p14:modId xmlns:p14="http://schemas.microsoft.com/office/powerpoint/2010/main" val="951461110"/>
              </p:ext>
            </p:extLst>
          </p:nvPr>
        </p:nvGraphicFramePr>
        <p:xfrm>
          <a:off x="6534200" y="4221162"/>
          <a:ext cx="1305969" cy="792163"/>
        </p:xfrm>
        <a:graphic>
          <a:graphicData uri="http://schemas.openxmlformats.org/drawingml/2006/table">
            <a:tbl>
              <a:tblPr/>
              <a:tblGrid>
                <a:gridCol w="1305969">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bg1"/>
                          </a:solidFill>
                          <a:effectLst/>
                          <a:latin typeface="Arial" charset="0"/>
                          <a:ea typeface="ＭＳ Ｐゴシック" pitchFamily="-80" charset="-128"/>
                        </a:rPr>
                        <a:t>Wave 4</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10000"/>
                  </a:ext>
                </a:extLst>
              </a:tr>
            </a:tbl>
          </a:graphicData>
        </a:graphic>
      </p:graphicFrame>
      <p:graphicFrame>
        <p:nvGraphicFramePr>
          <p:cNvPr id="30" name="Group 403">
            <a:extLst>
              <a:ext uri="{FF2B5EF4-FFF2-40B4-BE49-F238E27FC236}">
                <a16:creationId xmlns:a16="http://schemas.microsoft.com/office/drawing/2014/main" id="{F7717EBB-E950-4C4A-9660-7543BAE4597B}"/>
              </a:ext>
            </a:extLst>
          </p:cNvPr>
          <p:cNvGraphicFramePr>
            <a:graphicFrameLocks noGrp="1"/>
          </p:cNvGraphicFramePr>
          <p:nvPr>
            <p:extLst>
              <p:ext uri="{D42A27DB-BD31-4B8C-83A1-F6EECF244321}">
                <p14:modId xmlns:p14="http://schemas.microsoft.com/office/powerpoint/2010/main" val="1304979584"/>
              </p:ext>
            </p:extLst>
          </p:nvPr>
        </p:nvGraphicFramePr>
        <p:xfrm>
          <a:off x="6534201" y="5086349"/>
          <a:ext cx="1305970" cy="792163"/>
        </p:xfrm>
        <a:graphic>
          <a:graphicData uri="http://schemas.openxmlformats.org/drawingml/2006/table">
            <a:tbl>
              <a:tblPr/>
              <a:tblGrid>
                <a:gridCol w="1305970">
                  <a:extLst>
                    <a:ext uri="{9D8B030D-6E8A-4147-A177-3AD203B41FA5}">
                      <a16:colId xmlns:a16="http://schemas.microsoft.com/office/drawing/2014/main" val="20000"/>
                    </a:ext>
                  </a:extLst>
                </a:gridCol>
              </a:tblGrid>
              <a:tr h="7921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2000" b="0" i="0" u="none" strike="noStrike" cap="none" normalizeH="0" baseline="0" dirty="0">
                          <a:ln>
                            <a:noFill/>
                          </a:ln>
                          <a:solidFill>
                            <a:schemeClr val="tx1"/>
                          </a:solidFill>
                          <a:effectLst/>
                          <a:latin typeface="Arial" charset="0"/>
                          <a:ea typeface="ＭＳ Ｐゴシック" pitchFamily="-80" charset="-128"/>
                        </a:rPr>
                        <a:t>Wave 4</a:t>
                      </a:r>
                    </a:p>
                  </a:txBody>
                  <a:tcPr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0"/>
                  </a:ext>
                </a:extLst>
              </a:tr>
            </a:tbl>
          </a:graphicData>
        </a:graphic>
      </p:graphicFrame>
      <p:sp>
        <p:nvSpPr>
          <p:cNvPr id="35" name="TextBox 34">
            <a:extLst>
              <a:ext uri="{FF2B5EF4-FFF2-40B4-BE49-F238E27FC236}">
                <a16:creationId xmlns:a16="http://schemas.microsoft.com/office/drawing/2014/main" id="{295CF973-4866-4329-A26A-0FCB76065C3D}"/>
              </a:ext>
            </a:extLst>
          </p:cNvPr>
          <p:cNvSpPr txBox="1"/>
          <p:nvPr/>
        </p:nvSpPr>
        <p:spPr>
          <a:xfrm>
            <a:off x="8095786" y="1551465"/>
            <a:ext cx="3443426" cy="4478149"/>
          </a:xfrm>
          <a:prstGeom prst="rect">
            <a:avLst/>
          </a:prstGeom>
        </p:spPr>
        <p:txBody>
          <a:bodyPr vert="horz" wrap="square" lIns="0" tIns="45720" rIns="91440" bIns="45720" rtlCol="0" anchor="b" anchorCtr="0">
            <a:spAutoFit/>
          </a:bodyPr>
          <a:lstStyle/>
          <a:p>
            <a:pPr marL="342900" indent="-342900">
              <a:buFont typeface="Arial" panose="020B0604020202020204" pitchFamily="34" charset="0"/>
              <a:buChar char="•"/>
            </a:pPr>
            <a:r>
              <a:rPr lang="en-GB" sz="2000" dirty="0"/>
              <a:t>England, Scotland and Wales all fund Local Labour Force Survey interviews (LLFS, Boost or Enhancement cases)</a:t>
            </a:r>
            <a:br>
              <a:rPr lang="en-GB" sz="2000" dirty="0"/>
            </a:br>
            <a:r>
              <a:rPr lang="en-GB" sz="2000" dirty="0"/>
              <a:t> </a:t>
            </a:r>
          </a:p>
          <a:p>
            <a:pPr marL="342900" indent="-342900">
              <a:spcAft>
                <a:spcPts val="600"/>
              </a:spcAft>
              <a:buFont typeface="Arial" panose="020B0604020202020204" pitchFamily="34" charset="0"/>
              <a:buChar char="•"/>
            </a:pPr>
            <a:r>
              <a:rPr lang="en-GB" sz="2000" dirty="0">
                <a:solidFill>
                  <a:srgbClr val="002060"/>
                </a:solidFill>
              </a:rPr>
              <a:t>Respondents are interviewed for four successive </a:t>
            </a:r>
            <a:br>
              <a:rPr lang="en-GB" sz="2000" dirty="0">
                <a:solidFill>
                  <a:srgbClr val="002060"/>
                </a:solidFill>
              </a:rPr>
            </a:br>
            <a:r>
              <a:rPr lang="en-GB" sz="2000" dirty="0">
                <a:solidFill>
                  <a:srgbClr val="002060"/>
                </a:solidFill>
              </a:rPr>
              <a:t>waves at 12-monthly intervals</a:t>
            </a:r>
            <a:br>
              <a:rPr lang="en-GB" sz="2000" dirty="0">
                <a:solidFill>
                  <a:srgbClr val="002060"/>
                </a:solidFill>
              </a:rPr>
            </a:br>
            <a:endParaRPr lang="en-GB" sz="2000" dirty="0">
              <a:solidFill>
                <a:srgbClr val="002060"/>
              </a:solidFill>
            </a:endParaRPr>
          </a:p>
          <a:p>
            <a:pPr marL="342900" indent="-342900">
              <a:spcAft>
                <a:spcPts val="600"/>
              </a:spcAft>
              <a:buFont typeface="Arial" panose="020B0604020202020204" pitchFamily="34" charset="0"/>
              <a:buChar char="•"/>
            </a:pPr>
            <a:r>
              <a:rPr lang="en-GB" sz="2000" dirty="0">
                <a:solidFill>
                  <a:srgbClr val="002060"/>
                </a:solidFill>
              </a:rPr>
              <a:t>25% of the sample is replaced every quarter</a:t>
            </a:r>
          </a:p>
        </p:txBody>
      </p:sp>
    </p:spTree>
    <p:extLst>
      <p:ext uri="{BB962C8B-B14F-4D97-AF65-F5344CB8AC3E}">
        <p14:creationId xmlns:p14="http://schemas.microsoft.com/office/powerpoint/2010/main" val="449679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1+#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1+#ppt_w/2"/>
                                          </p:val>
                                        </p:tav>
                                        <p:tav tm="100000">
                                          <p:val>
                                            <p:strVal val="#ppt_x"/>
                                          </p:val>
                                        </p:tav>
                                      </p:tavLst>
                                    </p:anim>
                                    <p:anim calcmode="lin" valueType="num">
                                      <p:cBhvr additive="base">
                                        <p:cTn id="16" dur="500" fill="hold"/>
                                        <p:tgtEl>
                                          <p:spTgt spid="6"/>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1+#ppt_w/2"/>
                                          </p:val>
                                        </p:tav>
                                        <p:tav tm="100000">
                                          <p:val>
                                            <p:strVal val="#ppt_x"/>
                                          </p:val>
                                        </p:tav>
                                      </p:tavLst>
                                    </p:anim>
                                    <p:anim calcmode="lin" valueType="num">
                                      <p:cBhvr additive="base">
                                        <p:cTn id="20" dur="500" fill="hold"/>
                                        <p:tgtEl>
                                          <p:spTgt spid="5"/>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fill="hold"/>
                                        <p:tgtEl>
                                          <p:spTgt spid="8"/>
                                        </p:tgtEl>
                                        <p:attrNameLst>
                                          <p:attrName>ppt_x</p:attrName>
                                        </p:attrNameLst>
                                      </p:cBhvr>
                                      <p:tavLst>
                                        <p:tav tm="0">
                                          <p:val>
                                            <p:strVal val="1+#ppt_w/2"/>
                                          </p:val>
                                        </p:tav>
                                        <p:tav tm="100000">
                                          <p:val>
                                            <p:strVal val="#ppt_x"/>
                                          </p:val>
                                        </p:tav>
                                      </p:tavLst>
                                    </p:anim>
                                    <p:anim calcmode="lin" valueType="num">
                                      <p:cBhvr additive="base">
                                        <p:cTn id="24"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6" fill="hold" nodeType="clickEffect">
                                  <p:stCondLst>
                                    <p:cond delay="0"/>
                                  </p:stCondLst>
                                  <p:childTnLst>
                                    <p:set>
                                      <p:cBhvr>
                                        <p:cTn id="28" dur="1" fill="hold">
                                          <p:stCondLst>
                                            <p:cond delay="0"/>
                                          </p:stCondLst>
                                        </p:cTn>
                                        <p:tgtEl>
                                          <p:spTgt spid="10"/>
                                        </p:tgtEl>
                                        <p:attrNameLst>
                                          <p:attrName>style.visibility</p:attrName>
                                        </p:attrNameLst>
                                      </p:cBhvr>
                                      <p:to>
                                        <p:strVal val="visible"/>
                                      </p:to>
                                    </p:set>
                                    <p:anim calcmode="lin" valueType="num">
                                      <p:cBhvr additive="base">
                                        <p:cTn id="29" dur="500" fill="hold"/>
                                        <p:tgtEl>
                                          <p:spTgt spid="10"/>
                                        </p:tgtEl>
                                        <p:attrNameLst>
                                          <p:attrName>ppt_x</p:attrName>
                                        </p:attrNameLst>
                                      </p:cBhvr>
                                      <p:tavLst>
                                        <p:tav tm="0">
                                          <p:val>
                                            <p:strVal val="1+#ppt_w/2"/>
                                          </p:val>
                                        </p:tav>
                                        <p:tav tm="100000">
                                          <p:val>
                                            <p:strVal val="#ppt_x"/>
                                          </p:val>
                                        </p:tav>
                                      </p:tavLst>
                                    </p:anim>
                                    <p:anim calcmode="lin" valueType="num">
                                      <p:cBhvr additive="base">
                                        <p:cTn id="30" dur="500" fill="hold"/>
                                        <p:tgtEl>
                                          <p:spTgt spid="10"/>
                                        </p:tgtEl>
                                        <p:attrNameLst>
                                          <p:attrName>ppt_y</p:attrName>
                                        </p:attrNameLst>
                                      </p:cBhvr>
                                      <p:tavLst>
                                        <p:tav tm="0">
                                          <p:val>
                                            <p:strVal val="1+#ppt_h/2"/>
                                          </p:val>
                                        </p:tav>
                                        <p:tav tm="100000">
                                          <p:val>
                                            <p:strVal val="#ppt_y"/>
                                          </p:val>
                                        </p:tav>
                                      </p:tavLst>
                                    </p:anim>
                                  </p:childTnLst>
                                </p:cTn>
                              </p:par>
                              <p:par>
                                <p:cTn id="31" presetID="2" presetClass="entr" presetSubtype="6" fill="hold" nodeType="withEffect">
                                  <p:stCondLst>
                                    <p:cond delay="0"/>
                                  </p:stCondLst>
                                  <p:childTnLst>
                                    <p:set>
                                      <p:cBhvr>
                                        <p:cTn id="32" dur="1" fill="hold">
                                          <p:stCondLst>
                                            <p:cond delay="0"/>
                                          </p:stCondLst>
                                        </p:cTn>
                                        <p:tgtEl>
                                          <p:spTgt spid="16"/>
                                        </p:tgtEl>
                                        <p:attrNameLst>
                                          <p:attrName>style.visibility</p:attrName>
                                        </p:attrNameLst>
                                      </p:cBhvr>
                                      <p:to>
                                        <p:strVal val="visible"/>
                                      </p:to>
                                    </p:set>
                                    <p:anim calcmode="lin" valueType="num">
                                      <p:cBhvr additive="base">
                                        <p:cTn id="33" dur="500" fill="hold"/>
                                        <p:tgtEl>
                                          <p:spTgt spid="16"/>
                                        </p:tgtEl>
                                        <p:attrNameLst>
                                          <p:attrName>ppt_x</p:attrName>
                                        </p:attrNameLst>
                                      </p:cBhvr>
                                      <p:tavLst>
                                        <p:tav tm="0">
                                          <p:val>
                                            <p:strVal val="1+#ppt_w/2"/>
                                          </p:val>
                                        </p:tav>
                                        <p:tav tm="100000">
                                          <p:val>
                                            <p:strVal val="#ppt_x"/>
                                          </p:val>
                                        </p:tav>
                                      </p:tavLst>
                                    </p:anim>
                                    <p:anim calcmode="lin" valueType="num">
                                      <p:cBhvr additive="base">
                                        <p:cTn id="34" dur="500" fill="hold"/>
                                        <p:tgtEl>
                                          <p:spTgt spid="16"/>
                                        </p:tgtEl>
                                        <p:attrNameLst>
                                          <p:attrName>ppt_y</p:attrName>
                                        </p:attrNameLst>
                                      </p:cBhvr>
                                      <p:tavLst>
                                        <p:tav tm="0">
                                          <p:val>
                                            <p:strVal val="1+#ppt_h/2"/>
                                          </p:val>
                                        </p:tav>
                                        <p:tav tm="100000">
                                          <p:val>
                                            <p:strVal val="#ppt_y"/>
                                          </p:val>
                                        </p:tav>
                                      </p:tavLst>
                                    </p:anim>
                                  </p:childTnLst>
                                </p:cTn>
                              </p:par>
                              <p:par>
                                <p:cTn id="35" presetID="2" presetClass="entr" presetSubtype="6"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anim calcmode="lin" valueType="num">
                                      <p:cBhvr additive="base">
                                        <p:cTn id="37" dur="500" fill="hold"/>
                                        <p:tgtEl>
                                          <p:spTgt spid="24"/>
                                        </p:tgtEl>
                                        <p:attrNameLst>
                                          <p:attrName>ppt_x</p:attrName>
                                        </p:attrNameLst>
                                      </p:cBhvr>
                                      <p:tavLst>
                                        <p:tav tm="0">
                                          <p:val>
                                            <p:strVal val="1+#ppt_w/2"/>
                                          </p:val>
                                        </p:tav>
                                        <p:tav tm="100000">
                                          <p:val>
                                            <p:strVal val="#ppt_x"/>
                                          </p:val>
                                        </p:tav>
                                      </p:tavLst>
                                    </p:anim>
                                    <p:anim calcmode="lin" valueType="num">
                                      <p:cBhvr additive="base">
                                        <p:cTn id="38" dur="500" fill="hold"/>
                                        <p:tgtEl>
                                          <p:spTgt spid="24"/>
                                        </p:tgtEl>
                                        <p:attrNameLst>
                                          <p:attrName>ppt_y</p:attrName>
                                        </p:attrNameLst>
                                      </p:cBhvr>
                                      <p:tavLst>
                                        <p:tav tm="0">
                                          <p:val>
                                            <p:strVal val="1+#ppt_h/2"/>
                                          </p:val>
                                        </p:tav>
                                        <p:tav tm="100000">
                                          <p:val>
                                            <p:strVal val="#ppt_y"/>
                                          </p:val>
                                        </p:tav>
                                      </p:tavLst>
                                    </p:anim>
                                  </p:childTnLst>
                                </p:cTn>
                              </p:par>
                              <p:par>
                                <p:cTn id="39" presetID="2" presetClass="entr" presetSubtype="6" fill="hold" nodeType="withEffect">
                                  <p:stCondLst>
                                    <p:cond delay="0"/>
                                  </p:stCondLst>
                                  <p:childTnLst>
                                    <p:set>
                                      <p:cBhvr>
                                        <p:cTn id="40" dur="1" fill="hold">
                                          <p:stCondLst>
                                            <p:cond delay="0"/>
                                          </p:stCondLst>
                                        </p:cTn>
                                        <p:tgtEl>
                                          <p:spTgt spid="29"/>
                                        </p:tgtEl>
                                        <p:attrNameLst>
                                          <p:attrName>style.visibility</p:attrName>
                                        </p:attrNameLst>
                                      </p:cBhvr>
                                      <p:to>
                                        <p:strVal val="visible"/>
                                      </p:to>
                                    </p:set>
                                    <p:anim calcmode="lin" valueType="num">
                                      <p:cBhvr additive="base">
                                        <p:cTn id="41" dur="500" fill="hold"/>
                                        <p:tgtEl>
                                          <p:spTgt spid="29"/>
                                        </p:tgtEl>
                                        <p:attrNameLst>
                                          <p:attrName>ppt_x</p:attrName>
                                        </p:attrNameLst>
                                      </p:cBhvr>
                                      <p:tavLst>
                                        <p:tav tm="0">
                                          <p:val>
                                            <p:strVal val="1+#ppt_w/2"/>
                                          </p:val>
                                        </p:tav>
                                        <p:tav tm="100000">
                                          <p:val>
                                            <p:strVal val="#ppt_x"/>
                                          </p:val>
                                        </p:tav>
                                      </p:tavLst>
                                    </p:anim>
                                    <p:anim calcmode="lin" valueType="num">
                                      <p:cBhvr additive="base">
                                        <p:cTn id="42"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6" fill="hold" nodeType="clickEffect">
                                  <p:stCondLst>
                                    <p:cond delay="0"/>
                                  </p:stCondLst>
                                  <p:childTnLst>
                                    <p:set>
                                      <p:cBhvr>
                                        <p:cTn id="46" dur="1" fill="hold">
                                          <p:stCondLst>
                                            <p:cond delay="0"/>
                                          </p:stCondLst>
                                        </p:cTn>
                                        <p:tgtEl>
                                          <p:spTgt spid="11"/>
                                        </p:tgtEl>
                                        <p:attrNameLst>
                                          <p:attrName>style.visibility</p:attrName>
                                        </p:attrNameLst>
                                      </p:cBhvr>
                                      <p:to>
                                        <p:strVal val="visible"/>
                                      </p:to>
                                    </p:set>
                                    <p:anim calcmode="lin" valueType="num">
                                      <p:cBhvr additive="base">
                                        <p:cTn id="47" dur="500" fill="hold"/>
                                        <p:tgtEl>
                                          <p:spTgt spid="11"/>
                                        </p:tgtEl>
                                        <p:attrNameLst>
                                          <p:attrName>ppt_x</p:attrName>
                                        </p:attrNameLst>
                                      </p:cBhvr>
                                      <p:tavLst>
                                        <p:tav tm="0">
                                          <p:val>
                                            <p:strVal val="1+#ppt_w/2"/>
                                          </p:val>
                                        </p:tav>
                                        <p:tav tm="100000">
                                          <p:val>
                                            <p:strVal val="#ppt_x"/>
                                          </p:val>
                                        </p:tav>
                                      </p:tavLst>
                                    </p:anim>
                                    <p:anim calcmode="lin" valueType="num">
                                      <p:cBhvr additive="base">
                                        <p:cTn id="48" dur="500" fill="hold"/>
                                        <p:tgtEl>
                                          <p:spTgt spid="11"/>
                                        </p:tgtEl>
                                        <p:attrNameLst>
                                          <p:attrName>ppt_y</p:attrName>
                                        </p:attrNameLst>
                                      </p:cBhvr>
                                      <p:tavLst>
                                        <p:tav tm="0">
                                          <p:val>
                                            <p:strVal val="1+#ppt_h/2"/>
                                          </p:val>
                                        </p:tav>
                                        <p:tav tm="100000">
                                          <p:val>
                                            <p:strVal val="#ppt_y"/>
                                          </p:val>
                                        </p:tav>
                                      </p:tavLst>
                                    </p:anim>
                                  </p:childTnLst>
                                </p:cTn>
                              </p:par>
                              <p:par>
                                <p:cTn id="49" presetID="2" presetClass="entr" presetSubtype="6" fill="hold" nodeType="withEffect">
                                  <p:stCondLst>
                                    <p:cond delay="0"/>
                                  </p:stCondLst>
                                  <p:childTnLst>
                                    <p:set>
                                      <p:cBhvr>
                                        <p:cTn id="50" dur="1" fill="hold">
                                          <p:stCondLst>
                                            <p:cond delay="0"/>
                                          </p:stCondLst>
                                        </p:cTn>
                                        <p:tgtEl>
                                          <p:spTgt spid="12"/>
                                        </p:tgtEl>
                                        <p:attrNameLst>
                                          <p:attrName>style.visibility</p:attrName>
                                        </p:attrNameLst>
                                      </p:cBhvr>
                                      <p:to>
                                        <p:strVal val="visible"/>
                                      </p:to>
                                    </p:set>
                                    <p:anim calcmode="lin" valueType="num">
                                      <p:cBhvr additive="base">
                                        <p:cTn id="51" dur="500" fill="hold"/>
                                        <p:tgtEl>
                                          <p:spTgt spid="12"/>
                                        </p:tgtEl>
                                        <p:attrNameLst>
                                          <p:attrName>ppt_x</p:attrName>
                                        </p:attrNameLst>
                                      </p:cBhvr>
                                      <p:tavLst>
                                        <p:tav tm="0">
                                          <p:val>
                                            <p:strVal val="1+#ppt_w/2"/>
                                          </p:val>
                                        </p:tav>
                                        <p:tav tm="100000">
                                          <p:val>
                                            <p:strVal val="#ppt_x"/>
                                          </p:val>
                                        </p:tav>
                                      </p:tavLst>
                                    </p:anim>
                                    <p:anim calcmode="lin" valueType="num">
                                      <p:cBhvr additive="base">
                                        <p:cTn id="52" dur="500" fill="hold"/>
                                        <p:tgtEl>
                                          <p:spTgt spid="12"/>
                                        </p:tgtEl>
                                        <p:attrNameLst>
                                          <p:attrName>ppt_y</p:attrName>
                                        </p:attrNameLst>
                                      </p:cBhvr>
                                      <p:tavLst>
                                        <p:tav tm="0">
                                          <p:val>
                                            <p:strVal val="1+#ppt_h/2"/>
                                          </p:val>
                                        </p:tav>
                                        <p:tav tm="100000">
                                          <p:val>
                                            <p:strVal val="#ppt_y"/>
                                          </p:val>
                                        </p:tav>
                                      </p:tavLst>
                                    </p:anim>
                                  </p:childTnLst>
                                </p:cTn>
                              </p:par>
                              <p:par>
                                <p:cTn id="53" presetID="2" presetClass="entr" presetSubtype="6" fill="hold" nodeType="withEffect">
                                  <p:stCondLst>
                                    <p:cond delay="0"/>
                                  </p:stCondLst>
                                  <p:childTnLst>
                                    <p:set>
                                      <p:cBhvr>
                                        <p:cTn id="54" dur="1" fill="hold">
                                          <p:stCondLst>
                                            <p:cond delay="0"/>
                                          </p:stCondLst>
                                        </p:cTn>
                                        <p:tgtEl>
                                          <p:spTgt spid="13"/>
                                        </p:tgtEl>
                                        <p:attrNameLst>
                                          <p:attrName>style.visibility</p:attrName>
                                        </p:attrNameLst>
                                      </p:cBhvr>
                                      <p:to>
                                        <p:strVal val="visible"/>
                                      </p:to>
                                    </p:set>
                                    <p:anim calcmode="lin" valueType="num">
                                      <p:cBhvr additive="base">
                                        <p:cTn id="55" dur="500" fill="hold"/>
                                        <p:tgtEl>
                                          <p:spTgt spid="13"/>
                                        </p:tgtEl>
                                        <p:attrNameLst>
                                          <p:attrName>ppt_x</p:attrName>
                                        </p:attrNameLst>
                                      </p:cBhvr>
                                      <p:tavLst>
                                        <p:tav tm="0">
                                          <p:val>
                                            <p:strVal val="1+#ppt_w/2"/>
                                          </p:val>
                                        </p:tav>
                                        <p:tav tm="100000">
                                          <p:val>
                                            <p:strVal val="#ppt_x"/>
                                          </p:val>
                                        </p:tav>
                                      </p:tavLst>
                                    </p:anim>
                                    <p:anim calcmode="lin" valueType="num">
                                      <p:cBhvr additive="base">
                                        <p:cTn id="56" dur="500" fill="hold"/>
                                        <p:tgtEl>
                                          <p:spTgt spid="13"/>
                                        </p:tgtEl>
                                        <p:attrNameLst>
                                          <p:attrName>ppt_y</p:attrName>
                                        </p:attrNameLst>
                                      </p:cBhvr>
                                      <p:tavLst>
                                        <p:tav tm="0">
                                          <p:val>
                                            <p:strVal val="1+#ppt_h/2"/>
                                          </p:val>
                                        </p:tav>
                                        <p:tav tm="100000">
                                          <p:val>
                                            <p:strVal val="#ppt_y"/>
                                          </p:val>
                                        </p:tav>
                                      </p:tavLst>
                                    </p:anim>
                                  </p:childTnLst>
                                </p:cTn>
                              </p:par>
                              <p:par>
                                <p:cTn id="57" presetID="2" presetClass="entr" presetSubtype="6" fill="hold" nodeType="withEffect">
                                  <p:stCondLst>
                                    <p:cond delay="0"/>
                                  </p:stCondLst>
                                  <p:childTnLst>
                                    <p:set>
                                      <p:cBhvr>
                                        <p:cTn id="58" dur="1" fill="hold">
                                          <p:stCondLst>
                                            <p:cond delay="0"/>
                                          </p:stCondLst>
                                        </p:cTn>
                                        <p:tgtEl>
                                          <p:spTgt spid="14"/>
                                        </p:tgtEl>
                                        <p:attrNameLst>
                                          <p:attrName>style.visibility</p:attrName>
                                        </p:attrNameLst>
                                      </p:cBhvr>
                                      <p:to>
                                        <p:strVal val="visible"/>
                                      </p:to>
                                    </p:set>
                                    <p:anim calcmode="lin" valueType="num">
                                      <p:cBhvr additive="base">
                                        <p:cTn id="59" dur="500" fill="hold"/>
                                        <p:tgtEl>
                                          <p:spTgt spid="14"/>
                                        </p:tgtEl>
                                        <p:attrNameLst>
                                          <p:attrName>ppt_x</p:attrName>
                                        </p:attrNameLst>
                                      </p:cBhvr>
                                      <p:tavLst>
                                        <p:tav tm="0">
                                          <p:val>
                                            <p:strVal val="1+#ppt_w/2"/>
                                          </p:val>
                                        </p:tav>
                                        <p:tav tm="100000">
                                          <p:val>
                                            <p:strVal val="#ppt_x"/>
                                          </p:val>
                                        </p:tav>
                                      </p:tavLst>
                                    </p:anim>
                                    <p:anim calcmode="lin" valueType="num">
                                      <p:cBhvr additive="base">
                                        <p:cTn id="60" dur="500" fill="hold"/>
                                        <p:tgtEl>
                                          <p:spTgt spid="14"/>
                                        </p:tgtEl>
                                        <p:attrNameLst>
                                          <p:attrName>ppt_y</p:attrName>
                                        </p:attrNameLst>
                                      </p:cBhvr>
                                      <p:tavLst>
                                        <p:tav tm="0">
                                          <p:val>
                                            <p:strVal val="1+#ppt_h/2"/>
                                          </p:val>
                                        </p:tav>
                                        <p:tav tm="100000">
                                          <p:val>
                                            <p:strVal val="#ppt_y"/>
                                          </p:val>
                                        </p:tav>
                                      </p:tavLst>
                                    </p:anim>
                                  </p:childTnLst>
                                </p:cTn>
                              </p:par>
                              <p:par>
                                <p:cTn id="61" presetID="2" presetClass="entr" presetSubtype="6" fill="hold" nodeType="withEffect">
                                  <p:stCondLst>
                                    <p:cond delay="0"/>
                                  </p:stCondLst>
                                  <p:childTnLst>
                                    <p:set>
                                      <p:cBhvr>
                                        <p:cTn id="62" dur="1" fill="hold">
                                          <p:stCondLst>
                                            <p:cond delay="0"/>
                                          </p:stCondLst>
                                        </p:cTn>
                                        <p:tgtEl>
                                          <p:spTgt spid="17"/>
                                        </p:tgtEl>
                                        <p:attrNameLst>
                                          <p:attrName>style.visibility</p:attrName>
                                        </p:attrNameLst>
                                      </p:cBhvr>
                                      <p:to>
                                        <p:strVal val="visible"/>
                                      </p:to>
                                    </p:set>
                                    <p:anim calcmode="lin" valueType="num">
                                      <p:cBhvr additive="base">
                                        <p:cTn id="63" dur="500" fill="hold"/>
                                        <p:tgtEl>
                                          <p:spTgt spid="17"/>
                                        </p:tgtEl>
                                        <p:attrNameLst>
                                          <p:attrName>ppt_x</p:attrName>
                                        </p:attrNameLst>
                                      </p:cBhvr>
                                      <p:tavLst>
                                        <p:tav tm="0">
                                          <p:val>
                                            <p:strVal val="1+#ppt_w/2"/>
                                          </p:val>
                                        </p:tav>
                                        <p:tav tm="100000">
                                          <p:val>
                                            <p:strVal val="#ppt_x"/>
                                          </p:val>
                                        </p:tav>
                                      </p:tavLst>
                                    </p:anim>
                                    <p:anim calcmode="lin" valueType="num">
                                      <p:cBhvr additive="base">
                                        <p:cTn id="64" dur="500" fill="hold"/>
                                        <p:tgtEl>
                                          <p:spTgt spid="17"/>
                                        </p:tgtEl>
                                        <p:attrNameLst>
                                          <p:attrName>ppt_y</p:attrName>
                                        </p:attrNameLst>
                                      </p:cBhvr>
                                      <p:tavLst>
                                        <p:tav tm="0">
                                          <p:val>
                                            <p:strVal val="1+#ppt_h/2"/>
                                          </p:val>
                                        </p:tav>
                                        <p:tav tm="100000">
                                          <p:val>
                                            <p:strVal val="#ppt_y"/>
                                          </p:val>
                                        </p:tav>
                                      </p:tavLst>
                                    </p:anim>
                                  </p:childTnLst>
                                </p:cTn>
                              </p:par>
                              <p:par>
                                <p:cTn id="65" presetID="2" presetClass="entr" presetSubtype="6" fill="hold" nodeType="withEffect">
                                  <p:stCondLst>
                                    <p:cond delay="0"/>
                                  </p:stCondLst>
                                  <p:childTnLst>
                                    <p:set>
                                      <p:cBhvr>
                                        <p:cTn id="66" dur="1" fill="hold">
                                          <p:stCondLst>
                                            <p:cond delay="0"/>
                                          </p:stCondLst>
                                        </p:cTn>
                                        <p:tgtEl>
                                          <p:spTgt spid="25"/>
                                        </p:tgtEl>
                                        <p:attrNameLst>
                                          <p:attrName>style.visibility</p:attrName>
                                        </p:attrNameLst>
                                      </p:cBhvr>
                                      <p:to>
                                        <p:strVal val="visible"/>
                                      </p:to>
                                    </p:set>
                                    <p:anim calcmode="lin" valueType="num">
                                      <p:cBhvr additive="base">
                                        <p:cTn id="67" dur="500" fill="hold"/>
                                        <p:tgtEl>
                                          <p:spTgt spid="25"/>
                                        </p:tgtEl>
                                        <p:attrNameLst>
                                          <p:attrName>ppt_x</p:attrName>
                                        </p:attrNameLst>
                                      </p:cBhvr>
                                      <p:tavLst>
                                        <p:tav tm="0">
                                          <p:val>
                                            <p:strVal val="1+#ppt_w/2"/>
                                          </p:val>
                                        </p:tav>
                                        <p:tav tm="100000">
                                          <p:val>
                                            <p:strVal val="#ppt_x"/>
                                          </p:val>
                                        </p:tav>
                                      </p:tavLst>
                                    </p:anim>
                                    <p:anim calcmode="lin" valueType="num">
                                      <p:cBhvr additive="base">
                                        <p:cTn id="68" dur="500" fill="hold"/>
                                        <p:tgtEl>
                                          <p:spTgt spid="25"/>
                                        </p:tgtEl>
                                        <p:attrNameLst>
                                          <p:attrName>ppt_y</p:attrName>
                                        </p:attrNameLst>
                                      </p:cBhvr>
                                      <p:tavLst>
                                        <p:tav tm="0">
                                          <p:val>
                                            <p:strVal val="1+#ppt_h/2"/>
                                          </p:val>
                                        </p:tav>
                                        <p:tav tm="100000">
                                          <p:val>
                                            <p:strVal val="#ppt_y"/>
                                          </p:val>
                                        </p:tav>
                                      </p:tavLst>
                                    </p:anim>
                                  </p:childTnLst>
                                </p:cTn>
                              </p:par>
                              <p:par>
                                <p:cTn id="69" presetID="2" presetClass="entr" presetSubtype="6" fill="hold" nodeType="withEffect">
                                  <p:stCondLst>
                                    <p:cond delay="0"/>
                                  </p:stCondLst>
                                  <p:childTnLst>
                                    <p:set>
                                      <p:cBhvr>
                                        <p:cTn id="70" dur="1" fill="hold">
                                          <p:stCondLst>
                                            <p:cond delay="0"/>
                                          </p:stCondLst>
                                        </p:cTn>
                                        <p:tgtEl>
                                          <p:spTgt spid="30"/>
                                        </p:tgtEl>
                                        <p:attrNameLst>
                                          <p:attrName>style.visibility</p:attrName>
                                        </p:attrNameLst>
                                      </p:cBhvr>
                                      <p:to>
                                        <p:strVal val="visible"/>
                                      </p:to>
                                    </p:set>
                                    <p:anim calcmode="lin" valueType="num">
                                      <p:cBhvr additive="base">
                                        <p:cTn id="71" dur="500" fill="hold"/>
                                        <p:tgtEl>
                                          <p:spTgt spid="30"/>
                                        </p:tgtEl>
                                        <p:attrNameLst>
                                          <p:attrName>ppt_x</p:attrName>
                                        </p:attrNameLst>
                                      </p:cBhvr>
                                      <p:tavLst>
                                        <p:tav tm="0">
                                          <p:val>
                                            <p:strVal val="1+#ppt_w/2"/>
                                          </p:val>
                                        </p:tav>
                                        <p:tav tm="100000">
                                          <p:val>
                                            <p:strVal val="#ppt_x"/>
                                          </p:val>
                                        </p:tav>
                                      </p:tavLst>
                                    </p:anim>
                                    <p:anim calcmode="lin" valueType="num">
                                      <p:cBhvr additive="base">
                                        <p:cTn id="72" dur="500" fill="hold"/>
                                        <p:tgtEl>
                                          <p:spTgt spid="30"/>
                                        </p:tgtEl>
                                        <p:attrNameLst>
                                          <p:attrName>ppt_y</p:attrName>
                                        </p:attrNameLst>
                                      </p:cBhvr>
                                      <p:tavLst>
                                        <p:tav tm="0">
                                          <p:val>
                                            <p:strVal val="1+#ppt_h/2"/>
                                          </p:val>
                                        </p:tav>
                                        <p:tav tm="100000">
                                          <p:val>
                                            <p:strVal val="#ppt_y"/>
                                          </p:val>
                                        </p:tav>
                                      </p:tavLst>
                                    </p:anim>
                                  </p:childTnLst>
                                </p:cTn>
                              </p:par>
                              <p:par>
                                <p:cTn id="73" presetID="2" presetClass="entr" presetSubtype="6" fill="hold" nodeType="withEffect">
                                  <p:stCondLst>
                                    <p:cond delay="0"/>
                                  </p:stCondLst>
                                  <p:childTnLst>
                                    <p:set>
                                      <p:cBhvr>
                                        <p:cTn id="74" dur="1" fill="hold">
                                          <p:stCondLst>
                                            <p:cond delay="0"/>
                                          </p:stCondLst>
                                        </p:cTn>
                                        <p:tgtEl>
                                          <p:spTgt spid="18"/>
                                        </p:tgtEl>
                                        <p:attrNameLst>
                                          <p:attrName>style.visibility</p:attrName>
                                        </p:attrNameLst>
                                      </p:cBhvr>
                                      <p:to>
                                        <p:strVal val="visible"/>
                                      </p:to>
                                    </p:set>
                                    <p:anim calcmode="lin" valueType="num">
                                      <p:cBhvr additive="base">
                                        <p:cTn id="75" dur="500" fill="hold"/>
                                        <p:tgtEl>
                                          <p:spTgt spid="18"/>
                                        </p:tgtEl>
                                        <p:attrNameLst>
                                          <p:attrName>ppt_x</p:attrName>
                                        </p:attrNameLst>
                                      </p:cBhvr>
                                      <p:tavLst>
                                        <p:tav tm="0">
                                          <p:val>
                                            <p:strVal val="1+#ppt_w/2"/>
                                          </p:val>
                                        </p:tav>
                                        <p:tav tm="100000">
                                          <p:val>
                                            <p:strVal val="#ppt_x"/>
                                          </p:val>
                                        </p:tav>
                                      </p:tavLst>
                                    </p:anim>
                                    <p:anim calcmode="lin" valueType="num">
                                      <p:cBhvr additive="base">
                                        <p:cTn id="76" dur="500" fill="hold"/>
                                        <p:tgtEl>
                                          <p:spTgt spid="18"/>
                                        </p:tgtEl>
                                        <p:attrNameLst>
                                          <p:attrName>ppt_y</p:attrName>
                                        </p:attrNameLst>
                                      </p:cBhvr>
                                      <p:tavLst>
                                        <p:tav tm="0">
                                          <p:val>
                                            <p:strVal val="1+#ppt_h/2"/>
                                          </p:val>
                                        </p:tav>
                                        <p:tav tm="100000">
                                          <p:val>
                                            <p:strVal val="#ppt_y"/>
                                          </p:val>
                                        </p:tav>
                                      </p:tavLst>
                                    </p:anim>
                                  </p:childTnLst>
                                </p:cTn>
                              </p:par>
                              <p:par>
                                <p:cTn id="77" presetID="2" presetClass="entr" presetSubtype="6" fill="hold" nodeType="withEffect">
                                  <p:stCondLst>
                                    <p:cond delay="0"/>
                                  </p:stCondLst>
                                  <p:childTnLst>
                                    <p:set>
                                      <p:cBhvr>
                                        <p:cTn id="78" dur="1" fill="hold">
                                          <p:stCondLst>
                                            <p:cond delay="0"/>
                                          </p:stCondLst>
                                        </p:cTn>
                                        <p:tgtEl>
                                          <p:spTgt spid="26"/>
                                        </p:tgtEl>
                                        <p:attrNameLst>
                                          <p:attrName>style.visibility</p:attrName>
                                        </p:attrNameLst>
                                      </p:cBhvr>
                                      <p:to>
                                        <p:strVal val="visible"/>
                                      </p:to>
                                    </p:set>
                                    <p:anim calcmode="lin" valueType="num">
                                      <p:cBhvr additive="base">
                                        <p:cTn id="79" dur="500" fill="hold"/>
                                        <p:tgtEl>
                                          <p:spTgt spid="26"/>
                                        </p:tgtEl>
                                        <p:attrNameLst>
                                          <p:attrName>ppt_x</p:attrName>
                                        </p:attrNameLst>
                                      </p:cBhvr>
                                      <p:tavLst>
                                        <p:tav tm="0">
                                          <p:val>
                                            <p:strVal val="1+#ppt_w/2"/>
                                          </p:val>
                                        </p:tav>
                                        <p:tav tm="100000">
                                          <p:val>
                                            <p:strVal val="#ppt_x"/>
                                          </p:val>
                                        </p:tav>
                                      </p:tavLst>
                                    </p:anim>
                                    <p:anim calcmode="lin" valueType="num">
                                      <p:cBhvr additive="base">
                                        <p:cTn id="80" dur="500" fill="hold"/>
                                        <p:tgtEl>
                                          <p:spTgt spid="26"/>
                                        </p:tgtEl>
                                        <p:attrNameLst>
                                          <p:attrName>ppt_y</p:attrName>
                                        </p:attrNameLst>
                                      </p:cBhvr>
                                      <p:tavLst>
                                        <p:tav tm="0">
                                          <p:val>
                                            <p:strVal val="1+#ppt_h/2"/>
                                          </p:val>
                                        </p:tav>
                                        <p:tav tm="100000">
                                          <p:val>
                                            <p:strVal val="#ppt_y"/>
                                          </p:val>
                                        </p:tav>
                                      </p:tavLst>
                                    </p:anim>
                                  </p:childTnLst>
                                </p:cTn>
                              </p:par>
                              <p:par>
                                <p:cTn id="81" presetID="2" presetClass="entr" presetSubtype="6" fill="hold" nodeType="withEffect">
                                  <p:stCondLst>
                                    <p:cond delay="0"/>
                                  </p:stCondLst>
                                  <p:childTnLst>
                                    <p:set>
                                      <p:cBhvr>
                                        <p:cTn id="82" dur="1" fill="hold">
                                          <p:stCondLst>
                                            <p:cond delay="0"/>
                                          </p:stCondLst>
                                        </p:cTn>
                                        <p:tgtEl>
                                          <p:spTgt spid="19"/>
                                        </p:tgtEl>
                                        <p:attrNameLst>
                                          <p:attrName>style.visibility</p:attrName>
                                        </p:attrNameLst>
                                      </p:cBhvr>
                                      <p:to>
                                        <p:strVal val="visible"/>
                                      </p:to>
                                    </p:set>
                                    <p:anim calcmode="lin" valueType="num">
                                      <p:cBhvr additive="base">
                                        <p:cTn id="83" dur="500" fill="hold"/>
                                        <p:tgtEl>
                                          <p:spTgt spid="19"/>
                                        </p:tgtEl>
                                        <p:attrNameLst>
                                          <p:attrName>ppt_x</p:attrName>
                                        </p:attrNameLst>
                                      </p:cBhvr>
                                      <p:tavLst>
                                        <p:tav tm="0">
                                          <p:val>
                                            <p:strVal val="1+#ppt_w/2"/>
                                          </p:val>
                                        </p:tav>
                                        <p:tav tm="100000">
                                          <p:val>
                                            <p:strVal val="#ppt_x"/>
                                          </p:val>
                                        </p:tav>
                                      </p:tavLst>
                                    </p:anim>
                                    <p:anim calcmode="lin" valueType="num">
                                      <p:cBhvr additive="base">
                                        <p:cTn id="84" dur="500" fill="hold"/>
                                        <p:tgtEl>
                                          <p:spTgt spid="19"/>
                                        </p:tgtEl>
                                        <p:attrNameLst>
                                          <p:attrName>ppt_y</p:attrName>
                                        </p:attrNameLst>
                                      </p:cBhvr>
                                      <p:tavLst>
                                        <p:tav tm="0">
                                          <p:val>
                                            <p:strVal val="1+#ppt_h/2"/>
                                          </p:val>
                                        </p:tav>
                                        <p:tav tm="100000">
                                          <p:val>
                                            <p:strVal val="#ppt_y"/>
                                          </p:val>
                                        </p:tav>
                                      </p:tavLst>
                                    </p:anim>
                                  </p:childTnLst>
                                </p:cTn>
                              </p:par>
                              <p:par>
                                <p:cTn id="85" presetID="2" presetClass="entr" presetSubtype="2" fill="hold" nodeType="withEffect">
                                  <p:stCondLst>
                                    <p:cond delay="0"/>
                                  </p:stCondLst>
                                  <p:childTnLst>
                                    <p:set>
                                      <p:cBhvr>
                                        <p:cTn id="86" dur="1" fill="hold">
                                          <p:stCondLst>
                                            <p:cond delay="0"/>
                                          </p:stCondLst>
                                        </p:cTn>
                                        <p:tgtEl>
                                          <p:spTgt spid="15"/>
                                        </p:tgtEl>
                                        <p:attrNameLst>
                                          <p:attrName>style.visibility</p:attrName>
                                        </p:attrNameLst>
                                      </p:cBhvr>
                                      <p:to>
                                        <p:strVal val="visible"/>
                                      </p:to>
                                    </p:set>
                                    <p:anim calcmode="lin" valueType="num">
                                      <p:cBhvr additive="base">
                                        <p:cTn id="87" dur="500" fill="hold"/>
                                        <p:tgtEl>
                                          <p:spTgt spid="15"/>
                                        </p:tgtEl>
                                        <p:attrNameLst>
                                          <p:attrName>ppt_x</p:attrName>
                                        </p:attrNameLst>
                                      </p:cBhvr>
                                      <p:tavLst>
                                        <p:tav tm="0">
                                          <p:val>
                                            <p:strVal val="1+#ppt_w/2"/>
                                          </p:val>
                                        </p:tav>
                                        <p:tav tm="100000">
                                          <p:val>
                                            <p:strVal val="#ppt_x"/>
                                          </p:val>
                                        </p:tav>
                                      </p:tavLst>
                                    </p:anim>
                                    <p:anim calcmode="lin" valueType="num">
                                      <p:cBhvr additive="base">
                                        <p:cTn id="88" dur="500" fill="hold"/>
                                        <p:tgtEl>
                                          <p:spTgt spid="15"/>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23"/>
                                        </p:tgtEl>
                                        <p:attrNameLst>
                                          <p:attrName>style.visibility</p:attrName>
                                        </p:attrNameLst>
                                      </p:cBhvr>
                                      <p:to>
                                        <p:strVal val="visible"/>
                                      </p:to>
                                    </p:set>
                                    <p:anim calcmode="lin" valueType="num">
                                      <p:cBhvr additive="base">
                                        <p:cTn id="91" dur="500" fill="hold"/>
                                        <p:tgtEl>
                                          <p:spTgt spid="23"/>
                                        </p:tgtEl>
                                        <p:attrNameLst>
                                          <p:attrName>ppt_x</p:attrName>
                                        </p:attrNameLst>
                                      </p:cBhvr>
                                      <p:tavLst>
                                        <p:tav tm="0">
                                          <p:val>
                                            <p:strVal val="1+#ppt_w/2"/>
                                          </p:val>
                                        </p:tav>
                                        <p:tav tm="100000">
                                          <p:val>
                                            <p:strVal val="#ppt_x"/>
                                          </p:val>
                                        </p:tav>
                                      </p:tavLst>
                                    </p:anim>
                                    <p:anim calcmode="lin" valueType="num">
                                      <p:cBhvr additive="base">
                                        <p:cTn id="92" dur="500" fill="hold"/>
                                        <p:tgtEl>
                                          <p:spTgt spid="23"/>
                                        </p:tgtEl>
                                        <p:attrNameLst>
                                          <p:attrName>ppt_y</p:attrName>
                                        </p:attrNameLst>
                                      </p:cBhvr>
                                      <p:tavLst>
                                        <p:tav tm="0">
                                          <p:val>
                                            <p:strVal val="#ppt_y"/>
                                          </p:val>
                                        </p:tav>
                                        <p:tav tm="100000">
                                          <p:val>
                                            <p:strVal val="#ppt_y"/>
                                          </p:val>
                                        </p:tav>
                                      </p:tavLst>
                                    </p:anim>
                                  </p:childTnLst>
                                </p:cTn>
                              </p:par>
                              <p:par>
                                <p:cTn id="93" presetID="2" presetClass="entr" presetSubtype="2" fill="hold" nodeType="withEffect">
                                  <p:stCondLst>
                                    <p:cond delay="0"/>
                                  </p:stCondLst>
                                  <p:childTnLst>
                                    <p:set>
                                      <p:cBhvr>
                                        <p:cTn id="94" dur="1" fill="hold">
                                          <p:stCondLst>
                                            <p:cond delay="0"/>
                                          </p:stCondLst>
                                        </p:cTn>
                                        <p:tgtEl>
                                          <p:spTgt spid="28"/>
                                        </p:tgtEl>
                                        <p:attrNameLst>
                                          <p:attrName>style.visibility</p:attrName>
                                        </p:attrNameLst>
                                      </p:cBhvr>
                                      <p:to>
                                        <p:strVal val="visible"/>
                                      </p:to>
                                    </p:set>
                                    <p:anim calcmode="lin" valueType="num">
                                      <p:cBhvr additive="base">
                                        <p:cTn id="95" dur="500" fill="hold"/>
                                        <p:tgtEl>
                                          <p:spTgt spid="28"/>
                                        </p:tgtEl>
                                        <p:attrNameLst>
                                          <p:attrName>ppt_x</p:attrName>
                                        </p:attrNameLst>
                                      </p:cBhvr>
                                      <p:tavLst>
                                        <p:tav tm="0">
                                          <p:val>
                                            <p:strVal val="1+#ppt_w/2"/>
                                          </p:val>
                                        </p:tav>
                                        <p:tav tm="100000">
                                          <p:val>
                                            <p:strVal val="#ppt_x"/>
                                          </p:val>
                                        </p:tav>
                                      </p:tavLst>
                                    </p:anim>
                                    <p:anim calcmode="lin" valueType="num">
                                      <p:cBhvr additive="base">
                                        <p:cTn id="96" dur="500" fill="hold"/>
                                        <p:tgtEl>
                                          <p:spTgt spid="28"/>
                                        </p:tgtEl>
                                        <p:attrNameLst>
                                          <p:attrName>ppt_y</p:attrName>
                                        </p:attrNameLst>
                                      </p:cBhvr>
                                      <p:tavLst>
                                        <p:tav tm="0">
                                          <p:val>
                                            <p:strVal val="#ppt_y"/>
                                          </p:val>
                                        </p:tav>
                                        <p:tav tm="100000">
                                          <p:val>
                                            <p:strVal val="#ppt_y"/>
                                          </p:val>
                                        </p:tav>
                                      </p:tavLst>
                                    </p:anim>
                                  </p:childTnLst>
                                </p:cTn>
                              </p:par>
                              <p:par>
                                <p:cTn id="97" presetID="2" presetClass="entr" presetSubtype="2" fill="hold" nodeType="withEffect">
                                  <p:stCondLst>
                                    <p:cond delay="0"/>
                                  </p:stCondLst>
                                  <p:childTnLst>
                                    <p:set>
                                      <p:cBhvr>
                                        <p:cTn id="98" dur="1" fill="hold">
                                          <p:stCondLst>
                                            <p:cond delay="0"/>
                                          </p:stCondLst>
                                        </p:cTn>
                                        <p:tgtEl>
                                          <p:spTgt spid="20"/>
                                        </p:tgtEl>
                                        <p:attrNameLst>
                                          <p:attrName>style.visibility</p:attrName>
                                        </p:attrNameLst>
                                      </p:cBhvr>
                                      <p:to>
                                        <p:strVal val="visible"/>
                                      </p:to>
                                    </p:set>
                                    <p:anim calcmode="lin" valueType="num">
                                      <p:cBhvr additive="base">
                                        <p:cTn id="99" dur="500" fill="hold"/>
                                        <p:tgtEl>
                                          <p:spTgt spid="20"/>
                                        </p:tgtEl>
                                        <p:attrNameLst>
                                          <p:attrName>ppt_x</p:attrName>
                                        </p:attrNameLst>
                                      </p:cBhvr>
                                      <p:tavLst>
                                        <p:tav tm="0">
                                          <p:val>
                                            <p:strVal val="1+#ppt_w/2"/>
                                          </p:val>
                                        </p:tav>
                                        <p:tav tm="100000">
                                          <p:val>
                                            <p:strVal val="#ppt_x"/>
                                          </p:val>
                                        </p:tav>
                                      </p:tavLst>
                                    </p:anim>
                                    <p:anim calcmode="lin" valueType="num">
                                      <p:cBhvr additive="base">
                                        <p:cTn id="100" dur="500" fill="hold"/>
                                        <p:tgtEl>
                                          <p:spTgt spid="20"/>
                                        </p:tgtEl>
                                        <p:attrNameLst>
                                          <p:attrName>ppt_y</p:attrName>
                                        </p:attrNameLst>
                                      </p:cBhvr>
                                      <p:tavLst>
                                        <p:tav tm="0">
                                          <p:val>
                                            <p:strVal val="#ppt_y"/>
                                          </p:val>
                                        </p:tav>
                                        <p:tav tm="100000">
                                          <p:val>
                                            <p:strVal val="#ppt_y"/>
                                          </p:val>
                                        </p:tav>
                                      </p:tavLst>
                                    </p:anim>
                                  </p:childTnLst>
                                </p:cTn>
                              </p:par>
                              <p:par>
                                <p:cTn id="101" presetID="2" presetClass="entr" presetSubtype="2" fill="hold" nodeType="withEffect">
                                  <p:stCondLst>
                                    <p:cond delay="0"/>
                                  </p:stCondLst>
                                  <p:childTnLst>
                                    <p:set>
                                      <p:cBhvr>
                                        <p:cTn id="102" dur="1" fill="hold">
                                          <p:stCondLst>
                                            <p:cond delay="0"/>
                                          </p:stCondLst>
                                        </p:cTn>
                                        <p:tgtEl>
                                          <p:spTgt spid="27"/>
                                        </p:tgtEl>
                                        <p:attrNameLst>
                                          <p:attrName>style.visibility</p:attrName>
                                        </p:attrNameLst>
                                      </p:cBhvr>
                                      <p:to>
                                        <p:strVal val="visible"/>
                                      </p:to>
                                    </p:set>
                                    <p:anim calcmode="lin" valueType="num">
                                      <p:cBhvr additive="base">
                                        <p:cTn id="103" dur="500" fill="hold"/>
                                        <p:tgtEl>
                                          <p:spTgt spid="27"/>
                                        </p:tgtEl>
                                        <p:attrNameLst>
                                          <p:attrName>ppt_x</p:attrName>
                                        </p:attrNameLst>
                                      </p:cBhvr>
                                      <p:tavLst>
                                        <p:tav tm="0">
                                          <p:val>
                                            <p:strVal val="1+#ppt_w/2"/>
                                          </p:val>
                                        </p:tav>
                                        <p:tav tm="100000">
                                          <p:val>
                                            <p:strVal val="#ppt_x"/>
                                          </p:val>
                                        </p:tav>
                                      </p:tavLst>
                                    </p:anim>
                                    <p:anim calcmode="lin" valueType="num">
                                      <p:cBhvr additive="base">
                                        <p:cTn id="104" dur="500" fill="hold"/>
                                        <p:tgtEl>
                                          <p:spTgt spid="27"/>
                                        </p:tgtEl>
                                        <p:attrNameLst>
                                          <p:attrName>ppt_y</p:attrName>
                                        </p:attrNameLst>
                                      </p:cBhvr>
                                      <p:tavLst>
                                        <p:tav tm="0">
                                          <p:val>
                                            <p:strVal val="#ppt_y"/>
                                          </p:val>
                                        </p:tav>
                                        <p:tav tm="100000">
                                          <p:val>
                                            <p:strVal val="#ppt_y"/>
                                          </p:val>
                                        </p:tav>
                                      </p:tavLst>
                                    </p:anim>
                                  </p:childTnLst>
                                </p:cTn>
                              </p:par>
                              <p:par>
                                <p:cTn id="105" presetID="2" presetClass="entr" presetSubtype="2" fill="hold" nodeType="withEffect">
                                  <p:stCondLst>
                                    <p:cond delay="0"/>
                                  </p:stCondLst>
                                  <p:childTnLst>
                                    <p:set>
                                      <p:cBhvr>
                                        <p:cTn id="106" dur="1" fill="hold">
                                          <p:stCondLst>
                                            <p:cond delay="0"/>
                                          </p:stCondLst>
                                        </p:cTn>
                                        <p:tgtEl>
                                          <p:spTgt spid="21"/>
                                        </p:tgtEl>
                                        <p:attrNameLst>
                                          <p:attrName>style.visibility</p:attrName>
                                        </p:attrNameLst>
                                      </p:cBhvr>
                                      <p:to>
                                        <p:strVal val="visible"/>
                                      </p:to>
                                    </p:set>
                                    <p:anim calcmode="lin" valueType="num">
                                      <p:cBhvr additive="base">
                                        <p:cTn id="107" dur="500" fill="hold"/>
                                        <p:tgtEl>
                                          <p:spTgt spid="21"/>
                                        </p:tgtEl>
                                        <p:attrNameLst>
                                          <p:attrName>ppt_x</p:attrName>
                                        </p:attrNameLst>
                                      </p:cBhvr>
                                      <p:tavLst>
                                        <p:tav tm="0">
                                          <p:val>
                                            <p:strVal val="1+#ppt_w/2"/>
                                          </p:val>
                                        </p:tav>
                                        <p:tav tm="100000">
                                          <p:val>
                                            <p:strVal val="#ppt_x"/>
                                          </p:val>
                                        </p:tav>
                                      </p:tavLst>
                                    </p:anim>
                                    <p:anim calcmode="lin" valueType="num">
                                      <p:cBhvr additive="base">
                                        <p:cTn id="108"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rS8jCcslEmrjr5l3DgmHw"/>
</p:tagLst>
</file>

<file path=ppt/tags/tag3.xml><?xml version="1.0" encoding="utf-8"?>
<p:tagLst xmlns:a="http://schemas.openxmlformats.org/drawingml/2006/main" xmlns:r="http://schemas.openxmlformats.org/officeDocument/2006/relationships" xmlns:p="http://schemas.openxmlformats.org/presentationml/2006/main">
  <p:tag name="TIMING" val="|16.8|10.2|48|30.4|4.7|10.7"/>
</p:tagLst>
</file>

<file path=ppt/theme/theme1.xml><?xml version="1.0" encoding="utf-8"?>
<a:theme xmlns:a="http://schemas.openxmlformats.org/drawingml/2006/main" name="ONS">
  <a:themeElements>
    <a:clrScheme name="ONS Colour Theme">
      <a:dk1>
        <a:srgbClr val="003B57"/>
      </a:dk1>
      <a:lt1>
        <a:srgbClr val="FFFFFF"/>
      </a:lt1>
      <a:dk2>
        <a:srgbClr val="414041"/>
      </a:dk2>
      <a:lt2>
        <a:srgbClr val="CFD2D3"/>
      </a:lt2>
      <a:accent1>
        <a:srgbClr val="053D57"/>
      </a:accent1>
      <a:accent2>
        <a:srgbClr val="24A79B"/>
      </a:accent2>
      <a:accent3>
        <a:srgbClr val="3A7899"/>
      </a:accent3>
      <a:accent4>
        <a:srgbClr val="ABC148"/>
      </a:accent4>
      <a:accent5>
        <a:srgbClr val="005D5F"/>
      </a:accent5>
      <a:accent6>
        <a:srgbClr val="483B7F"/>
      </a:accent6>
      <a:hlink>
        <a:srgbClr val="3383EF"/>
      </a:hlink>
      <a:folHlink>
        <a:srgbClr val="2A5EB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45720" rIns="91440" bIns="45720" rtlCol="0" anchor="b" anchorCtr="0">
        <a:spAutoFit/>
      </a:bodyPr>
      <a:lstStyle>
        <a:defPPr algn="l">
          <a:defRPr dirty="0" smtClean="0">
            <a:solidFill>
              <a:srgbClr val="183E56"/>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for National Statistics Powerpoint Template v5-06" id="{4AA31625-65EB-D141-9091-C49F0E63EB0A}" vid="{75903E48-F888-234A-BA37-1F6CAD49057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mso-contentType ?>
<customXsn xmlns="http://schemas.microsoft.com/office/2006/metadata/customXsn">
  <xsnLocation/>
  <cached>True</cached>
  <openByDefault>True</openByDefault>
  <xsnScope/>
</customXs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mso-contentType ?>
<SharedContentType xmlns="Microsoft.SharePoint.Taxonomy.ContentTypeSync" SourceId="a7dd7a64-f5c5-4f30-b8c4-f5626f639d1b" ContentTypeId="0x01010035E33599CC8D1E47A037F474646B1D58" PreviousValue="false"/>
</file>

<file path=customXml/item5.xml><?xml version="1.0" encoding="utf-8"?>
<?mso-contentType ?>
<p:Policy xmlns:p="office.server.policy" id="" local="true">
  <p:Name>ONS Document</p:Name>
  <p:Description/>
  <p:Statement/>
  <p:PolicyItems>
    <p:PolicyItem featureId="Microsoft.Office.RecordsManagement.PolicyFeatures.Expiration" staticId="0x01010035E33599CC8D1E47A037F474646B1D58|2057524105" UniqueId="d097a687-1114-45fc-89d8-799351d0ef20">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100</number>
                  <property>Retention_x0020_Date</property>
                  <period>years</period>
                </formula>
                <action type="action" id="ONS-RetentionAction"/>
              </data>
            </stages>
          </Schedule>
        </Schedules>
      </p:CustomData>
    </p:PolicyItem>
  </p:PolicyItems>
</p:Policy>
</file>

<file path=customXml/item6.xml><?xml version="1.0" encoding="utf-8"?>
<?mso-contentType ?>
<spe:Receivers xmlns:spe="http://schemas.microsoft.com/sharepoint/events">
  <Receiver>
    <Name>Microsoft.Office.RecordsManagement.PolicyFeatures.ExpirationEventReceiver</Name>
    <Synchronization>Synchronous</Synchronization>
    <Type>10001</Type>
    <SequenceNumber>101</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Url/>
    <Assembly>Microsoft.Office.Policy, Version=15.0.0.0, Culture=neutral, PublicKeyToken=71e9bce111e9429c</Assembly>
    <Class>Microsoft.Office.RecordsManagement.Internal.UpdateExpireDate</Class>
    <Data/>
    <Filter/>
  </Receiver>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7.xml><?xml version="1.0" encoding="utf-8"?>
<ct:contentTypeSchema xmlns:ct="http://schemas.microsoft.com/office/2006/metadata/contentType" xmlns:ma="http://schemas.microsoft.com/office/2006/metadata/properties/metaAttributes" ct:_="" ma:_="" ma:contentTypeName="Document" ma:contentTypeID="0x01010082D5F373B85FCF47AAFC80BC7D80700A" ma:contentTypeVersion="13" ma:contentTypeDescription="Create a new document." ma:contentTypeScope="" ma:versionID="a5b55bbc0f30dd09a013d653378de863">
  <xsd:schema xmlns:xsd="http://www.w3.org/2001/XMLSchema" xmlns:xs="http://www.w3.org/2001/XMLSchema" xmlns:p="http://schemas.microsoft.com/office/2006/metadata/properties" xmlns:ns2="28b91107-4a81-451c-84f7-f52706813e27" xmlns:ns3="1d2e6339-9963-4444-b0f2-be5dad007de0" targetNamespace="http://schemas.microsoft.com/office/2006/metadata/properties" ma:root="true" ma:fieldsID="acc4db7ff3478e5e9f5534b78202516d" ns2:_="" ns3:_="">
    <xsd:import namespace="28b91107-4a81-451c-84f7-f52706813e27"/>
    <xsd:import namespace="1d2e6339-9963-4444-b0f2-be5dad007de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8b91107-4a81-451c-84f7-f52706813e2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d2e6339-9963-4444-b0f2-be5dad007de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5BA4594-988E-4BAC-9E3E-B2DF4F34A127}">
  <ds:schemaRefs>
    <ds:schemaRef ds:uri="http://schemas.microsoft.com/office/2006/metadata/customXsn"/>
  </ds:schemaRefs>
</ds:datastoreItem>
</file>

<file path=customXml/itemProps2.xml><?xml version="1.0" encoding="utf-8"?>
<ds:datastoreItem xmlns:ds="http://schemas.openxmlformats.org/officeDocument/2006/customXml" ds:itemID="{86059BE1-105B-44F3-B186-72F66420B12A}">
  <ds:schemaRefs>
    <ds:schemaRef ds:uri="http://schemas.microsoft.com/sharepoint/v3/contenttype/forms"/>
  </ds:schemaRefs>
</ds:datastoreItem>
</file>

<file path=customXml/itemProps3.xml><?xml version="1.0" encoding="utf-8"?>
<ds:datastoreItem xmlns:ds="http://schemas.openxmlformats.org/officeDocument/2006/customXml" ds:itemID="{E935363F-71C8-4A0E-93A4-01FB327F5A50}">
  <ds:schemaRefs>
    <ds:schemaRef ds:uri="http://schemas.microsoft.com/office/2006/metadata/properties"/>
    <ds:schemaRef ds:uri="http://schemas.microsoft.com/sharepoint/v3"/>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153a47ee-a492-4d00-a045-9296454536b6"/>
    <ds:schemaRef ds:uri="39b8a52d-d8b9-47ff-a8c3-c8931ddf8d60"/>
    <ds:schemaRef ds:uri="http://purl.org/dc/elements/1.1/"/>
    <ds:schemaRef ds:uri="e14115de-03ae-49b5-af01-31035404c456"/>
    <ds:schemaRef ds:uri="http://www.w3.org/XML/1998/namespace"/>
    <ds:schemaRef ds:uri="http://purl.org/dc/dcmitype/"/>
  </ds:schemaRefs>
</ds:datastoreItem>
</file>

<file path=customXml/itemProps4.xml><?xml version="1.0" encoding="utf-8"?>
<ds:datastoreItem xmlns:ds="http://schemas.openxmlformats.org/officeDocument/2006/customXml" ds:itemID="{1A43DDAC-9FB3-46D8-A97E-715CAF37E510}">
  <ds:schemaRefs>
    <ds:schemaRef ds:uri="Microsoft.SharePoint.Taxonomy.ContentTypeSync"/>
  </ds:schemaRefs>
</ds:datastoreItem>
</file>

<file path=customXml/itemProps5.xml><?xml version="1.0" encoding="utf-8"?>
<ds:datastoreItem xmlns:ds="http://schemas.openxmlformats.org/officeDocument/2006/customXml" ds:itemID="{0AAB8011-08E2-4157-B8EB-FC736B6C08B9}">
  <ds:schemaRefs>
    <ds:schemaRef ds:uri="office.server.policy"/>
  </ds:schemaRefs>
</ds:datastoreItem>
</file>

<file path=customXml/itemProps6.xml><?xml version="1.0" encoding="utf-8"?>
<ds:datastoreItem xmlns:ds="http://schemas.openxmlformats.org/officeDocument/2006/customXml" ds:itemID="{B2B56E84-2C45-48E6-A6A4-8DBC741DAFF2}">
  <ds:schemaRefs>
    <ds:schemaRef ds:uri="http://schemas.microsoft.com/sharepoint/events"/>
  </ds:schemaRefs>
</ds:datastoreItem>
</file>

<file path=customXml/itemProps7.xml><?xml version="1.0" encoding="utf-8"?>
<ds:datastoreItem xmlns:ds="http://schemas.openxmlformats.org/officeDocument/2006/customXml" ds:itemID="{6ACDA51E-5D17-47AE-8792-8847DABD5F39}"/>
</file>

<file path=docProps/app.xml><?xml version="1.0" encoding="utf-8"?>
<Properties xmlns="http://schemas.openxmlformats.org/officeDocument/2006/extended-properties" xmlns:vt="http://schemas.openxmlformats.org/officeDocument/2006/docPropsVTypes">
  <Template/>
  <TotalTime>21076</TotalTime>
  <Words>5823</Words>
  <Application>Microsoft Macintosh PowerPoint</Application>
  <PresentationFormat>Widescreen</PresentationFormat>
  <Paragraphs>495</Paragraphs>
  <Slides>47</Slides>
  <Notes>33</Notes>
  <HiddenSlides>0</HiddenSlides>
  <MMClips>12</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57" baseType="lpstr">
      <vt:lpstr>ＭＳ Ｐゴシック</vt:lpstr>
      <vt:lpstr>ＭＳ Ｐゴシック</vt:lpstr>
      <vt:lpstr>Arial</vt:lpstr>
      <vt:lpstr>Calibri</vt:lpstr>
      <vt:lpstr>Courier New</vt:lpstr>
      <vt:lpstr>Symbol</vt:lpstr>
      <vt:lpstr>Trebuchet MS</vt:lpstr>
      <vt:lpstr>Wingdings</vt:lpstr>
      <vt:lpstr>ONS</vt:lpstr>
      <vt:lpstr>think-cell Slide</vt:lpstr>
      <vt:lpstr>LFS User Workshop</vt:lpstr>
      <vt:lpstr>Session 1</vt:lpstr>
      <vt:lpstr>What is the Labour Force Survey?</vt:lpstr>
      <vt:lpstr>Overall Sample Design</vt:lpstr>
      <vt:lpstr>LFS Sample</vt:lpstr>
      <vt:lpstr>The LFS Wave Structure</vt:lpstr>
      <vt:lpstr>Annual Population Survey (APS) Sample</vt:lpstr>
      <vt:lpstr>What is the connection between LFS and APS?</vt:lpstr>
      <vt:lpstr>The LFS Boost Wave Structure</vt:lpstr>
      <vt:lpstr>The APS Wave Structure</vt:lpstr>
      <vt:lpstr>Imputation</vt:lpstr>
      <vt:lpstr>Data collection (pre-COVID)</vt:lpstr>
      <vt:lpstr>PowerPoint Presentation</vt:lpstr>
      <vt:lpstr>Variable frequency</vt:lpstr>
      <vt:lpstr>Data quality at point of collection (1)</vt:lpstr>
      <vt:lpstr>Data quality at point of collection (2) – Soft checks</vt:lpstr>
      <vt:lpstr>Data quality at point of collection (3) – Hard checks</vt:lpstr>
      <vt:lpstr>Changes to the LFS/APS since the start of the pandemic</vt:lpstr>
      <vt:lpstr>Timeline of events</vt:lpstr>
      <vt:lpstr>Impact of COVID-19 on LFS Response Rates</vt:lpstr>
      <vt:lpstr>Impact of COVID-19 on LFS Response Rates</vt:lpstr>
      <vt:lpstr>Impact of COVID-19 on LFS achieved sample size</vt:lpstr>
      <vt:lpstr>Impact of COVID-19 on LFS estimates</vt:lpstr>
      <vt:lpstr>Impact of COVID-19 on LFS estimates </vt:lpstr>
      <vt:lpstr>PowerPoint Presentation</vt:lpstr>
      <vt:lpstr>PowerPoint Presentation</vt:lpstr>
      <vt:lpstr>PowerPoint Presentation</vt:lpstr>
      <vt:lpstr>Questionnaire up-dates</vt:lpstr>
      <vt:lpstr>Survey changes since AJ20 as a response to COVID-19</vt:lpstr>
      <vt:lpstr>What the future holds</vt:lpstr>
      <vt:lpstr>More information on the LMS</vt:lpstr>
      <vt:lpstr>Session 2</vt:lpstr>
      <vt:lpstr>Dataset overview</vt:lpstr>
      <vt:lpstr>LFS Person level data</vt:lpstr>
      <vt:lpstr>LFS longitudinal data for 2 quarters</vt:lpstr>
      <vt:lpstr>LFS longitudinal data for 5 quarters</vt:lpstr>
      <vt:lpstr>APS Person level data</vt:lpstr>
      <vt:lpstr>APS longitudinal data for 2 years</vt:lpstr>
      <vt:lpstr>APS 3-year pooled person level data</vt:lpstr>
      <vt:lpstr>LFS Household level data</vt:lpstr>
      <vt:lpstr>APS Household level data</vt:lpstr>
      <vt:lpstr>What to know about LFS/APS weights</vt:lpstr>
      <vt:lpstr>What to know about variables</vt:lpstr>
      <vt:lpstr>Data linking/pooling</vt:lpstr>
      <vt:lpstr>Which dataset to use when?</vt:lpstr>
      <vt:lpstr>How to get started…</vt:lpstr>
      <vt:lpstr>Q&amp;A</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creator>Andy Budd</dc:creator>
  <cp:lastModifiedBy>Patty Doran</cp:lastModifiedBy>
  <cp:revision>474</cp:revision>
  <cp:lastPrinted>2021-05-18T13:08:08Z</cp:lastPrinted>
  <dcterms:created xsi:type="dcterms:W3CDTF">2018-07-16T11:41:44Z</dcterms:created>
  <dcterms:modified xsi:type="dcterms:W3CDTF">2021-05-18T13:0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2D5F373B85FCF47AAFC80BC7D80700A</vt:lpwstr>
  </property>
  <property fmtid="{D5CDD505-2E9C-101B-9397-08002B2CF9AE}" pid="3" name="TaxKeyword">
    <vt:lpwstr/>
  </property>
  <property fmtid="{D5CDD505-2E9C-101B-9397-08002B2CF9AE}" pid="4" name="RecordType">
    <vt:lpwstr>9;#Meeting papers (inc. agendas minutes etc)|ce21491e-24bf-490d-8d19-382be1f405d0</vt:lpwstr>
  </property>
  <property fmtid="{D5CDD505-2E9C-101B-9397-08002B2CF9AE}" pid="5" name="_dlc_policyId">
    <vt:lpwstr>0x01010035E33599CC8D1E47A037F474646B1D58|2057524105</vt:lpwstr>
  </property>
  <property fmtid="{D5CDD505-2E9C-101B-9397-08002B2CF9AE}" pid="6" name="ItemRetentionFormula">
    <vt:lpwstr>&lt;formula id="Microsoft.Office.RecordsManagement.PolicyFeatures.Expiration.Formula.BuiltIn"&gt;&lt;number&gt;100&lt;/number&gt;&lt;property&gt;Retention_x005f_x0020_Date&lt;/property&gt;&lt;period&gt;years&lt;/period&gt;&lt;/formula&gt;</vt:lpwstr>
  </property>
  <property fmtid="{D5CDD505-2E9C-101B-9397-08002B2CF9AE}" pid="7" name="_dlc_DocIdItemGuid">
    <vt:lpwstr>4ec28ccb-b8cb-42f2-84cb-7886154b2116</vt:lpwstr>
  </property>
</Properties>
</file>